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8" r:id="rId1"/>
    <p:sldMasterId id="2147483757" r:id="rId2"/>
  </p:sldMasterIdLst>
  <p:notesMasterIdLst>
    <p:notesMasterId r:id="rId12"/>
  </p:notesMasterIdLst>
  <p:handoutMasterIdLst>
    <p:handoutMasterId r:id="rId13"/>
  </p:handoutMasterIdLst>
  <p:sldIdLst>
    <p:sldId id="705" r:id="rId3"/>
    <p:sldId id="753" r:id="rId4"/>
    <p:sldId id="740" r:id="rId5"/>
    <p:sldId id="697" r:id="rId6"/>
    <p:sldId id="699" r:id="rId7"/>
    <p:sldId id="764" r:id="rId8"/>
    <p:sldId id="756" r:id="rId9"/>
    <p:sldId id="765" r:id="rId10"/>
    <p:sldId id="714"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3BB79D3-E83E-409F-8D3F-164104CF2D7F}">
          <p14:sldIdLst>
            <p14:sldId id="705"/>
            <p14:sldId id="753"/>
            <p14:sldId id="740"/>
            <p14:sldId id="697"/>
            <p14:sldId id="699"/>
            <p14:sldId id="764"/>
            <p14:sldId id="756"/>
            <p14:sldId id="765"/>
            <p14:sldId id="714"/>
          </p14:sldIdLst>
        </p14:section>
      </p14:sectionLst>
    </p:ext>
    <p:ext uri="{EFAFB233-063F-42B5-8137-9DF3F51BA10A}">
      <p15:sldGuideLst xmlns:p15="http://schemas.microsoft.com/office/powerpoint/2012/main">
        <p15:guide id="1" pos="384" userDrawn="1">
          <p15:clr>
            <a:srgbClr val="A4A3A4"/>
          </p15:clr>
        </p15:guide>
        <p15:guide id="2" orient="horz" pos="528" userDrawn="1">
          <p15:clr>
            <a:srgbClr val="A4A3A4"/>
          </p15:clr>
        </p15:guide>
        <p15:guide id="3" pos="312" userDrawn="1">
          <p15:clr>
            <a:srgbClr val="A4A3A4"/>
          </p15:clr>
        </p15:guide>
        <p15:guide id="4" pos="729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nya R Boldt" initials="TRB" lastIdx="5" clrIdx="0">
    <p:extLst/>
  </p:cmAuthor>
  <p:cmAuthor id="2" name="Charlotte Kemp" initials="CK" lastIdx="7" clrIdx="1">
    <p:extLst/>
  </p:cmAuthor>
  <p:cmAuthor id="3" name="Kristina L Albang" initials="KLA" lastIdx="1" clrIdx="2">
    <p:extLst/>
  </p:cmAuthor>
  <p:cmAuthor id="4" name="Daniel Lyons" initials="DL" lastIdx="16" clrIdx="3">
    <p:extLst/>
  </p:cmAuthor>
  <p:cmAuthor id="5" name="Mohit Ahuja" initials="MA" lastIdx="1" clrIdx="4">
    <p:extLst>
      <p:ext uri="{19B8F6BF-5375-455C-9EA6-DF929625EA0E}">
        <p15:presenceInfo xmlns:p15="http://schemas.microsoft.com/office/powerpoint/2012/main" userId="S-1-5-21-1644491937-1275210071-1417001333-55222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7777"/>
    <a:srgbClr val="5F5F5F"/>
    <a:srgbClr val="333333"/>
    <a:srgbClr val="FFFFFF"/>
    <a:srgbClr val="000000"/>
    <a:srgbClr val="FFD200"/>
    <a:srgbClr val="FFE600"/>
    <a:srgbClr val="1D2025"/>
    <a:srgbClr val="FF3399"/>
    <a:srgbClr val="FFD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70" autoAdjust="0"/>
    <p:restoredTop sz="92364" autoAdjust="0"/>
  </p:normalViewPr>
  <p:slideViewPr>
    <p:cSldViewPr snapToGrid="0" showGuides="1">
      <p:cViewPr varScale="1">
        <p:scale>
          <a:sx n="79" d="100"/>
          <a:sy n="79" d="100"/>
        </p:scale>
        <p:origin x="638" y="62"/>
      </p:cViewPr>
      <p:guideLst>
        <p:guide pos="384"/>
        <p:guide orient="horz" pos="528"/>
        <p:guide pos="312"/>
        <p:guide pos="7296"/>
      </p:guideLst>
    </p:cSldViewPr>
  </p:slideViewPr>
  <p:outlineViewPr>
    <p:cViewPr>
      <p:scale>
        <a:sx n="33" d="100"/>
        <a:sy n="33" d="100"/>
      </p:scale>
      <p:origin x="0" y="-19853"/>
    </p:cViewPr>
  </p:outlineViewPr>
  <p:notesTextViewPr>
    <p:cViewPr>
      <p:scale>
        <a:sx n="1" d="1"/>
        <a:sy n="1" d="1"/>
      </p:scale>
      <p:origin x="0" y="0"/>
    </p:cViewPr>
  </p:notesTextViewPr>
  <p:sorterViewPr>
    <p:cViewPr>
      <p:scale>
        <a:sx n="50" d="100"/>
        <a:sy n="50" d="100"/>
      </p:scale>
      <p:origin x="0" y="0"/>
    </p:cViewPr>
  </p:sorterViewPr>
  <p:notesViewPr>
    <p:cSldViewPr snapToGrid="0" showGuides="1">
      <p:cViewPr>
        <p:scale>
          <a:sx n="100" d="100"/>
          <a:sy n="100" d="100"/>
        </p:scale>
        <p:origin x="1015" y="-143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latin typeface="EYInterstate" panose="02000503020000020004" pitchFamily="2"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7E07711-DE4F-4756-8DA2-6291CD6C44B7}" type="datetimeFigureOut">
              <a:rPr lang="en-US" smtClean="0">
                <a:latin typeface="EYInterstate" panose="02000503020000020004" pitchFamily="2" charset="0"/>
              </a:rPr>
              <a:t>7/25/2018</a:t>
            </a:fld>
            <a:endParaRPr lang="en-US" dirty="0">
              <a:latin typeface="EYInterstate" panose="02000503020000020004" pitchFamily="2"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latin typeface="EYInterstate" panose="02000503020000020004" pitchFamily="2"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76B182-2C7E-4FDC-8940-E77EACA051BF}" type="slidenum">
              <a:rPr lang="en-US" smtClean="0">
                <a:latin typeface="EYInterstate" panose="02000503020000020004" pitchFamily="2" charset="0"/>
              </a:rPr>
              <a:t>‹#›</a:t>
            </a:fld>
            <a:endParaRPr lang="en-US" dirty="0">
              <a:latin typeface="EYInterstate" panose="02000503020000020004" pitchFamily="2" charset="0"/>
            </a:endParaRPr>
          </a:p>
        </p:txBody>
      </p:sp>
    </p:spTree>
    <p:extLst>
      <p:ext uri="{BB962C8B-B14F-4D97-AF65-F5344CB8AC3E}">
        <p14:creationId xmlns:p14="http://schemas.microsoft.com/office/powerpoint/2010/main" val="42326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E984D43C-18D0-4B8A-B5A3-2C2A15B5EC49}" type="datetimeFigureOut">
              <a:rPr lang="en-US" smtClean="0"/>
              <a:pPr/>
              <a:t>7/25/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97E7C251-41C9-40A1-A8E9-C23A977CB96E}" type="slidenum">
              <a:rPr lang="en-US" smtClean="0"/>
              <a:pPr/>
              <a:t>‹#›</a:t>
            </a:fld>
            <a:endParaRPr lang="en-US" dirty="0"/>
          </a:p>
        </p:txBody>
      </p:sp>
    </p:spTree>
    <p:extLst>
      <p:ext uri="{BB962C8B-B14F-4D97-AF65-F5344CB8AC3E}">
        <p14:creationId xmlns:p14="http://schemas.microsoft.com/office/powerpoint/2010/main" val="2756727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b="0" i="0" kern="1200" dirty="0" smtClean="0">
                <a:solidFill>
                  <a:schemeClr val="tx1"/>
                </a:solidFill>
                <a:effectLst/>
                <a:latin typeface="Arial" pitchFamily="34" charset="0"/>
                <a:ea typeface="+mn-ea"/>
                <a:cs typeface="+mn-cs"/>
              </a:rPr>
              <a:t>Definition</a:t>
            </a:r>
            <a:r>
              <a:rPr lang="en-IN" sz="1200" b="0" i="0" kern="1200" baseline="0" dirty="0" smtClean="0">
                <a:solidFill>
                  <a:schemeClr val="tx1"/>
                </a:solidFill>
                <a:effectLst/>
                <a:latin typeface="Arial" pitchFamily="34" charset="0"/>
                <a:ea typeface="+mn-ea"/>
                <a:cs typeface="+mn-cs"/>
              </a:rPr>
              <a:t> of Leading, Progressing and Lagging companies:</a:t>
            </a:r>
            <a:endParaRPr lang="en-IN" sz="1200" b="0" i="0" kern="1200" dirty="0" smtClean="0">
              <a:solidFill>
                <a:schemeClr val="tx1"/>
              </a:solidFill>
              <a:effectLst/>
              <a:latin typeface="Arial" pitchFamily="34" charset="0"/>
              <a:ea typeface="+mn-ea"/>
              <a:cs typeface="+mn-cs"/>
            </a:endParaRPr>
          </a:p>
          <a:p>
            <a:pPr marL="228600" indent="-228600">
              <a:buFont typeface="+mj-lt"/>
              <a:buAutoNum type="arabicPeriod"/>
            </a:pPr>
            <a:r>
              <a:rPr lang="en-IN" sz="1200" b="1" i="0" kern="1200" dirty="0" smtClean="0">
                <a:solidFill>
                  <a:schemeClr val="tx1"/>
                </a:solidFill>
                <a:effectLst/>
                <a:latin typeface="Arial" pitchFamily="34" charset="0"/>
                <a:ea typeface="+mn-ea"/>
                <a:cs typeface="+mn-cs"/>
              </a:rPr>
              <a:t>Leading: </a:t>
            </a:r>
            <a:r>
              <a:rPr lang="en-IN" sz="1200" b="0" i="0" kern="1200" dirty="0" smtClean="0">
                <a:solidFill>
                  <a:schemeClr val="tx1"/>
                </a:solidFill>
                <a:effectLst/>
                <a:latin typeface="Arial" pitchFamily="34" charset="0"/>
                <a:ea typeface="+mn-ea"/>
                <a:cs typeface="+mn-cs"/>
              </a:rPr>
              <a:t>5%+ revenue growth, positive margins and identifies themselves as 'Early Mover' in products and services,</a:t>
            </a:r>
            <a:r>
              <a:rPr lang="en-IN" sz="1200" b="0" i="0" kern="1200" baseline="0" dirty="0" smtClean="0">
                <a:solidFill>
                  <a:schemeClr val="tx1"/>
                </a:solidFill>
                <a:effectLst/>
                <a:latin typeface="Arial" pitchFamily="34" charset="0"/>
                <a:ea typeface="+mn-ea"/>
                <a:cs typeface="+mn-cs"/>
              </a:rPr>
              <a:t> </a:t>
            </a:r>
            <a:r>
              <a:rPr lang="en-IN" sz="1200" b="0" i="0" kern="1200" dirty="0" smtClean="0">
                <a:solidFill>
                  <a:schemeClr val="tx1"/>
                </a:solidFill>
                <a:effectLst/>
                <a:latin typeface="Arial" pitchFamily="34" charset="0"/>
                <a:ea typeface="+mn-ea"/>
                <a:cs typeface="+mn-cs"/>
              </a:rPr>
              <a:t>and business transformation. (n=29)</a:t>
            </a:r>
          </a:p>
          <a:p>
            <a:pPr marL="228600" indent="-228600">
              <a:buFont typeface="+mj-lt"/>
              <a:buAutoNum type="arabicPeriod"/>
            </a:pPr>
            <a:r>
              <a:rPr lang="en-IN" sz="1200" b="1" i="0" kern="1200" dirty="0" smtClean="0">
                <a:solidFill>
                  <a:schemeClr val="tx1"/>
                </a:solidFill>
                <a:effectLst/>
                <a:latin typeface="Arial" pitchFamily="34" charset="0"/>
                <a:ea typeface="+mn-ea"/>
                <a:cs typeface="+mn-cs"/>
              </a:rPr>
              <a:t>Progressing: </a:t>
            </a:r>
            <a:r>
              <a:rPr lang="en-IN" sz="1200" b="0" i="0" kern="1200" dirty="0" smtClean="0">
                <a:solidFill>
                  <a:schemeClr val="tx1"/>
                </a:solidFill>
                <a:effectLst/>
                <a:latin typeface="Arial" pitchFamily="34" charset="0"/>
                <a:ea typeface="+mn-ea"/>
                <a:cs typeface="+mn-cs"/>
              </a:rPr>
              <a:t>0 to 5% revenue growth, 0 to 5% margins and identifies as 'Fast Follower' in products and services,</a:t>
            </a:r>
            <a:r>
              <a:rPr lang="en-IN" sz="1200" b="0" i="0" kern="1200" baseline="0" dirty="0" smtClean="0">
                <a:solidFill>
                  <a:schemeClr val="tx1"/>
                </a:solidFill>
                <a:effectLst/>
                <a:latin typeface="Arial" pitchFamily="34" charset="0"/>
                <a:ea typeface="+mn-ea"/>
                <a:cs typeface="+mn-cs"/>
              </a:rPr>
              <a:t> </a:t>
            </a:r>
            <a:r>
              <a:rPr lang="en-IN" sz="1200" b="0" i="0" kern="1200" dirty="0" smtClean="0">
                <a:solidFill>
                  <a:schemeClr val="tx1"/>
                </a:solidFill>
                <a:effectLst/>
                <a:latin typeface="Arial" pitchFamily="34" charset="0"/>
                <a:ea typeface="+mn-ea"/>
                <a:cs typeface="+mn-cs"/>
              </a:rPr>
              <a:t>and business transformation. (n=47)</a:t>
            </a:r>
          </a:p>
          <a:p>
            <a:pPr marL="228600" indent="-228600">
              <a:buFont typeface="+mj-lt"/>
              <a:buAutoNum type="arabicPeriod"/>
            </a:pPr>
            <a:r>
              <a:rPr lang="en-IN" b="1" dirty="0" smtClean="0"/>
              <a:t>Lagging: </a:t>
            </a:r>
            <a:r>
              <a:rPr lang="en-IN" sz="1200" b="0" i="0" kern="1200" dirty="0" smtClean="0">
                <a:solidFill>
                  <a:schemeClr val="tx1"/>
                </a:solidFill>
                <a:effectLst/>
                <a:latin typeface="Arial" pitchFamily="34" charset="0"/>
                <a:ea typeface="+mn-ea"/>
                <a:cs typeface="+mn-cs"/>
              </a:rPr>
              <a:t>Negative to 5% revenue growth, Negative to 5% margins and identifies as 'Slow starter' or 'Beginner' in products and services,</a:t>
            </a:r>
            <a:r>
              <a:rPr lang="en-IN" sz="1200" b="0" i="0" kern="1200" baseline="0" dirty="0" smtClean="0">
                <a:solidFill>
                  <a:schemeClr val="tx1"/>
                </a:solidFill>
                <a:effectLst/>
                <a:latin typeface="Arial" pitchFamily="34" charset="0"/>
                <a:ea typeface="+mn-ea"/>
                <a:cs typeface="+mn-cs"/>
              </a:rPr>
              <a:t> </a:t>
            </a:r>
            <a:r>
              <a:rPr lang="en-IN" sz="1200" b="0" i="0" kern="1200" dirty="0" smtClean="0">
                <a:solidFill>
                  <a:schemeClr val="tx1"/>
                </a:solidFill>
                <a:effectLst/>
                <a:latin typeface="Arial" pitchFamily="34" charset="0"/>
                <a:ea typeface="+mn-ea"/>
                <a:cs typeface="+mn-cs"/>
              </a:rPr>
              <a:t>and business transformation. (n=104)</a:t>
            </a:r>
            <a:endParaRPr lang="en-US" sz="2500" b="0" dirty="0" smtClean="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9895205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8338" y="636588"/>
            <a:ext cx="5665787" cy="3187700"/>
          </a:xfrm>
        </p:spPr>
      </p:sp>
      <p:sp>
        <p:nvSpPr>
          <p:cNvPr id="3" name="Notes Placeholder 2"/>
          <p:cNvSpPr>
            <a:spLocks noGrp="1"/>
          </p:cNvSpPr>
          <p:nvPr>
            <p:ph type="body" idx="1"/>
          </p:nvPr>
        </p:nvSpPr>
        <p:spPr/>
        <p:txBody>
          <a:bodyPr/>
          <a:lstStyle/>
          <a:p>
            <a:r>
              <a:rPr lang="en-US" dirty="0" smtClean="0"/>
              <a:t>Sources:</a:t>
            </a:r>
          </a:p>
          <a:p>
            <a:pPr marL="228600" indent="-228600">
              <a:buFont typeface="+mj-lt"/>
              <a:buAutoNum type="arabicPeriod"/>
            </a:pPr>
            <a:r>
              <a:rPr lang="en-US" dirty="0" smtClean="0"/>
              <a:t>“</a:t>
            </a:r>
            <a:r>
              <a:rPr lang="en-IN" dirty="0" smtClean="0"/>
              <a:t>Building Business” Investor Presentation, </a:t>
            </a:r>
            <a:r>
              <a:rPr lang="en-IN" baseline="0" dirty="0" smtClean="0"/>
              <a:t>via </a:t>
            </a:r>
            <a:r>
              <a:rPr lang="en-IN" dirty="0" smtClean="0"/>
              <a:t>Schneider Electric company website</a:t>
            </a:r>
            <a:r>
              <a:rPr lang="en-IN" baseline="0" dirty="0" smtClean="0"/>
              <a:t>, </a:t>
            </a:r>
            <a:r>
              <a:rPr lang="en-US" dirty="0" smtClean="0"/>
              <a:t>https://www.schneider-electric.com/ww/en/documents/finance/2016/10/building-investor-day-2016-tcm50-277817.pdf</a:t>
            </a:r>
          </a:p>
          <a:p>
            <a:pPr marL="228600" indent="-228600">
              <a:buFont typeface="+mj-lt"/>
              <a:buAutoNum type="arabicPeriod"/>
            </a:pPr>
            <a:r>
              <a:rPr lang="en-IN" dirty="0" smtClean="0"/>
              <a:t>“B2B Manufacturing: </a:t>
            </a:r>
            <a:r>
              <a:rPr lang="en-IN" dirty="0" err="1" smtClean="0"/>
              <a:t>Fueled</a:t>
            </a:r>
            <a:r>
              <a:rPr lang="en-IN" dirty="0" smtClean="0"/>
              <a:t> By </a:t>
            </a:r>
            <a:r>
              <a:rPr lang="en-IN" dirty="0" err="1" smtClean="0"/>
              <a:t>Omnichannel</a:t>
            </a:r>
            <a:r>
              <a:rPr lang="en-IN" dirty="0" smtClean="0"/>
              <a:t>”, via </a:t>
            </a:r>
            <a:r>
              <a:rPr lang="en-IN" dirty="0" err="1" smtClean="0"/>
              <a:t>Digitalist</a:t>
            </a:r>
            <a:r>
              <a:rPr lang="en-IN" baseline="0" dirty="0" smtClean="0"/>
              <a:t> Magazine, October 2017, </a:t>
            </a:r>
            <a:r>
              <a:rPr lang="en-US" dirty="0" smtClean="0"/>
              <a:t>http://www.digitalistmag.com/customer-experience/2017/10/12/b2b-manufacturing-fueled-by-omnichannel-05414663</a:t>
            </a:r>
          </a:p>
        </p:txBody>
      </p:sp>
    </p:spTree>
    <p:extLst>
      <p:ext uri="{BB962C8B-B14F-4D97-AF65-F5344CB8AC3E}">
        <p14:creationId xmlns:p14="http://schemas.microsoft.com/office/powerpoint/2010/main" val="15590836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8338" y="636588"/>
            <a:ext cx="5665787" cy="31877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38927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Source:</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smtClean="0"/>
              <a:t>1) “</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Organization and Workforce Transformation”, EY Discover,</a:t>
            </a:r>
            <a:r>
              <a:rPr lang="en-IN" sz="1200" b="0" i="0"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https://go.ey.com/2pvrnVB</a:t>
            </a:r>
          </a:p>
          <a:p>
            <a:endParaRPr lang="en-IN" dirty="0"/>
          </a:p>
        </p:txBody>
      </p:sp>
      <p:sp>
        <p:nvSpPr>
          <p:cNvPr id="4" name="Slide Number Placeholder 3"/>
          <p:cNvSpPr>
            <a:spLocks noGrp="1"/>
          </p:cNvSpPr>
          <p:nvPr>
            <p:ph type="sldNum" sz="quarter" idx="10"/>
          </p:nvPr>
        </p:nvSpPr>
        <p:spPr/>
        <p:txBody>
          <a:bodyPr/>
          <a:lstStyle/>
          <a:p>
            <a:fld id="{97E7C251-41C9-40A1-A8E9-C23A977CB96E}" type="slidenum">
              <a:rPr lang="en-US" smtClean="0"/>
              <a:pPr/>
              <a:t>6</a:t>
            </a:fld>
            <a:endParaRPr lang="en-US" dirty="0"/>
          </a:p>
        </p:txBody>
      </p:sp>
    </p:spTree>
    <p:extLst>
      <p:ext uri="{BB962C8B-B14F-4D97-AF65-F5344CB8AC3E}">
        <p14:creationId xmlns:p14="http://schemas.microsoft.com/office/powerpoint/2010/main" val="2592629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baseline="0" dirty="0" smtClean="0"/>
              <a:t>Sources</a:t>
            </a:r>
          </a:p>
          <a:p>
            <a:r>
              <a:rPr lang="en-US" b="0" dirty="0" smtClean="0"/>
              <a:t>1. “</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What The Industrial Internet Of Things Means For Developers”, Forbes</a:t>
            </a:r>
            <a:r>
              <a:rPr lang="en-US" b="0" baseline="0" dirty="0" smtClean="0"/>
              <a:t>, 9 November 2017</a:t>
            </a:r>
          </a:p>
          <a:p>
            <a:pPr marL="0" marR="0" lvl="0" indent="0" algn="l" defTabSz="914400" rtl="0" eaLnBrk="1" fontAlgn="auto" latinLnBrk="0" hangingPunct="1">
              <a:lnSpc>
                <a:spcPct val="100000"/>
              </a:lnSpc>
              <a:spcBef>
                <a:spcPts val="0"/>
              </a:spcBef>
              <a:spcAft>
                <a:spcPts val="0"/>
              </a:spcAft>
              <a:buClrTx/>
              <a:buSzTx/>
              <a:buFontTx/>
              <a:buNone/>
              <a:tabLst/>
              <a:defRPr/>
            </a:pPr>
            <a:r>
              <a:rPr lang="en-IN" dirty="0" smtClean="0"/>
              <a:t>2. “</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DC Spending Guide Forecasts Worldwide Spending on Cognitive and Artificial Intelligence Systems to Reach $57.6 Billion in 2021,” IDC Media </a:t>
            </a:r>
            <a:r>
              <a:rPr lang="en-IN" sz="1200" b="0" i="0" kern="1200" dirty="0" err="1"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enter</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25 September 2017</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3. “Worldwide Spending on 3D Printing Forecast to Grow at a Compound Annual Rate of 22.3% to Nearly $29 Billion in 2020, According to IDC's 3D Printing Spending Guide,</a:t>
            </a:r>
            <a:r>
              <a:rPr lang="en-IN" sz="1200" b="0" i="0"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DC Media </a:t>
            </a:r>
            <a:r>
              <a:rPr lang="en-IN" sz="1200" b="0" i="0" kern="1200" dirty="0" err="1"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Center</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9 January 2017</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4. “</a:t>
            </a:r>
            <a:r>
              <a:rPr lang="en-IN" sz="1200" b="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New IDC Spending Guide Sees Worldwide </a:t>
            </a:r>
            <a:r>
              <a:rPr lang="en-IN" sz="1200" b="0" kern="1200" dirty="0" err="1"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lockchain</a:t>
            </a:r>
            <a:r>
              <a:rPr lang="en-IN" sz="1200" b="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Spending Growing to $9.2 Billion in 2021,” Business</a:t>
            </a:r>
            <a:r>
              <a:rPr lang="en-IN" sz="1200" b="0"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Wire, 24 January 2018</a:t>
            </a:r>
          </a:p>
          <a:p>
            <a:pPr marL="0" marR="0" lvl="0" indent="0" algn="l" defTabSz="914400" rtl="0" eaLnBrk="1" fontAlgn="auto" latinLnBrk="0" hangingPunct="1">
              <a:lnSpc>
                <a:spcPct val="100000"/>
              </a:lnSpc>
              <a:spcBef>
                <a:spcPts val="0"/>
              </a:spcBef>
              <a:spcAft>
                <a:spcPts val="0"/>
              </a:spcAft>
              <a:buClrTx/>
              <a:buSzTx/>
              <a:buFontTx/>
              <a:buNone/>
              <a:tabLst/>
              <a:defRPr/>
            </a:pPr>
            <a:r>
              <a:rPr lang="en-IN" b="0" dirty="0" smtClean="0"/>
              <a:t>5. “</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Big Data Market worth 66.79 Billion USD by 2021,” Markets and Markets, https://www.marketsandmarkets.com/PressReleases/big-data.asp, accessed 11</a:t>
            </a:r>
            <a:r>
              <a:rPr lang="en-IN" sz="1200" b="0" i="0"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June 2018</a:t>
            </a:r>
          </a:p>
          <a:p>
            <a:r>
              <a:rPr lang="en-IN" sz="1200" b="0" i="0"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6. </a:t>
            </a:r>
            <a:r>
              <a:rPr lang="en-IN" b="0" dirty="0" smtClean="0"/>
              <a:t>“</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ndustrial Robotics Market worth 71.72 Billion USD by 2023,” Markets and Markets, https://www.marketsandmarkets.com/PressReleases/industrial-robotics.asp, accessed 11</a:t>
            </a:r>
            <a:r>
              <a:rPr lang="en-IN" sz="1200" b="0" i="0"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June 2018</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7. “</a:t>
            </a: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Robot farmers are coming to a field near you,” CNBC, 7 July 2016</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8. “</a:t>
            </a:r>
            <a:r>
              <a:rPr lang="en-IN" sz="1200" b="0" i="0" u="none" strike="noStrike"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Global </a:t>
            </a:r>
            <a:r>
              <a:rPr lang="en-IN" sz="1200" b="0" i="0" u="none" strike="noStrike" kern="1200" dirty="0" err="1"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IoT</a:t>
            </a:r>
            <a:r>
              <a:rPr lang="en-IN" sz="1200" b="0" i="0" u="none" strike="noStrike"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in oil and gas forecast to grow rapidly, reach US$30.57 billion by 2026,” JW</a:t>
            </a:r>
            <a:r>
              <a:rPr lang="en-IN" sz="1200" b="0" i="0" u="none" strike="noStrike" kern="1200" baseline="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rPr>
              <a:t> Energy News, 31 August 2017</a:t>
            </a:r>
            <a:endParaRPr lang="en-IN" sz="1200" b="0" i="0" kern="1200" dirty="0" smtClean="0">
              <a:solidFill>
                <a:schemeClr val="tx1"/>
              </a:solidFill>
              <a:effectLst/>
              <a:latin typeface="Arial" panose="020B0604020202020204" pitchFamily="34" charset="0"/>
              <a:ea typeface="+mn-ea"/>
              <a:cs typeface="Arial" panose="020B0604020202020204" pitchFamily="34" charset="0"/>
              <a:sym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endParaRPr lang="en-IN" dirty="0"/>
          </a:p>
        </p:txBody>
      </p:sp>
      <p:sp>
        <p:nvSpPr>
          <p:cNvPr id="4" name="Slide Number Placeholder 3"/>
          <p:cNvSpPr>
            <a:spLocks noGrp="1"/>
          </p:cNvSpPr>
          <p:nvPr>
            <p:ph type="sldNum" sz="quarter" idx="10"/>
          </p:nvPr>
        </p:nvSpPr>
        <p:spPr/>
        <p:txBody>
          <a:bodyPr/>
          <a:lstStyle/>
          <a:p>
            <a:fld id="{381F0062-A153-41F3-961B-30418861EBBB}" type="slidenum">
              <a:rPr lang="en-IN" smtClean="0">
                <a:solidFill>
                  <a:prstClr val="black"/>
                </a:solidFill>
              </a:rPr>
              <a:pPr/>
              <a:t>7</a:t>
            </a:fld>
            <a:endParaRPr lang="en-IN" dirty="0">
              <a:solidFill>
                <a:prstClr val="black"/>
              </a:solidFill>
            </a:endParaRPr>
          </a:p>
        </p:txBody>
      </p:sp>
    </p:spTree>
    <p:extLst>
      <p:ext uri="{BB962C8B-B14F-4D97-AF65-F5344CB8AC3E}">
        <p14:creationId xmlns:p14="http://schemas.microsoft.com/office/powerpoint/2010/main" val="3081071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1225356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38830881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6.wmf"/><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5605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336"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bg1"/>
                </a:solidFill>
                <a:latin typeface="Arial" panose="020B0604020202020204" pitchFamily="34" charset="0"/>
                <a:sym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latin typeface="Arial" panose="020B0604020202020204" pitchFamily="34" charset="0"/>
                <a:sym typeface="Arial" panose="020B0604020202020204" pitchFamily="34" charset="0"/>
              </a:defRPr>
            </a:lvl1pPr>
            <a:lvl2pPr>
              <a:defRPr>
                <a:solidFill>
                  <a:schemeClr val="bg1"/>
                </a:solidFill>
                <a:latin typeface="Arial" panose="020B0604020202020204" pitchFamily="34" charset="0"/>
                <a:sym typeface="Arial" panose="020B0604020202020204" pitchFamily="34" charset="0"/>
              </a:defRPr>
            </a:lvl2pPr>
            <a:lvl3pPr>
              <a:defRPr>
                <a:solidFill>
                  <a:schemeClr val="bg1"/>
                </a:solidFill>
                <a:latin typeface="Arial" panose="020B0604020202020204" pitchFamily="34" charset="0"/>
                <a:sym typeface="Arial" panose="020B0604020202020204" pitchFamily="34" charset="0"/>
              </a:defRPr>
            </a:lvl3pPr>
            <a:lvl4pPr>
              <a:defRPr>
                <a:solidFill>
                  <a:schemeClr val="bg1"/>
                </a:solidFill>
                <a:latin typeface="Arial" panose="020B0604020202020204" pitchFamily="34" charset="0"/>
                <a:sym typeface="Arial" panose="020B0604020202020204" pitchFamily="34" charset="0"/>
              </a:defRPr>
            </a:lvl4pPr>
            <a:lvl5pPr>
              <a:defRPr>
                <a:solidFill>
                  <a:schemeClr val="bg1"/>
                </a:solidFill>
                <a:latin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1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9" name="Date Placeholder 8"/>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r>
              <a:rPr lang="en-US" dirty="0" smtClean="0">
                <a:solidFill>
                  <a:srgbClr val="FFFFFF"/>
                </a:solidFill>
              </a:rPr>
              <a:t>1 January 2014</a:t>
            </a:r>
            <a:endParaRPr lang="en-US" dirty="0">
              <a:solidFill>
                <a:srgbClr val="FFFFFF"/>
              </a:solidFill>
            </a:endParaRPr>
          </a:p>
        </p:txBody>
      </p:sp>
      <p:sp>
        <p:nvSpPr>
          <p:cNvPr id="10" name="Footer Placeholder 9"/>
          <p:cNvSpPr>
            <a:spLocks noGrp="1"/>
          </p:cNvSpPr>
          <p:nvPr>
            <p:ph type="ftr" sz="quarter" idx="11"/>
          </p:nvPr>
        </p:nvSpPr>
        <p:spPr/>
        <p:txBody>
          <a:bodyPr/>
          <a:lstStyle>
            <a:lvl1pPr>
              <a:defRPr>
                <a:latin typeface="Arial" panose="020B0604020202020204" pitchFamily="34" charset="0"/>
                <a:sym typeface="Arial" panose="020B0604020202020204" pitchFamily="34" charset="0"/>
              </a:defRPr>
            </a:lvl1pPr>
          </a:lstStyle>
          <a:p>
            <a:r>
              <a:rPr lang="en-GB" dirty="0" smtClean="0">
                <a:solidFill>
                  <a:srgbClr val="FFFFFF"/>
                </a:solidFill>
              </a:rPr>
              <a:t>Presentation title</a:t>
            </a:r>
            <a:endParaRPr lang="en-GB" dirty="0">
              <a:solidFill>
                <a:srgbClr val="FFFFFF"/>
              </a:solidFill>
            </a:endParaRPr>
          </a:p>
        </p:txBody>
      </p:sp>
      <p:sp>
        <p:nvSpPr>
          <p:cNvPr id="11" name="Line 11"/>
          <p:cNvSpPr>
            <a:spLocks noChangeShapeType="1"/>
          </p:cNvSpPr>
          <p:nvPr userDrawn="1"/>
        </p:nvSpPr>
        <p:spPr bwMode="auto">
          <a:xfrm>
            <a:off x="60961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23727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p>
            <a:r>
              <a:rPr lang="en-US" dirty="0" smtClean="0">
                <a:solidFill>
                  <a:srgbClr val="646464"/>
                </a:solidFill>
              </a:rPr>
              <a:t>1 January 2014</a:t>
            </a:r>
            <a:endParaRPr lang="en-US" dirty="0">
              <a:solidFill>
                <a:srgbClr val="646464"/>
              </a:solidFill>
            </a:endParaRPr>
          </a:p>
        </p:txBody>
      </p:sp>
      <p:sp>
        <p:nvSpPr>
          <p:cNvPr id="9" name="Footer Placeholder 8"/>
          <p:cNvSpPr>
            <a:spLocks noGrp="1"/>
          </p:cNvSpPr>
          <p:nvPr>
            <p:ph type="ftr" sz="quarter" idx="11"/>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2356285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dirty="0" smtClean="0">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9312508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4" name="Date Placeholder 3"/>
          <p:cNvSpPr>
            <a:spLocks noGrp="1"/>
          </p:cNvSpPr>
          <p:nvPr>
            <p:ph type="dt" sz="half" idx="10"/>
          </p:nvPr>
        </p:nvSpPr>
        <p:spPr/>
        <p:txBody>
          <a:bodyPr/>
          <a:lstStyle/>
          <a:p>
            <a:r>
              <a:rPr lang="en-US" dirty="0" smtClean="0">
                <a:solidFill>
                  <a:srgbClr val="646464"/>
                </a:solidFill>
              </a:rPr>
              <a:t>1 January 2014</a:t>
            </a:r>
            <a:endParaRPr lang="en-US" dirty="0">
              <a:solidFill>
                <a:srgbClr val="646464"/>
              </a:solidFill>
            </a:endParaRPr>
          </a:p>
        </p:txBody>
      </p:sp>
      <p:sp>
        <p:nvSpPr>
          <p:cNvPr id="6" name="Footer Placeholder 5"/>
          <p:cNvSpPr>
            <a:spLocks noGrp="1"/>
          </p:cNvSpPr>
          <p:nvPr>
            <p:ph type="ftr" sz="quarter" idx="11"/>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852236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smtClean="0">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667181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en-US" dirty="0" smtClean="0">
                <a:solidFill>
                  <a:srgbClr val="646464"/>
                </a:solidFill>
              </a:rPr>
              <a:t>1 January 2014</a:t>
            </a:r>
            <a:endParaRPr lang="en-US" dirty="0">
              <a:solidFill>
                <a:srgbClr val="646464"/>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7281810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en-US" dirty="0" smtClean="0">
                <a:solidFill>
                  <a:srgbClr val="646464"/>
                </a:solidFill>
              </a:rPr>
              <a:t>1 January 2014</a:t>
            </a:r>
            <a:endParaRPr lang="en-US" dirty="0">
              <a:solidFill>
                <a:srgbClr val="646464"/>
              </a:solidFill>
            </a:endParaRPr>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9888744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smtClean="0"/>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smtClean="0"/>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5" name="Date Placeholder 4"/>
          <p:cNvSpPr>
            <a:spLocks noGrp="1"/>
          </p:cNvSpPr>
          <p:nvPr>
            <p:ph type="dt" sz="half" idx="14"/>
          </p:nvPr>
        </p:nvSpPr>
        <p:spPr/>
        <p:txBody>
          <a:bodyPr/>
          <a:lstStyle/>
          <a:p>
            <a:r>
              <a:rPr lang="en-US" dirty="0" smtClean="0">
                <a:solidFill>
                  <a:srgbClr val="646464"/>
                </a:solidFill>
              </a:rPr>
              <a:t>1 January 2014</a:t>
            </a:r>
            <a:endParaRPr lang="en-US" dirty="0">
              <a:solidFill>
                <a:srgbClr val="646464"/>
              </a:solidFill>
            </a:endParaRPr>
          </a:p>
        </p:txBody>
      </p:sp>
      <p:sp>
        <p:nvSpPr>
          <p:cNvPr id="7" name="Footer Placeholder 6"/>
          <p:cNvSpPr>
            <a:spLocks noGrp="1"/>
          </p:cNvSpPr>
          <p:nvPr>
            <p:ph type="ftr" sz="quarter" idx="15"/>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25339092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en-US" dirty="0" smtClean="0">
                <a:solidFill>
                  <a:srgbClr val="646464"/>
                </a:solidFill>
              </a:rPr>
              <a:t>1 January 2014</a:t>
            </a:r>
            <a:endParaRPr lang="en-US" dirty="0">
              <a:solidFill>
                <a:srgbClr val="646464"/>
              </a:solidFill>
            </a:endParaRPr>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695078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smtClean="0"/>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646464"/>
              </a:solidFill>
            </a:endParaRPr>
          </a:p>
        </p:txBody>
      </p:sp>
      <p:sp>
        <p:nvSpPr>
          <p:cNvPr id="2" name="Date Placeholder 1"/>
          <p:cNvSpPr>
            <a:spLocks noGrp="1"/>
          </p:cNvSpPr>
          <p:nvPr>
            <p:ph type="dt" sz="half" idx="10"/>
          </p:nvPr>
        </p:nvSpPr>
        <p:spPr/>
        <p:txBody>
          <a:bodyPr/>
          <a:lstStyle/>
          <a:p>
            <a:r>
              <a:rPr lang="en-US" dirty="0" smtClean="0">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8817848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smtClean="0"/>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646464"/>
              </a:solidFill>
            </a:endParaRPr>
          </a:p>
        </p:txBody>
      </p:sp>
      <p:sp>
        <p:nvSpPr>
          <p:cNvPr id="2" name="Date Placeholder 1"/>
          <p:cNvSpPr>
            <a:spLocks noGrp="1"/>
          </p:cNvSpPr>
          <p:nvPr>
            <p:ph type="dt" sz="half" idx="10"/>
          </p:nvPr>
        </p:nvSpPr>
        <p:spPr/>
        <p:txBody>
          <a:bodyPr/>
          <a:lstStyle/>
          <a:p>
            <a:r>
              <a:rPr lang="en-US" dirty="0" smtClean="0">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85062817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337393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330" name="think-cell Slide" r:id="rId4" imgW="473" imgH="476" progId="TCLayout.ActiveDocument.1">
                  <p:embed/>
                </p:oleObj>
              </mc:Choice>
              <mc:Fallback>
                <p:oleObj name="think-cell Slide" r:id="rId4" imgW="473" imgH="47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Line 10"/>
          <p:cNvSpPr>
            <a:spLocks noChangeShapeType="1"/>
          </p:cNvSpPr>
          <p:nvPr userDrawn="1"/>
        </p:nvSpPr>
        <p:spPr bwMode="auto">
          <a:xfrm>
            <a:off x="609607"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latin typeface="Arial" panose="020B0604020202020204" pitchFamily="34" charset="0"/>
              <a:cs typeface="Arial" pitchFamily="34" charset="0"/>
              <a:sym typeface="Arial" panose="020B0604020202020204" pitchFamily="34" charset="0"/>
            </a:endParaRPr>
          </a:p>
        </p:txBody>
      </p:sp>
      <p:sp>
        <p:nvSpPr>
          <p:cNvPr id="8" name="Line 11"/>
          <p:cNvSpPr>
            <a:spLocks noChangeShapeType="1"/>
          </p:cNvSpPr>
          <p:nvPr userDrawn="1"/>
        </p:nvSpPr>
        <p:spPr bwMode="auto">
          <a:xfrm>
            <a:off x="609607"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FFFFFF"/>
              </a:solidFill>
              <a:latin typeface="Arial" panose="020B0604020202020204" pitchFamily="34" charset="0"/>
              <a:cs typeface="Arial" pitchFamily="34" charset="0"/>
              <a:sym typeface="Arial" panose="020B0604020202020204" pitchFamily="34" charset="0"/>
            </a:endParaRPr>
          </a:p>
        </p:txBody>
      </p:sp>
      <p:sp>
        <p:nvSpPr>
          <p:cNvPr id="6" name="Title 5"/>
          <p:cNvSpPr>
            <a:spLocks noGrp="1"/>
          </p:cNvSpPr>
          <p:nvPr>
            <p:ph type="title"/>
          </p:nvPr>
        </p:nvSpPr>
        <p:spPr>
          <a:xfrm>
            <a:off x="609607" y="201600"/>
            <a:ext cx="10977034" cy="860400"/>
          </a:xfrm>
          <a:prstGeom prst="rect">
            <a:avLst/>
          </a:prstGeom>
        </p:spPr>
        <p:txBody>
          <a:bodyPr/>
          <a:lstStyle>
            <a:lvl1pPr>
              <a:defRPr>
                <a:latin typeface="Arial" panose="020B0604020202020204" pitchFamily="34" charset="0"/>
                <a:sym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271793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endParaRPr lang="en-GB" sz="1799" dirty="0">
              <a:solidFill>
                <a:srgbClr val="000000"/>
              </a:solidFill>
            </a:endParaRPr>
          </a:p>
        </p:txBody>
      </p:sp>
      <p:sp>
        <p:nvSpPr>
          <p:cNvPr id="2" name="Date Placeholder 1"/>
          <p:cNvSpPr>
            <a:spLocks noGrp="1"/>
          </p:cNvSpPr>
          <p:nvPr>
            <p:ph type="dt" sz="half" idx="10"/>
          </p:nvPr>
        </p:nvSpPr>
        <p:spPr/>
        <p:txBody>
          <a:bodyPr/>
          <a:lstStyle/>
          <a:p>
            <a:r>
              <a:rPr lang="en-US" dirty="0" smtClean="0">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7190561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endParaRPr lang="en-US" sz="1799" dirty="0">
              <a:solidFill>
                <a:srgbClr val="646464"/>
              </a:solidFill>
            </a:endParaRPr>
          </a:p>
        </p:txBody>
      </p:sp>
      <p:sp>
        <p:nvSpPr>
          <p:cNvPr id="2" name="Date Placeholder 1"/>
          <p:cNvSpPr>
            <a:spLocks noGrp="1"/>
          </p:cNvSpPr>
          <p:nvPr>
            <p:ph type="dt" sz="half" idx="10"/>
          </p:nvPr>
        </p:nvSpPr>
        <p:spPr/>
        <p:txBody>
          <a:bodyPr/>
          <a:lstStyle/>
          <a:p>
            <a:r>
              <a:rPr lang="en-US" dirty="0" smtClean="0">
                <a:solidFill>
                  <a:srgbClr val="646464"/>
                </a:solidFill>
              </a:rPr>
              <a:t>1 January 2014</a:t>
            </a:r>
            <a:endParaRPr lang="en-US" dirty="0">
              <a:solidFill>
                <a:srgbClr val="646464"/>
              </a:solidFill>
            </a:endParaRPr>
          </a:p>
        </p:txBody>
      </p:sp>
      <p:sp>
        <p:nvSpPr>
          <p:cNvPr id="3" name="Footer Placeholder 2"/>
          <p:cNvSpPr>
            <a:spLocks noGrp="1"/>
          </p:cNvSpPr>
          <p:nvPr>
            <p:ph type="ftr" sz="quarter" idx="11"/>
          </p:nvPr>
        </p:nvSpPr>
        <p:spPr/>
        <p:txBody>
          <a:bodyPr/>
          <a:lstStyle/>
          <a:p>
            <a:r>
              <a:rPr lang="en-GB" dirty="0" smtClean="0">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7164287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5172419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0870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4969" y="4941449"/>
            <a:ext cx="1215519" cy="142478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2903" y="4941449"/>
            <a:ext cx="1217585" cy="1426464"/>
          </a:xfrm>
          <a:prstGeom prst="rect">
            <a:avLst/>
          </a:prstGeom>
        </p:spPr>
      </p:pic>
      <p:grpSp>
        <p:nvGrpSpPr>
          <p:cNvPr id="9" name="Group 8"/>
          <p:cNvGrpSpPr/>
          <p:nvPr userDrawn="1"/>
        </p:nvGrpSpPr>
        <p:grpSpPr>
          <a:xfrm rot="10800000">
            <a:off x="490154" y="615949"/>
            <a:ext cx="5380420" cy="3498850"/>
            <a:chOff x="266700" y="344492"/>
            <a:chExt cx="9525007" cy="6381746"/>
          </a:xfrm>
          <a:solidFill>
            <a:schemeClr val="accent2"/>
          </a:solidFill>
        </p:grpSpPr>
        <p:sp>
          <p:nvSpPr>
            <p:cNvPr id="11" name="Rectangle 1"/>
            <p:cNvSpPr/>
            <p:nvPr userDrawn="1"/>
          </p:nvSpPr>
          <p:spPr>
            <a:xfrm>
              <a:off x="266700" y="4877307"/>
              <a:ext cx="9525000" cy="1848931"/>
            </a:xfrm>
            <a:custGeom>
              <a:avLst/>
              <a:gdLst>
                <a:gd name="connsiteX0" fmla="*/ 0 w 9525000"/>
                <a:gd name="connsiteY0" fmla="*/ 0 h 5759450"/>
                <a:gd name="connsiteX1" fmla="*/ 9525000 w 9525000"/>
                <a:gd name="connsiteY1" fmla="*/ 0 h 5759450"/>
                <a:gd name="connsiteX2" fmla="*/ 9525000 w 9525000"/>
                <a:gd name="connsiteY2" fmla="*/ 5759450 h 5759450"/>
                <a:gd name="connsiteX3" fmla="*/ 0 w 9525000"/>
                <a:gd name="connsiteY3" fmla="*/ 5759450 h 5759450"/>
                <a:gd name="connsiteX4" fmla="*/ 0 w 9525000"/>
                <a:gd name="connsiteY4" fmla="*/ 0 h 5759450"/>
                <a:gd name="connsiteX0" fmla="*/ 0 w 9525000"/>
                <a:gd name="connsiteY0" fmla="*/ 0 h 5759450"/>
                <a:gd name="connsiteX1" fmla="*/ 9525000 w 9525000"/>
                <a:gd name="connsiteY1" fmla="*/ 0 h 5759450"/>
                <a:gd name="connsiteX2" fmla="*/ 9525000 w 9525000"/>
                <a:gd name="connsiteY2" fmla="*/ 4037654 h 5759450"/>
                <a:gd name="connsiteX3" fmla="*/ 0 w 9525000"/>
                <a:gd name="connsiteY3" fmla="*/ 5759450 h 5759450"/>
                <a:gd name="connsiteX4" fmla="*/ 0 w 9525000"/>
                <a:gd name="connsiteY4" fmla="*/ 0 h 5759450"/>
                <a:gd name="connsiteX0" fmla="*/ 0 w 9525000"/>
                <a:gd name="connsiteY0" fmla="*/ 0 h 5759450"/>
                <a:gd name="connsiteX1" fmla="*/ 9525000 w 9525000"/>
                <a:gd name="connsiteY1" fmla="*/ 3910519 h 5759450"/>
                <a:gd name="connsiteX2" fmla="*/ 9525000 w 9525000"/>
                <a:gd name="connsiteY2" fmla="*/ 4037654 h 5759450"/>
                <a:gd name="connsiteX3" fmla="*/ 0 w 9525000"/>
                <a:gd name="connsiteY3" fmla="*/ 5759450 h 5759450"/>
                <a:gd name="connsiteX4" fmla="*/ 0 w 9525000"/>
                <a:gd name="connsiteY4" fmla="*/ 0 h 5759450"/>
                <a:gd name="connsiteX0" fmla="*/ 0 w 9525000"/>
                <a:gd name="connsiteY0" fmla="*/ 0 h 1848931"/>
                <a:gd name="connsiteX1" fmla="*/ 9525000 w 9525000"/>
                <a:gd name="connsiteY1" fmla="*/ 0 h 1848931"/>
                <a:gd name="connsiteX2" fmla="*/ 9525000 w 9525000"/>
                <a:gd name="connsiteY2" fmla="*/ 127135 h 1848931"/>
                <a:gd name="connsiteX3" fmla="*/ 0 w 9525000"/>
                <a:gd name="connsiteY3" fmla="*/ 1848931 h 1848931"/>
                <a:gd name="connsiteX4" fmla="*/ 0 w 9525000"/>
                <a:gd name="connsiteY4" fmla="*/ 0 h 1848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0" h="1848931">
                  <a:moveTo>
                    <a:pt x="0" y="0"/>
                  </a:moveTo>
                  <a:lnTo>
                    <a:pt x="9525000" y="0"/>
                  </a:lnTo>
                  <a:lnTo>
                    <a:pt x="9525000" y="127135"/>
                  </a:lnTo>
                  <a:lnTo>
                    <a:pt x="0" y="1848931"/>
                  </a:lnTo>
                  <a:lnTo>
                    <a:pt x="0"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base">
                <a:spcBef>
                  <a:spcPct val="0"/>
                </a:spcBef>
                <a:spcAft>
                  <a:spcPct val="0"/>
                </a:spcAft>
                <a:defRPr/>
              </a:pPr>
              <a:endParaRPr lang="en-US" sz="1099" dirty="0">
                <a:solidFill>
                  <a:srgbClr val="646464"/>
                </a:solidFill>
              </a:endParaRPr>
            </a:p>
          </p:txBody>
        </p:sp>
        <p:sp>
          <p:nvSpPr>
            <p:cNvPr id="12" name="Rectangle 11"/>
            <p:cNvSpPr/>
            <p:nvPr userDrawn="1"/>
          </p:nvSpPr>
          <p:spPr>
            <a:xfrm>
              <a:off x="266707" y="344492"/>
              <a:ext cx="9525000" cy="4617068"/>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base">
                <a:spcBef>
                  <a:spcPct val="0"/>
                </a:spcBef>
                <a:spcAft>
                  <a:spcPct val="0"/>
                </a:spcAft>
              </a:pPr>
              <a:endParaRPr lang="en-US" sz="1099" dirty="0">
                <a:solidFill>
                  <a:srgbClr val="646464"/>
                </a:solidFill>
              </a:endParaRPr>
            </a:p>
          </p:txBody>
        </p:sp>
      </p:grpSp>
      <p:sp>
        <p:nvSpPr>
          <p:cNvPr id="17" name="Title 11"/>
          <p:cNvSpPr txBox="1">
            <a:spLocks/>
          </p:cNvSpPr>
          <p:nvPr userDrawn="1"/>
        </p:nvSpPr>
        <p:spPr>
          <a:xfrm>
            <a:off x="851606" y="2057400"/>
            <a:ext cx="4790366" cy="72324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3000" b="1" kern="1200">
                <a:solidFill>
                  <a:srgbClr val="404040"/>
                </a:solidFill>
                <a:latin typeface="+mn-lt"/>
                <a:ea typeface="+mj-ea"/>
                <a:cs typeface="Arial" pitchFamily="34" charset="0"/>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endParaRPr kumimoji="0" lang="en-US" sz="3200" b="1" i="0" u="none" strike="noStrike" kern="1200" cap="none" spc="0" normalizeH="0" baseline="0" noProof="0" dirty="0">
              <a:ln>
                <a:noFill/>
              </a:ln>
              <a:solidFill>
                <a:schemeClr val="tx2"/>
              </a:solidFill>
              <a:effectLst/>
              <a:uLnTx/>
              <a:uFillTx/>
              <a:latin typeface="Arial"/>
              <a:ea typeface="+mj-ea"/>
              <a:cs typeface="Arial" pitchFamily="34" charset="0"/>
            </a:endParaRPr>
          </a:p>
        </p:txBody>
      </p:sp>
      <p:sp>
        <p:nvSpPr>
          <p:cNvPr id="18" name="Subtitle 12"/>
          <p:cNvSpPr txBox="1">
            <a:spLocks/>
          </p:cNvSpPr>
          <p:nvPr userDrawn="1"/>
        </p:nvSpPr>
        <p:spPr>
          <a:xfrm>
            <a:off x="851606" y="3154680"/>
            <a:ext cx="4790369" cy="645742"/>
          </a:xfrm>
          <a:prstGeom prst="rect">
            <a:avLst/>
          </a:prstGeom>
        </p:spPr>
        <p:txBody>
          <a:bodyPr vert="horz" lIns="0" tIns="0" rIns="0" bIns="0" rtlCol="0" anchor="t" anchorCtr="0">
            <a:noAutofit/>
          </a:bodyPr>
          <a:lstStyle>
            <a:lvl1pPr marL="0" indent="0" algn="l" defTabSz="914400" rtl="0" eaLnBrk="1" latinLnBrk="0" hangingPunct="1">
              <a:lnSpc>
                <a:spcPct val="90000"/>
              </a:lnSpc>
              <a:spcBef>
                <a:spcPts val="0"/>
              </a:spcBef>
              <a:spcAft>
                <a:spcPts val="600"/>
              </a:spcAft>
              <a:buClr>
                <a:schemeClr val="accent2"/>
              </a:buClr>
              <a:buSzPct val="70000"/>
              <a:buFont typeface="Arial" pitchFamily="34" charset="0"/>
              <a:buNone/>
              <a:defRPr sz="2000" kern="1200">
                <a:solidFill>
                  <a:srgbClr val="404040"/>
                </a:solidFill>
                <a:latin typeface="+mn-lt"/>
                <a:ea typeface="+mn-ea"/>
                <a:cs typeface="Arial" pitchFamily="34" charset="0"/>
              </a:defRPr>
            </a:lvl1pPr>
            <a:lvl2pPr marL="0" indent="0" algn="l" defTabSz="914400" rtl="0" eaLnBrk="1" latinLnBrk="0" hangingPunct="1">
              <a:lnSpc>
                <a:spcPct val="90000"/>
              </a:lnSpc>
              <a:spcBef>
                <a:spcPts val="0"/>
              </a:spcBef>
              <a:spcAft>
                <a:spcPts val="600"/>
              </a:spcAft>
              <a:buClr>
                <a:schemeClr val="accent2"/>
              </a:buClr>
              <a:buSzPct val="70000"/>
              <a:buFont typeface="Arial" pitchFamily="34" charset="0"/>
              <a:buNone/>
              <a:defRPr sz="1600" kern="1200">
                <a:solidFill>
                  <a:srgbClr val="404040"/>
                </a:solidFill>
                <a:latin typeface="+mn-lt"/>
                <a:ea typeface="+mn-ea"/>
                <a:cs typeface="+mn-cs"/>
              </a:defRPr>
            </a:lvl2pPr>
            <a:lvl3pPr marL="914400" indent="0" algn="ctr" defTabSz="914400" rtl="0" eaLnBrk="1" latinLnBrk="0" hangingPunct="1">
              <a:lnSpc>
                <a:spcPct val="90000"/>
              </a:lnSpc>
              <a:spcBef>
                <a:spcPts val="0"/>
              </a:spcBef>
              <a:spcAft>
                <a:spcPts val="600"/>
              </a:spcAft>
              <a:buClr>
                <a:schemeClr val="accent2"/>
              </a:buClr>
              <a:buSzPct val="70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0"/>
              </a:spcBef>
              <a:spcAft>
                <a:spcPts val="600"/>
              </a:spcAft>
              <a:buClr>
                <a:schemeClr val="accent2"/>
              </a:buClr>
              <a:buSzPct val="70000"/>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0"/>
              </a:spcBef>
              <a:spcAft>
                <a:spcPts val="600"/>
              </a:spcAft>
              <a:buClr>
                <a:schemeClr val="accent2"/>
              </a:buClr>
              <a:buSzPct val="70000"/>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600"/>
              </a:spcAft>
              <a:buClr>
                <a:srgbClr val="FFE600"/>
              </a:buClr>
              <a:buSzPct val="70000"/>
              <a:buFont typeface="Arial" pitchFamily="34" charset="0"/>
              <a:buNone/>
              <a:tabLst/>
              <a:defRPr/>
            </a:pPr>
            <a:endParaRPr kumimoji="0" lang="en-US" sz="1800" b="0" i="0" u="none" strike="noStrike" kern="1200" cap="none" spc="0" normalizeH="0" baseline="0" noProof="0" dirty="0">
              <a:ln>
                <a:noFill/>
              </a:ln>
              <a:solidFill>
                <a:schemeClr val="tx2"/>
              </a:solidFill>
              <a:effectLst/>
              <a:uLnTx/>
              <a:uFillTx/>
              <a:latin typeface="Arial"/>
              <a:ea typeface="+mn-ea"/>
              <a:cs typeface="Arial" pitchFamily="34" charset="0"/>
            </a:endParaRPr>
          </a:p>
        </p:txBody>
      </p:sp>
    </p:spTree>
    <p:extLst>
      <p:ext uri="{BB962C8B-B14F-4D97-AF65-F5344CB8AC3E}">
        <p14:creationId xmlns:p14="http://schemas.microsoft.com/office/powerpoint/2010/main" val="20349899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4904725" y="615951"/>
            <a:ext cx="6794578" cy="3141919"/>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8" name="Title 1"/>
          <p:cNvSpPr>
            <a:spLocks noGrp="1"/>
          </p:cNvSpPr>
          <p:nvPr>
            <p:ph type="ctrTitle"/>
          </p:nvPr>
        </p:nvSpPr>
        <p:spPr>
          <a:xfrm>
            <a:off x="5209367" y="2240280"/>
            <a:ext cx="6275398" cy="640080"/>
          </a:xfrm>
        </p:spPr>
        <p:txBody>
          <a:bodyPr/>
          <a:lstStyle>
            <a:lvl1pPr>
              <a:defRPr>
                <a:solidFill>
                  <a:srgbClr val="333333"/>
                </a:solidFill>
                <a:latin typeface="+mn-lt"/>
                <a:cs typeface="Arial" pitchFamily="34" charset="0"/>
              </a:defRPr>
            </a:lvl1pPr>
          </a:lstStyle>
          <a:p>
            <a:r>
              <a:rPr lang="en-US" dirty="0" smtClean="0"/>
              <a:t>Click to edit Master title style</a:t>
            </a:r>
            <a:endParaRPr lang="en-GB" dirty="0"/>
          </a:p>
        </p:txBody>
      </p:sp>
      <p:sp>
        <p:nvSpPr>
          <p:cNvPr id="10" name="Subtitle 2"/>
          <p:cNvSpPr>
            <a:spLocks noGrp="1"/>
          </p:cNvSpPr>
          <p:nvPr>
            <p:ph type="subTitle" idx="1"/>
          </p:nvPr>
        </p:nvSpPr>
        <p:spPr>
          <a:xfrm>
            <a:off x="5209367" y="2990088"/>
            <a:ext cx="6275398" cy="499872"/>
          </a:xfrm>
          <a:prstGeom prst="rect">
            <a:avLst/>
          </a:prstGeom>
        </p:spPr>
        <p:txBody>
          <a:bodyPr>
            <a:noAutofit/>
          </a:bodyPr>
          <a:lstStyle>
            <a:lvl1pPr marL="0" indent="0" algn="l">
              <a:buNone/>
              <a:defRPr sz="1999" b="0">
                <a:solidFill>
                  <a:srgbClr val="333333"/>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84969" y="4941449"/>
            <a:ext cx="1215519" cy="142478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82903" y="4941449"/>
            <a:ext cx="1217585" cy="1426464"/>
          </a:xfrm>
          <a:prstGeom prst="rect">
            <a:avLst/>
          </a:prstGeom>
        </p:spPr>
      </p:pic>
    </p:spTree>
    <p:extLst>
      <p:ext uri="{BB962C8B-B14F-4D97-AF65-F5344CB8AC3E}">
        <p14:creationId xmlns:p14="http://schemas.microsoft.com/office/powerpoint/2010/main" val="90375520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89934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910264" y="882828"/>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sz="2999">
                <a:solidFill>
                  <a:srgbClr val="404040"/>
                </a:solidFill>
                <a:latin typeface="+mn-lt"/>
                <a:cs typeface="Arial" pitchFamily="34" charset="0"/>
              </a:defRPr>
            </a:lvl1pPr>
          </a:lstStyle>
          <a:p>
            <a:r>
              <a:rPr lang="en-US" dirty="0" smtClean="0"/>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smtClean="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Tree>
    <p:extLst>
      <p:ext uri="{BB962C8B-B14F-4D97-AF65-F5344CB8AC3E}">
        <p14:creationId xmlns:p14="http://schemas.microsoft.com/office/powerpoint/2010/main" val="1808104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329" y="612648"/>
            <a:ext cx="7727649" cy="3575304"/>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sp>
        <p:nvSpPr>
          <p:cNvPr id="9" name="Title 1"/>
          <p:cNvSpPr>
            <a:spLocks noGrp="1"/>
          </p:cNvSpPr>
          <p:nvPr>
            <p:ph type="ctrTitle"/>
          </p:nvPr>
        </p:nvSpPr>
        <p:spPr>
          <a:xfrm>
            <a:off x="1005317" y="2240280"/>
            <a:ext cx="6875882" cy="860400"/>
          </a:xfrm>
          <a:prstGeom prst="rect">
            <a:avLst/>
          </a:prstGeo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0" name="Subtitle 2"/>
          <p:cNvSpPr>
            <a:spLocks noGrp="1"/>
          </p:cNvSpPr>
          <p:nvPr>
            <p:ph type="subTitle" idx="1"/>
          </p:nvPr>
        </p:nvSpPr>
        <p:spPr>
          <a:xfrm>
            <a:off x="1005317" y="3218688"/>
            <a:ext cx="6875882" cy="645742"/>
          </a:xfrm>
          <a:prstGeom prst="rect">
            <a:avLst/>
          </a:prstGeom>
        </p:spPr>
        <p:txBody>
          <a:bodyPr/>
          <a:lstStyle>
            <a:lvl1pPr marL="0" indent="0" algn="l">
              <a:buNone/>
              <a:defRPr sz="1999">
                <a:solidFill>
                  <a:srgbClr val="404040"/>
                </a:solidFill>
                <a:latin typeface="+mn-lt"/>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smtClean="0"/>
              <a:t>Click to edit Master subtitle style</a:t>
            </a:r>
            <a:endParaRPr lang="en-GB" dirty="0"/>
          </a:p>
        </p:txBody>
      </p:sp>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spTree>
    <p:extLst>
      <p:ext uri="{BB962C8B-B14F-4D97-AF65-F5344CB8AC3E}">
        <p14:creationId xmlns:p14="http://schemas.microsoft.com/office/powerpoint/2010/main" val="3284602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4524" y="385087"/>
            <a:ext cx="5410557" cy="4572000"/>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76168" y="5339038"/>
            <a:ext cx="987038" cy="1156968"/>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051" y="5888736"/>
            <a:ext cx="3778032" cy="618750"/>
          </a:xfrm>
          <a:prstGeom prst="rect">
            <a:avLst/>
          </a:prstGeom>
        </p:spPr>
      </p:pic>
      <p:sp>
        <p:nvSpPr>
          <p:cNvPr id="11" name="Title 1"/>
          <p:cNvSpPr>
            <a:spLocks noGrp="1"/>
          </p:cNvSpPr>
          <p:nvPr>
            <p:ph type="ctrTitle"/>
          </p:nvPr>
        </p:nvSpPr>
        <p:spPr>
          <a:xfrm>
            <a:off x="996177" y="1691640"/>
            <a:ext cx="4595007" cy="860400"/>
          </a:xfrm>
          <a:prstGeom prst="rect">
            <a:avLst/>
          </a:prstGeo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4" name="Subtitle 2"/>
          <p:cNvSpPr>
            <a:spLocks noGrp="1"/>
          </p:cNvSpPr>
          <p:nvPr>
            <p:ph type="subTitle" idx="1"/>
          </p:nvPr>
        </p:nvSpPr>
        <p:spPr>
          <a:xfrm>
            <a:off x="996177" y="2660904"/>
            <a:ext cx="4595007" cy="645742"/>
          </a:xfrm>
          <a:prstGeom prst="rect">
            <a:avLst/>
          </a:prstGeom>
        </p:spPr>
        <p:txBody>
          <a:bodyPr/>
          <a:lstStyle>
            <a:lvl1pPr marL="0" indent="0" algn="l">
              <a:buNone/>
              <a:defRPr sz="1999">
                <a:solidFill>
                  <a:srgbClr val="404040"/>
                </a:solidFill>
                <a:latin typeface="+mn-lt"/>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smtClean="0"/>
              <a:t>Click to edit Master subtitle style</a:t>
            </a:r>
            <a:endParaRPr lang="en-GB" dirty="0"/>
          </a:p>
        </p:txBody>
      </p:sp>
    </p:spTree>
    <p:extLst>
      <p:ext uri="{BB962C8B-B14F-4D97-AF65-F5344CB8AC3E}">
        <p14:creationId xmlns:p14="http://schemas.microsoft.com/office/powerpoint/2010/main" val="2116716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6"/>
            <a:ext cx="1219200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dirty="0">
                <a:solidFill>
                  <a:srgbClr val="646464"/>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79925" y="777600"/>
            <a:ext cx="8504955" cy="860400"/>
          </a:xfrm>
        </p:spPr>
        <p:txBody>
          <a:bodyPr/>
          <a:lstStyle>
            <a:lvl1pPr>
              <a:defRPr>
                <a:solidFill>
                  <a:schemeClr val="bg1"/>
                </a:solidFill>
              </a:defRPr>
            </a:lvl1pPr>
          </a:lstStyle>
          <a:p>
            <a:r>
              <a:rPr lang="en-US" dirty="0" smtClean="0"/>
              <a:t>Click to edit Master title style</a:t>
            </a:r>
            <a:endParaRPr lang="en-GB" dirty="0"/>
          </a:p>
        </p:txBody>
      </p:sp>
      <p:sp>
        <p:nvSpPr>
          <p:cNvPr id="9" name="Subtitle 2"/>
          <p:cNvSpPr>
            <a:spLocks noGrp="1"/>
          </p:cNvSpPr>
          <p:nvPr>
            <p:ph type="subTitle" idx="1"/>
          </p:nvPr>
        </p:nvSpPr>
        <p:spPr>
          <a:xfrm>
            <a:off x="3079924" y="1731938"/>
            <a:ext cx="6219714" cy="968400"/>
          </a:xfrm>
        </p:spPr>
        <p:txBody>
          <a:bodyPr/>
          <a:lstStyle>
            <a:lvl1pPr marL="0" indent="0" algn="l">
              <a:buNone/>
              <a:defRPr sz="1999">
                <a:solidFill>
                  <a:schemeClr val="bg1"/>
                </a:solidFill>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79924" y="5751576"/>
            <a:ext cx="988638" cy="749808"/>
          </a:xfrm>
          <a:prstGeom prst="rect">
            <a:avLst/>
          </a:prstGeom>
        </p:spPr>
      </p:pic>
    </p:spTree>
    <p:extLst>
      <p:ext uri="{BB962C8B-B14F-4D97-AF65-F5344CB8AC3E}">
        <p14:creationId xmlns:p14="http://schemas.microsoft.com/office/powerpoint/2010/main" val="41401209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w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image" Target="../media/image5.w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494798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309" name="think-cell Slide" r:id="rId9" imgW="473" imgH="476" progId="TCLayout.ActiveDocument.1">
                  <p:embed/>
                </p:oleObj>
              </mc:Choice>
              <mc:Fallback>
                <p:oleObj name="think-cell Slide" r:id="rId9" imgW="473" imgH="476"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611" y="201602"/>
            <a:ext cx="109728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611" y="1425600"/>
            <a:ext cx="10972800" cy="469800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451211" y="6519672"/>
            <a:ext cx="4579200" cy="201168"/>
          </a:xfrm>
          <a:prstGeom prst="rect">
            <a:avLst/>
          </a:prstGeom>
        </p:spPr>
        <p:txBody>
          <a:bodyPr vert="horz" lIns="0" tIns="0" rIns="0" bIns="0" rtlCol="0" anchor="t" anchorCtr="0">
            <a:noAutofit/>
          </a:bodyPr>
          <a:lstStyle>
            <a:lvl1pPr algn="l">
              <a:defRPr sz="11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GB" dirty="0" smtClean="0">
                <a:solidFill>
                  <a:srgbClr val="FFFFFF"/>
                </a:solidFill>
              </a:rPr>
              <a:t>Presentation title</a:t>
            </a:r>
            <a:endParaRPr lang="en-GB" dirty="0">
              <a:solidFill>
                <a:srgbClr val="FFFFFF"/>
              </a:solidFill>
            </a:endParaRPr>
          </a:p>
        </p:txBody>
      </p:sp>
      <p:sp>
        <p:nvSpPr>
          <p:cNvPr id="7" name="TextBox 6"/>
          <p:cNvSpPr txBox="1"/>
          <p:nvPr/>
        </p:nvSpPr>
        <p:spPr>
          <a:xfrm>
            <a:off x="609601" y="6519672"/>
            <a:ext cx="886506" cy="201168"/>
          </a:xfrm>
          <a:prstGeom prst="rect">
            <a:avLst/>
          </a:prstGeom>
          <a:noFill/>
        </p:spPr>
        <p:txBody>
          <a:bodyPr wrap="square" lIns="0" tIns="0" rIns="0" bIns="0" rtlCol="0" anchor="t" anchorCtr="0">
            <a:noAutofit/>
          </a:bodyPr>
          <a:lstStyle/>
          <a:p>
            <a:r>
              <a:rPr lang="en-GB" sz="1100" dirty="0">
                <a:solidFill>
                  <a:srgbClr val="FFFFFF"/>
                </a:solidFill>
                <a:latin typeface="Arial" panose="020B0604020202020204" pitchFamily="34" charset="0"/>
                <a:cs typeface="Arial" panose="020B0604020202020204" pitchFamily="34" charset="0"/>
                <a:sym typeface="Arial" panose="020B0604020202020204" pitchFamily="34" charset="0"/>
              </a:rPr>
              <a:t>Page </a:t>
            </a:r>
            <a:fld id="{9AE4D82F-B047-469B-AC52-A46321747EAF}" type="slidenum">
              <a:rPr lang="en-GB" sz="1100" smtClean="0">
                <a:solidFill>
                  <a:srgbClr val="FFFFFF"/>
                </a:solidFill>
                <a:latin typeface="Arial" panose="020B0604020202020204" pitchFamily="34" charset="0"/>
                <a:cs typeface="Arial" panose="020B0604020202020204" pitchFamily="34" charset="0"/>
                <a:sym typeface="Arial" panose="020B0604020202020204" pitchFamily="34" charset="0"/>
              </a:rPr>
              <a:pPr/>
              <a:t>‹#›</a:t>
            </a:fld>
            <a:endParaRPr lang="en-GB" sz="1100" dirty="0">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2" name="Date Placeholder 3"/>
          <p:cNvSpPr>
            <a:spLocks noGrp="1"/>
          </p:cNvSpPr>
          <p:nvPr>
            <p:ph type="dt" sz="half" idx="2"/>
          </p:nvPr>
        </p:nvSpPr>
        <p:spPr>
          <a:xfrm>
            <a:off x="1494739" y="6519672"/>
            <a:ext cx="1370886" cy="201168"/>
          </a:xfrm>
          <a:prstGeom prst="rect">
            <a:avLst/>
          </a:prstGeom>
        </p:spPr>
        <p:txBody>
          <a:bodyPr vert="horz" wrap="none" lIns="0" tIns="0" rIns="0" bIns="0" rtlCol="0" anchor="t" anchorCtr="0"/>
          <a:lstStyle>
            <a:lvl1pPr algn="l">
              <a:defRPr sz="110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en-US" dirty="0" smtClean="0">
                <a:solidFill>
                  <a:srgbClr val="FFFFFF"/>
                </a:solidFill>
              </a:rPr>
              <a:t>1 January 2014</a:t>
            </a:r>
            <a:endParaRPr lang="en-US" dirty="0">
              <a:solidFill>
                <a:srgbClr val="FFFFFF"/>
              </a:solidFill>
            </a:endParaRPr>
          </a:p>
        </p:txBody>
      </p:sp>
      <p:pic>
        <p:nvPicPr>
          <p:cNvPr id="13" name="Picture 1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186430" y="6327648"/>
            <a:ext cx="402294" cy="411480"/>
          </a:xfrm>
          <a:prstGeom prst="rect">
            <a:avLst/>
          </a:prstGeom>
        </p:spPr>
      </p:pic>
    </p:spTree>
    <p:extLst>
      <p:ext uri="{BB962C8B-B14F-4D97-AF65-F5344CB8AC3E}">
        <p14:creationId xmlns:p14="http://schemas.microsoft.com/office/powerpoint/2010/main" val="3331833005"/>
      </p:ext>
    </p:extLst>
  </p:cSld>
  <p:clrMap bg1="lt1" tx1="dk1" bg2="lt2" tx2="dk2" accent1="accent1" accent2="accent2" accent3="accent3" accent4="accent4" accent5="accent5" accent6="accent6" hlink="hlink" folHlink="folHlink"/>
  <p:sldLayoutIdLst>
    <p:sldLayoutId id="2147483750" r:id="rId1"/>
    <p:sldLayoutId id="2147483752" r:id="rId2"/>
    <p:sldLayoutId id="2147483776" r:id="rId3"/>
    <p:sldLayoutId id="2147483754" r:id="rId4"/>
    <p:sldLayoutId id="2147483756" r:id="rId5"/>
  </p:sldLayoutIdLst>
  <mc:AlternateContent xmlns:mc="http://schemas.openxmlformats.org/markup-compatibility/2006" xmlns:p14="http://schemas.microsoft.com/office/powerpoint/2010/main">
    <mc:Choice Requires="p14">
      <p:transition p14:dur="0"/>
    </mc:Choice>
    <mc:Fallback xmlns="">
      <p:transition/>
    </mc:Fallback>
  </mc:AlternateContent>
  <p:hf sldNum="0" hdr="0"/>
  <p:txStyles>
    <p:titleStyle>
      <a:lvl1pPr algn="l" defTabSz="914400" rtl="0" eaLnBrk="1" latinLnBrk="0" hangingPunct="1">
        <a:lnSpc>
          <a:spcPct val="85000"/>
        </a:lnSpc>
        <a:spcBef>
          <a:spcPct val="0"/>
        </a:spcBef>
        <a:buNone/>
        <a:defRPr sz="3000" b="1" kern="1200">
          <a:solidFill>
            <a:schemeClr val="bg1"/>
          </a:solidFill>
          <a:latin typeface="Arial" panose="020B0604020202020204" pitchFamily="34" charset="0"/>
          <a:ea typeface="+mj-ea"/>
          <a:cs typeface="Arial" pitchFamily="34" charset="0"/>
          <a:sym typeface="Arial" panose="020B0604020202020204"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451201" y="6519672"/>
            <a:ext cx="4579200" cy="201168"/>
          </a:xfrm>
          <a:prstGeom prst="rect">
            <a:avLst/>
          </a:prstGeom>
        </p:spPr>
        <p:txBody>
          <a:bodyPr vert="horz" lIns="0" tIns="0" rIns="0" bIns="0" rtlCol="0" anchor="t" anchorCtr="0">
            <a:noAutofit/>
          </a:bodyPr>
          <a:lstStyle>
            <a:lvl1pPr algn="l">
              <a:defRPr sz="1099">
                <a:solidFill>
                  <a:schemeClr val="bg1"/>
                </a:solidFill>
                <a:latin typeface="+mn-lt"/>
              </a:defRPr>
            </a:lvl1pPr>
          </a:lstStyle>
          <a:p>
            <a:r>
              <a:rPr lang="en-GB" dirty="0" smtClean="0">
                <a:solidFill>
                  <a:srgbClr val="646464"/>
                </a:solidFill>
              </a:rPr>
              <a:t>Presentation title</a:t>
            </a:r>
            <a:endParaRPr lang="en-GB" dirty="0">
              <a:solidFill>
                <a:srgbClr val="646464"/>
              </a:solidFill>
            </a:endParaRPr>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r>
              <a:rPr lang="en-GB" sz="1099" dirty="0" smtClean="0">
                <a:solidFill>
                  <a:srgbClr val="646464"/>
                </a:solidFill>
              </a:rPr>
              <a:t>Page </a:t>
            </a:r>
            <a:fld id="{9AE4D82F-B047-469B-AC52-A46321747EAF}" type="slidenum">
              <a:rPr lang="en-GB" sz="1099" smtClean="0">
                <a:solidFill>
                  <a:srgbClr val="646464"/>
                </a:solidFill>
              </a:rPr>
              <a:pPr/>
              <a:t>‹#›</a:t>
            </a:fld>
            <a:endParaRPr lang="en-GB" sz="1099" dirty="0">
              <a:solidFill>
                <a:srgbClr val="646464"/>
              </a:solidFill>
            </a:endParaRPr>
          </a:p>
        </p:txBody>
      </p:sp>
      <p:sp>
        <p:nvSpPr>
          <p:cNvPr id="4" name="Date Placeholder 3"/>
          <p:cNvSpPr>
            <a:spLocks noGrp="1"/>
          </p:cNvSpPr>
          <p:nvPr>
            <p:ph type="dt" sz="half" idx="2"/>
          </p:nvPr>
        </p:nvSpPr>
        <p:spPr>
          <a:xfrm>
            <a:off x="1494739" y="6519672"/>
            <a:ext cx="1370886" cy="201168"/>
          </a:xfrm>
          <a:prstGeom prst="rect">
            <a:avLst/>
          </a:prstGeom>
        </p:spPr>
        <p:txBody>
          <a:bodyPr vert="horz" wrap="none" lIns="0" tIns="0" rIns="0" bIns="0" rtlCol="0" anchor="t" anchorCtr="0"/>
          <a:lstStyle>
            <a:lvl1pPr algn="l">
              <a:defRPr sz="1099">
                <a:solidFill>
                  <a:schemeClr val="bg1"/>
                </a:solidFill>
                <a:latin typeface="+mn-lt"/>
              </a:defRPr>
            </a:lvl1pPr>
          </a:lstStyle>
          <a:p>
            <a:r>
              <a:rPr lang="en-US" dirty="0" smtClean="0">
                <a:solidFill>
                  <a:srgbClr val="646464"/>
                </a:solidFill>
              </a:rPr>
              <a:t>1 January 2014</a:t>
            </a:r>
            <a:endParaRPr lang="en-US" dirty="0">
              <a:solidFill>
                <a:srgbClr val="646464"/>
              </a:solidFill>
            </a:endParaRPr>
          </a:p>
        </p:txBody>
      </p:sp>
      <p:pic>
        <p:nvPicPr>
          <p:cNvPr id="12" name="Picture 1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185135" y="6327648"/>
            <a:ext cx="399711" cy="408838"/>
          </a:xfrm>
          <a:prstGeom prst="rect">
            <a:avLst/>
          </a:prstGeom>
        </p:spPr>
      </p:pic>
    </p:spTree>
    <p:extLst>
      <p:ext uri="{BB962C8B-B14F-4D97-AF65-F5344CB8AC3E}">
        <p14:creationId xmlns:p14="http://schemas.microsoft.com/office/powerpoint/2010/main" val="278320282"/>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Lst>
  <p:hf sldNum="0" hdr="0"/>
  <p:txStyles>
    <p:titleStyle>
      <a:lvl1pPr algn="l" defTabSz="913943" rtl="0" eaLnBrk="1" latinLnBrk="0" hangingPunct="1">
        <a:lnSpc>
          <a:spcPct val="85000"/>
        </a:lnSpc>
        <a:spcBef>
          <a:spcPct val="0"/>
        </a:spcBef>
        <a:buNone/>
        <a:defRPr sz="25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hyperlink" Target="https://consulting.ey.com/ip-company-b2b2c-stand-for-customer-or-crucial/" TargetMode="External"/><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0.xml"/><Relationship Id="rId7" Type="http://schemas.openxmlformats.org/officeDocument/2006/relationships/image" Target="../media/image13.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7.png"/><Relationship Id="rId5" Type="http://schemas.openxmlformats.org/officeDocument/2006/relationships/notesSlide" Target="../notesSlides/notesSlide4.xml"/><Relationship Id="rId10" Type="http://schemas.openxmlformats.org/officeDocument/2006/relationships/image" Target="../media/image16.png"/><Relationship Id="rId4" Type="http://schemas.openxmlformats.org/officeDocument/2006/relationships/slideLayout" Target="../slideLayouts/slideLayout1.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3000" b="-3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209366" y="2101823"/>
            <a:ext cx="6364069" cy="639747"/>
          </a:xfrm>
        </p:spPr>
        <p:txBody>
          <a:bodyPr/>
          <a:lstStyle/>
          <a:p>
            <a:r>
              <a:rPr lang="en-IN" dirty="0" smtClean="0">
                <a:latin typeface="+mj-lt"/>
              </a:rPr>
              <a:t>The Corporate </a:t>
            </a:r>
            <a:r>
              <a:rPr lang="en-IN" dirty="0" smtClean="0">
                <a:latin typeface="+mj-lt"/>
              </a:rPr>
              <a:t>Balancing </a:t>
            </a:r>
            <a:r>
              <a:rPr lang="en-IN" dirty="0" smtClean="0">
                <a:latin typeface="+mj-lt"/>
              </a:rPr>
              <a:t>Act</a:t>
            </a:r>
            <a:endParaRPr lang="en-GB" dirty="0">
              <a:latin typeface="+mj-lt"/>
            </a:endParaRPr>
          </a:p>
        </p:txBody>
      </p:sp>
      <p:sp>
        <p:nvSpPr>
          <p:cNvPr id="3" name="Subtitle 2"/>
          <p:cNvSpPr>
            <a:spLocks noGrp="1"/>
          </p:cNvSpPr>
          <p:nvPr>
            <p:ph type="subTitle" idx="1"/>
          </p:nvPr>
        </p:nvSpPr>
        <p:spPr/>
        <p:txBody>
          <a:bodyPr/>
          <a:lstStyle/>
          <a:p>
            <a:pPr lvl="1"/>
            <a:fld id="{06C70B72-5F4D-4D72-A8E1-99E2FF6B24C1}" type="datetime4">
              <a:rPr lang="en-GB" smtClean="0">
                <a:latin typeface="+mj-lt"/>
              </a:rPr>
              <a:pPr lvl="1"/>
              <a:t>25 July 2018</a:t>
            </a:fld>
            <a:endParaRPr lang="en-GB" dirty="0">
              <a:latin typeface="+mj-lt"/>
            </a:endParaRPr>
          </a:p>
        </p:txBody>
      </p:sp>
    </p:spTree>
    <p:extLst>
      <p:ext uri="{BB962C8B-B14F-4D97-AF65-F5344CB8AC3E}">
        <p14:creationId xmlns:p14="http://schemas.microsoft.com/office/powerpoint/2010/main" val="6749961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400" dirty="0"/>
              <a:t>What separates the leaders from the laggards:  </a:t>
            </a:r>
            <a:br>
              <a:rPr lang="en-IN" sz="2400" dirty="0"/>
            </a:br>
            <a:r>
              <a:rPr lang="en-IN" sz="2400" dirty="0"/>
              <a:t>The </a:t>
            </a:r>
            <a:r>
              <a:rPr lang="en-IN" sz="2400" dirty="0" smtClean="0"/>
              <a:t>corporate</a:t>
            </a:r>
            <a:r>
              <a:rPr lang="en-IN" sz="2400" dirty="0" smtClean="0"/>
              <a:t> </a:t>
            </a:r>
            <a:r>
              <a:rPr lang="en-IN" sz="2400" dirty="0"/>
              <a:t>balancing act – Producing now and investing in the future!</a:t>
            </a:r>
            <a:endParaRPr lang="en-US" sz="2400" dirty="0"/>
          </a:p>
        </p:txBody>
      </p:sp>
      <p:sp>
        <p:nvSpPr>
          <p:cNvPr id="66" name="Freeform 65"/>
          <p:cNvSpPr/>
          <p:nvPr/>
        </p:nvSpPr>
        <p:spPr>
          <a:xfrm rot="10800000">
            <a:off x="10612523" y="1680317"/>
            <a:ext cx="962679" cy="4356407"/>
          </a:xfrm>
          <a:custGeom>
            <a:avLst/>
            <a:gdLst>
              <a:gd name="connsiteX0" fmla="*/ 2891103 w 4333875"/>
              <a:gd name="connsiteY0" fmla="*/ 236529 h 8228011"/>
              <a:gd name="connsiteX1" fmla="*/ 4333856 w 4333875"/>
              <a:gd name="connsiteY1" fmla="*/ 4131480 h 8228011"/>
              <a:gd name="connsiteX2" fmla="*/ 2832939 w 4333875"/>
              <a:gd name="connsiteY2" fmla="*/ 8028884 h 8228011"/>
              <a:gd name="connsiteX3" fmla="*/ 2166938 w 4333875"/>
              <a:gd name="connsiteY3" fmla="*/ 4114006 h 8228011"/>
              <a:gd name="connsiteX4" fmla="*/ 2891103 w 4333875"/>
              <a:gd name="connsiteY4" fmla="*/ 236529 h 8228011"/>
              <a:gd name="connsiteX0" fmla="*/ 2891103 w 4333875"/>
              <a:gd name="connsiteY0" fmla="*/ 236529 h 8228011"/>
              <a:gd name="connsiteX1" fmla="*/ 4333856 w 4333875"/>
              <a:gd name="connsiteY1" fmla="*/ 4131480 h 8228011"/>
              <a:gd name="connsiteX2" fmla="*/ 2832939 w 4333875"/>
              <a:gd name="connsiteY2" fmla="*/ 8028884 h 8228011"/>
              <a:gd name="connsiteX0" fmla="*/ 59003 w 1505668"/>
              <a:gd name="connsiteY0" fmla="*/ 0 h 7792355"/>
              <a:gd name="connsiteX1" fmla="*/ 1501756 w 1505668"/>
              <a:gd name="connsiteY1" fmla="*/ 3894951 h 7792355"/>
              <a:gd name="connsiteX2" fmla="*/ 839 w 1505668"/>
              <a:gd name="connsiteY2" fmla="*/ 7792355 h 7792355"/>
              <a:gd name="connsiteX3" fmla="*/ 0 w 1505668"/>
              <a:gd name="connsiteY3" fmla="*/ 3887002 h 7792355"/>
              <a:gd name="connsiteX4" fmla="*/ 59003 w 1505668"/>
              <a:gd name="connsiteY4" fmla="*/ 0 h 7792355"/>
              <a:gd name="connsiteX0" fmla="*/ 59003 w 1505668"/>
              <a:gd name="connsiteY0" fmla="*/ 0 h 7792355"/>
              <a:gd name="connsiteX1" fmla="*/ 1501756 w 1505668"/>
              <a:gd name="connsiteY1" fmla="*/ 3894951 h 7792355"/>
              <a:gd name="connsiteX2" fmla="*/ 839 w 1505668"/>
              <a:gd name="connsiteY2" fmla="*/ 7792355 h 7792355"/>
              <a:gd name="connsiteX0" fmla="*/ 59003 w 1505668"/>
              <a:gd name="connsiteY0" fmla="*/ 0 h 7792355"/>
              <a:gd name="connsiteX1" fmla="*/ 1501756 w 1505668"/>
              <a:gd name="connsiteY1" fmla="*/ 3894951 h 7792355"/>
              <a:gd name="connsiteX2" fmla="*/ 839 w 1505668"/>
              <a:gd name="connsiteY2" fmla="*/ 7792355 h 7792355"/>
              <a:gd name="connsiteX3" fmla="*/ 0 w 1505668"/>
              <a:gd name="connsiteY3" fmla="*/ 3887002 h 7792355"/>
              <a:gd name="connsiteX4" fmla="*/ 59003 w 1505668"/>
              <a:gd name="connsiteY4" fmla="*/ 0 h 7792355"/>
              <a:gd name="connsiteX0" fmla="*/ 0 w 1505668"/>
              <a:gd name="connsiteY0" fmla="*/ 2 h 7792355"/>
              <a:gd name="connsiteX1" fmla="*/ 1501756 w 1505668"/>
              <a:gd name="connsiteY1" fmla="*/ 3894951 h 7792355"/>
              <a:gd name="connsiteX2" fmla="*/ 839 w 1505668"/>
              <a:gd name="connsiteY2" fmla="*/ 7792355 h 7792355"/>
              <a:gd name="connsiteX0" fmla="*/ 0 w 1505668"/>
              <a:gd name="connsiteY0" fmla="*/ 0 h 7792355"/>
              <a:gd name="connsiteX1" fmla="*/ 1501756 w 1505668"/>
              <a:gd name="connsiteY1" fmla="*/ 3894951 h 7792355"/>
              <a:gd name="connsiteX2" fmla="*/ 839 w 1505668"/>
              <a:gd name="connsiteY2" fmla="*/ 7792355 h 7792355"/>
              <a:gd name="connsiteX3" fmla="*/ 0 w 1505668"/>
              <a:gd name="connsiteY3" fmla="*/ 3887002 h 7792355"/>
              <a:gd name="connsiteX4" fmla="*/ 0 w 1505668"/>
              <a:gd name="connsiteY4" fmla="*/ 0 h 7792355"/>
              <a:gd name="connsiteX0" fmla="*/ 0 w 1505668"/>
              <a:gd name="connsiteY0" fmla="*/ 2 h 7792355"/>
              <a:gd name="connsiteX1" fmla="*/ 1501756 w 1505668"/>
              <a:gd name="connsiteY1" fmla="*/ 3894951 h 7792355"/>
              <a:gd name="connsiteX2" fmla="*/ 839 w 1505668"/>
              <a:gd name="connsiteY2" fmla="*/ 7792355 h 7792355"/>
            </a:gdLst>
            <a:ahLst/>
            <a:cxnLst>
              <a:cxn ang="0">
                <a:pos x="connsiteX0" y="connsiteY0"/>
              </a:cxn>
              <a:cxn ang="0">
                <a:pos x="connsiteX1" y="connsiteY1"/>
              </a:cxn>
              <a:cxn ang="0">
                <a:pos x="connsiteX2" y="connsiteY2"/>
              </a:cxn>
            </a:cxnLst>
            <a:rect l="l" t="t" r="r" b="b"/>
            <a:pathLst>
              <a:path w="1505668" h="7792355" stroke="0" extrusionOk="0">
                <a:moveTo>
                  <a:pt x="0" y="0"/>
                </a:moveTo>
                <a:cubicBezTo>
                  <a:pt x="868019" y="584325"/>
                  <a:pt x="1505668" y="2146476"/>
                  <a:pt x="1501756" y="3894951"/>
                </a:cubicBezTo>
                <a:cubicBezTo>
                  <a:pt x="1497777" y="5673453"/>
                  <a:pt x="892282" y="7245733"/>
                  <a:pt x="839" y="7792355"/>
                </a:cubicBezTo>
                <a:cubicBezTo>
                  <a:pt x="559" y="6490571"/>
                  <a:pt x="280" y="5188786"/>
                  <a:pt x="0" y="3887002"/>
                </a:cubicBezTo>
                <a:lnTo>
                  <a:pt x="0" y="0"/>
                </a:lnTo>
                <a:close/>
              </a:path>
              <a:path w="1505668" h="7792355" fill="none">
                <a:moveTo>
                  <a:pt x="0" y="2"/>
                </a:moveTo>
                <a:cubicBezTo>
                  <a:pt x="868019" y="584327"/>
                  <a:pt x="1505668" y="2146476"/>
                  <a:pt x="1501756" y="3894951"/>
                </a:cubicBezTo>
                <a:cubicBezTo>
                  <a:pt x="1497777" y="5673453"/>
                  <a:pt x="892282" y="7245733"/>
                  <a:pt x="839" y="7792355"/>
                </a:cubicBezTo>
              </a:path>
            </a:pathLst>
          </a:custGeom>
          <a:solidFill>
            <a:srgbClr val="C0C0C0"/>
          </a:solidFill>
          <a:ln w="25400" cap="flat" cmpd="sng" algn="ctr">
            <a:noFill/>
            <a:prstDash val="solid"/>
          </a:ln>
          <a:effectLst/>
        </p:spPr>
        <p:txBody>
          <a:bodyPr rtlCol="0" anchor="ctr"/>
          <a:lstStyle/>
          <a:p>
            <a:pPr algn="ctr">
              <a:defRPr/>
            </a:pPr>
            <a:endParaRPr lang="en-US" sz="1599" kern="0" dirty="0">
              <a:solidFill>
                <a:srgbClr val="646464"/>
              </a:solidFill>
              <a:latin typeface="Arial"/>
            </a:endParaRPr>
          </a:p>
        </p:txBody>
      </p:sp>
      <p:grpSp>
        <p:nvGrpSpPr>
          <p:cNvPr id="6" name="Group 5"/>
          <p:cNvGrpSpPr/>
          <p:nvPr/>
        </p:nvGrpSpPr>
        <p:grpSpPr>
          <a:xfrm>
            <a:off x="8928028" y="4583596"/>
            <a:ext cx="2314139" cy="624223"/>
            <a:chOff x="8283435" y="3070244"/>
            <a:chExt cx="2314139" cy="624223"/>
          </a:xfrm>
        </p:grpSpPr>
        <p:sp>
          <p:nvSpPr>
            <p:cNvPr id="72" name="Rectangle 71"/>
            <p:cNvSpPr/>
            <p:nvPr/>
          </p:nvSpPr>
          <p:spPr>
            <a:xfrm>
              <a:off x="8283435" y="3158634"/>
              <a:ext cx="1468789" cy="447443"/>
            </a:xfrm>
            <a:prstGeom prst="rect">
              <a:avLst/>
            </a:prstGeom>
          </p:spPr>
          <p:txBody>
            <a:bodyPr wrap="square" lIns="0" tIns="0" rIns="0" bIns="0">
              <a:spAutoFit/>
            </a:bodyPr>
            <a:lstStyle/>
            <a:p>
              <a:pPr algn="r"/>
              <a:r>
                <a:rPr lang="en-US" sz="1599" b="1" spc="-30" dirty="0">
                  <a:solidFill>
                    <a:schemeClr val="bg1"/>
                  </a:solidFill>
                  <a:latin typeface="+mj-lt"/>
                </a:rPr>
                <a:t>Big data and analytics</a:t>
              </a:r>
            </a:p>
          </p:txBody>
        </p:sp>
        <p:grpSp>
          <p:nvGrpSpPr>
            <p:cNvPr id="73" name="Group 72"/>
            <p:cNvGrpSpPr/>
            <p:nvPr/>
          </p:nvGrpSpPr>
          <p:grpSpPr>
            <a:xfrm>
              <a:off x="9910925" y="3070244"/>
              <a:ext cx="686649" cy="624223"/>
              <a:chOff x="8653233" y="4461479"/>
              <a:chExt cx="913929" cy="913925"/>
            </a:xfrm>
          </p:grpSpPr>
          <p:sp>
            <p:nvSpPr>
              <p:cNvPr id="74" name="Oval 73"/>
              <p:cNvSpPr>
                <a:spLocks noChangeAspect="1"/>
              </p:cNvSpPr>
              <p:nvPr/>
            </p:nvSpPr>
            <p:spPr>
              <a:xfrm>
                <a:off x="8653233" y="4461479"/>
                <a:ext cx="913929" cy="913925"/>
              </a:xfrm>
              <a:prstGeom prst="ellipse">
                <a:avLst/>
              </a:prstGeom>
              <a:solidFill>
                <a:srgbClr val="FFE600"/>
              </a:solidFill>
              <a:ln w="57150" cap="flat" cmpd="sng" algn="ctr">
                <a:solidFill>
                  <a:srgbClr val="FFFFFF"/>
                </a:solidFill>
                <a:prstDash val="solid"/>
              </a:ln>
              <a:effectLst/>
            </p:spPr>
            <p:txBody>
              <a:bodyPr rtlCol="0" anchor="ctr"/>
              <a:lstStyle/>
              <a:p>
                <a:pPr algn="ctr">
                  <a:defRPr/>
                </a:pPr>
                <a:endParaRPr lang="en-US" sz="1599" kern="0" dirty="0">
                  <a:solidFill>
                    <a:srgbClr val="FFFFFF"/>
                  </a:solidFill>
                  <a:latin typeface="Arial"/>
                </a:endParaRPr>
              </a:p>
            </p:txBody>
          </p:sp>
          <p:grpSp>
            <p:nvGrpSpPr>
              <p:cNvPr id="75" name="Group 74"/>
              <p:cNvGrpSpPr/>
              <p:nvPr/>
            </p:nvGrpSpPr>
            <p:grpSpPr>
              <a:xfrm>
                <a:off x="8935244" y="4620190"/>
                <a:ext cx="349905" cy="596497"/>
                <a:chOff x="6299182" y="4833951"/>
                <a:chExt cx="350087" cy="596807"/>
              </a:xfrm>
            </p:grpSpPr>
            <p:sp>
              <p:nvSpPr>
                <p:cNvPr id="76" name="Freeform 6"/>
                <p:cNvSpPr>
                  <a:spLocks noEditPoints="1"/>
                </p:cNvSpPr>
                <p:nvPr/>
              </p:nvSpPr>
              <p:spPr bwMode="auto">
                <a:xfrm>
                  <a:off x="6502535" y="4994812"/>
                  <a:ext cx="146734" cy="434174"/>
                </a:xfrm>
                <a:custGeom>
                  <a:avLst/>
                  <a:gdLst>
                    <a:gd name="T0" fmla="*/ 0 w 475"/>
                    <a:gd name="T1" fmla="*/ 1406 h 1406"/>
                    <a:gd name="T2" fmla="*/ 475 w 475"/>
                    <a:gd name="T3" fmla="*/ 0 h 1406"/>
                    <a:gd name="T4" fmla="*/ 236 w 475"/>
                    <a:gd name="T5" fmla="*/ 361 h 1406"/>
                    <a:gd name="T6" fmla="*/ 401 w 475"/>
                    <a:gd name="T7" fmla="*/ 345 h 1406"/>
                    <a:gd name="T8" fmla="*/ 96 w 475"/>
                    <a:gd name="T9" fmla="*/ 331 h 1406"/>
                    <a:gd name="T10" fmla="*/ 97 w 475"/>
                    <a:gd name="T11" fmla="*/ 360 h 1406"/>
                    <a:gd name="T12" fmla="*/ 235 w 475"/>
                    <a:gd name="T13" fmla="*/ 456 h 1406"/>
                    <a:gd name="T14" fmla="*/ 73 w 475"/>
                    <a:gd name="T15" fmla="*/ 470 h 1406"/>
                    <a:gd name="T16" fmla="*/ 377 w 475"/>
                    <a:gd name="T17" fmla="*/ 486 h 1406"/>
                    <a:gd name="T18" fmla="*/ 376 w 475"/>
                    <a:gd name="T19" fmla="*/ 457 h 1406"/>
                    <a:gd name="T20" fmla="*/ 238 w 475"/>
                    <a:gd name="T21" fmla="*/ 1022 h 1406"/>
                    <a:gd name="T22" fmla="*/ 401 w 475"/>
                    <a:gd name="T23" fmla="*/ 1008 h 1406"/>
                    <a:gd name="T24" fmla="*/ 100 w 475"/>
                    <a:gd name="T25" fmla="*/ 993 h 1406"/>
                    <a:gd name="T26" fmla="*/ 102 w 475"/>
                    <a:gd name="T27" fmla="*/ 1022 h 1406"/>
                    <a:gd name="T28" fmla="*/ 234 w 475"/>
                    <a:gd name="T29" fmla="*/ 1161 h 1406"/>
                    <a:gd name="T30" fmla="*/ 402 w 475"/>
                    <a:gd name="T31" fmla="*/ 1146 h 1406"/>
                    <a:gd name="T32" fmla="*/ 100 w 475"/>
                    <a:gd name="T33" fmla="*/ 1131 h 1406"/>
                    <a:gd name="T34" fmla="*/ 102 w 475"/>
                    <a:gd name="T35" fmla="*/ 1160 h 1406"/>
                    <a:gd name="T36" fmla="*/ 237 w 475"/>
                    <a:gd name="T37" fmla="*/ 192 h 1406"/>
                    <a:gd name="T38" fmla="*/ 73 w 475"/>
                    <a:gd name="T39" fmla="*/ 206 h 1406"/>
                    <a:gd name="T40" fmla="*/ 374 w 475"/>
                    <a:gd name="T41" fmla="*/ 221 h 1406"/>
                    <a:gd name="T42" fmla="*/ 373 w 475"/>
                    <a:gd name="T43" fmla="*/ 193 h 1406"/>
                    <a:gd name="T44" fmla="*/ 237 w 475"/>
                    <a:gd name="T45" fmla="*/ 625 h 1406"/>
                    <a:gd name="T46" fmla="*/ 401 w 475"/>
                    <a:gd name="T47" fmla="*/ 611 h 1406"/>
                    <a:gd name="T48" fmla="*/ 97 w 475"/>
                    <a:gd name="T49" fmla="*/ 595 h 1406"/>
                    <a:gd name="T50" fmla="*/ 99 w 475"/>
                    <a:gd name="T51" fmla="*/ 624 h 1406"/>
                    <a:gd name="T52" fmla="*/ 240 w 475"/>
                    <a:gd name="T53" fmla="*/ 727 h 1406"/>
                    <a:gd name="T54" fmla="*/ 73 w 475"/>
                    <a:gd name="T55" fmla="*/ 742 h 1406"/>
                    <a:gd name="T56" fmla="*/ 375 w 475"/>
                    <a:gd name="T57" fmla="*/ 757 h 1406"/>
                    <a:gd name="T58" fmla="*/ 373 w 475"/>
                    <a:gd name="T59" fmla="*/ 728 h 1406"/>
                    <a:gd name="T60" fmla="*/ 238 w 475"/>
                    <a:gd name="T61" fmla="*/ 866 h 1406"/>
                    <a:gd name="T62" fmla="*/ 73 w 475"/>
                    <a:gd name="T63" fmla="*/ 880 h 1406"/>
                    <a:gd name="T64" fmla="*/ 377 w 475"/>
                    <a:gd name="T65" fmla="*/ 896 h 1406"/>
                    <a:gd name="T66" fmla="*/ 376 w 475"/>
                    <a:gd name="T67" fmla="*/ 867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5" h="1406">
                      <a:moveTo>
                        <a:pt x="475" y="1406"/>
                      </a:moveTo>
                      <a:cubicBezTo>
                        <a:pt x="315" y="1406"/>
                        <a:pt x="159" y="1406"/>
                        <a:pt x="0" y="1406"/>
                      </a:cubicBezTo>
                      <a:cubicBezTo>
                        <a:pt x="0" y="937"/>
                        <a:pt x="0" y="470"/>
                        <a:pt x="0" y="0"/>
                      </a:cubicBezTo>
                      <a:cubicBezTo>
                        <a:pt x="158" y="0"/>
                        <a:pt x="315" y="0"/>
                        <a:pt x="475" y="0"/>
                      </a:cubicBezTo>
                      <a:cubicBezTo>
                        <a:pt x="475" y="468"/>
                        <a:pt x="475" y="936"/>
                        <a:pt x="475" y="1406"/>
                      </a:cubicBezTo>
                      <a:close/>
                      <a:moveTo>
                        <a:pt x="236" y="361"/>
                      </a:moveTo>
                      <a:cubicBezTo>
                        <a:pt x="283" y="361"/>
                        <a:pt x="330" y="361"/>
                        <a:pt x="377" y="360"/>
                      </a:cubicBezTo>
                      <a:cubicBezTo>
                        <a:pt x="385" y="360"/>
                        <a:pt x="393" y="350"/>
                        <a:pt x="401" y="345"/>
                      </a:cubicBezTo>
                      <a:cubicBezTo>
                        <a:pt x="394" y="340"/>
                        <a:pt x="387" y="331"/>
                        <a:pt x="379" y="331"/>
                      </a:cubicBezTo>
                      <a:cubicBezTo>
                        <a:pt x="285" y="330"/>
                        <a:pt x="191" y="330"/>
                        <a:pt x="96" y="331"/>
                      </a:cubicBezTo>
                      <a:cubicBezTo>
                        <a:pt x="89" y="331"/>
                        <a:pt x="81" y="340"/>
                        <a:pt x="73" y="345"/>
                      </a:cubicBezTo>
                      <a:cubicBezTo>
                        <a:pt x="81" y="350"/>
                        <a:pt x="89" y="360"/>
                        <a:pt x="97" y="360"/>
                      </a:cubicBezTo>
                      <a:cubicBezTo>
                        <a:pt x="143" y="361"/>
                        <a:pt x="189" y="361"/>
                        <a:pt x="236" y="361"/>
                      </a:cubicBezTo>
                      <a:close/>
                      <a:moveTo>
                        <a:pt x="235" y="456"/>
                      </a:moveTo>
                      <a:cubicBezTo>
                        <a:pt x="189" y="456"/>
                        <a:pt x="144" y="455"/>
                        <a:pt x="99" y="457"/>
                      </a:cubicBezTo>
                      <a:cubicBezTo>
                        <a:pt x="90" y="457"/>
                        <a:pt x="82" y="466"/>
                        <a:pt x="73" y="470"/>
                      </a:cubicBezTo>
                      <a:cubicBezTo>
                        <a:pt x="81" y="476"/>
                        <a:pt x="89" y="486"/>
                        <a:pt x="97" y="486"/>
                      </a:cubicBezTo>
                      <a:cubicBezTo>
                        <a:pt x="191" y="487"/>
                        <a:pt x="284" y="487"/>
                        <a:pt x="377" y="486"/>
                      </a:cubicBezTo>
                      <a:cubicBezTo>
                        <a:pt x="385" y="486"/>
                        <a:pt x="393" y="476"/>
                        <a:pt x="402" y="471"/>
                      </a:cubicBezTo>
                      <a:cubicBezTo>
                        <a:pt x="393" y="466"/>
                        <a:pt x="385" y="457"/>
                        <a:pt x="376" y="457"/>
                      </a:cubicBezTo>
                      <a:cubicBezTo>
                        <a:pt x="329" y="455"/>
                        <a:pt x="282" y="456"/>
                        <a:pt x="235" y="456"/>
                      </a:cubicBezTo>
                      <a:close/>
                      <a:moveTo>
                        <a:pt x="238" y="1022"/>
                      </a:moveTo>
                      <a:cubicBezTo>
                        <a:pt x="283" y="1022"/>
                        <a:pt x="328" y="1023"/>
                        <a:pt x="373" y="1022"/>
                      </a:cubicBezTo>
                      <a:cubicBezTo>
                        <a:pt x="383" y="1021"/>
                        <a:pt x="392" y="1013"/>
                        <a:pt x="401" y="1008"/>
                      </a:cubicBezTo>
                      <a:cubicBezTo>
                        <a:pt x="392" y="1003"/>
                        <a:pt x="383" y="993"/>
                        <a:pt x="374" y="993"/>
                      </a:cubicBezTo>
                      <a:cubicBezTo>
                        <a:pt x="283" y="992"/>
                        <a:pt x="192" y="992"/>
                        <a:pt x="100" y="993"/>
                      </a:cubicBezTo>
                      <a:cubicBezTo>
                        <a:pt x="91" y="993"/>
                        <a:pt x="82" y="1003"/>
                        <a:pt x="73" y="1008"/>
                      </a:cubicBezTo>
                      <a:cubicBezTo>
                        <a:pt x="83" y="1013"/>
                        <a:pt x="92" y="1021"/>
                        <a:pt x="102" y="1022"/>
                      </a:cubicBezTo>
                      <a:cubicBezTo>
                        <a:pt x="147" y="1023"/>
                        <a:pt x="192" y="1022"/>
                        <a:pt x="238" y="1022"/>
                      </a:cubicBezTo>
                      <a:close/>
                      <a:moveTo>
                        <a:pt x="234" y="1161"/>
                      </a:moveTo>
                      <a:cubicBezTo>
                        <a:pt x="281" y="1161"/>
                        <a:pt x="327" y="1162"/>
                        <a:pt x="373" y="1160"/>
                      </a:cubicBezTo>
                      <a:cubicBezTo>
                        <a:pt x="383" y="1160"/>
                        <a:pt x="392" y="1151"/>
                        <a:pt x="402" y="1146"/>
                      </a:cubicBezTo>
                      <a:cubicBezTo>
                        <a:pt x="392" y="1141"/>
                        <a:pt x="383" y="1131"/>
                        <a:pt x="374" y="1131"/>
                      </a:cubicBezTo>
                      <a:cubicBezTo>
                        <a:pt x="283" y="1130"/>
                        <a:pt x="192" y="1130"/>
                        <a:pt x="100" y="1131"/>
                      </a:cubicBezTo>
                      <a:cubicBezTo>
                        <a:pt x="91" y="1131"/>
                        <a:pt x="82" y="1141"/>
                        <a:pt x="73" y="1146"/>
                      </a:cubicBezTo>
                      <a:cubicBezTo>
                        <a:pt x="83" y="1151"/>
                        <a:pt x="92" y="1160"/>
                        <a:pt x="102" y="1160"/>
                      </a:cubicBezTo>
                      <a:cubicBezTo>
                        <a:pt x="146" y="1162"/>
                        <a:pt x="190" y="1161"/>
                        <a:pt x="234" y="1161"/>
                      </a:cubicBezTo>
                      <a:close/>
                      <a:moveTo>
                        <a:pt x="237" y="192"/>
                      </a:moveTo>
                      <a:cubicBezTo>
                        <a:pt x="192" y="192"/>
                        <a:pt x="147" y="191"/>
                        <a:pt x="102" y="193"/>
                      </a:cubicBezTo>
                      <a:cubicBezTo>
                        <a:pt x="92" y="193"/>
                        <a:pt x="83" y="202"/>
                        <a:pt x="73" y="206"/>
                      </a:cubicBezTo>
                      <a:cubicBezTo>
                        <a:pt x="82" y="212"/>
                        <a:pt x="91" y="221"/>
                        <a:pt x="100" y="221"/>
                      </a:cubicBezTo>
                      <a:cubicBezTo>
                        <a:pt x="192" y="222"/>
                        <a:pt x="283" y="222"/>
                        <a:pt x="374" y="221"/>
                      </a:cubicBezTo>
                      <a:cubicBezTo>
                        <a:pt x="383" y="221"/>
                        <a:pt x="392" y="212"/>
                        <a:pt x="401" y="206"/>
                      </a:cubicBezTo>
                      <a:cubicBezTo>
                        <a:pt x="392" y="202"/>
                        <a:pt x="382" y="193"/>
                        <a:pt x="373" y="193"/>
                      </a:cubicBezTo>
                      <a:cubicBezTo>
                        <a:pt x="328" y="191"/>
                        <a:pt x="283" y="192"/>
                        <a:pt x="237" y="192"/>
                      </a:cubicBezTo>
                      <a:close/>
                      <a:moveTo>
                        <a:pt x="237" y="625"/>
                      </a:moveTo>
                      <a:cubicBezTo>
                        <a:pt x="284" y="625"/>
                        <a:pt x="330" y="626"/>
                        <a:pt x="376" y="624"/>
                      </a:cubicBezTo>
                      <a:cubicBezTo>
                        <a:pt x="385" y="624"/>
                        <a:pt x="393" y="615"/>
                        <a:pt x="401" y="611"/>
                      </a:cubicBezTo>
                      <a:cubicBezTo>
                        <a:pt x="393" y="605"/>
                        <a:pt x="386" y="595"/>
                        <a:pt x="378" y="595"/>
                      </a:cubicBezTo>
                      <a:cubicBezTo>
                        <a:pt x="284" y="594"/>
                        <a:pt x="191" y="594"/>
                        <a:pt x="97" y="595"/>
                      </a:cubicBezTo>
                      <a:cubicBezTo>
                        <a:pt x="89" y="595"/>
                        <a:pt x="81" y="605"/>
                        <a:pt x="73" y="610"/>
                      </a:cubicBezTo>
                      <a:cubicBezTo>
                        <a:pt x="82" y="615"/>
                        <a:pt x="90" y="624"/>
                        <a:pt x="99" y="624"/>
                      </a:cubicBezTo>
                      <a:cubicBezTo>
                        <a:pt x="145" y="626"/>
                        <a:pt x="191" y="625"/>
                        <a:pt x="237" y="625"/>
                      </a:cubicBezTo>
                      <a:close/>
                      <a:moveTo>
                        <a:pt x="240" y="727"/>
                      </a:moveTo>
                      <a:cubicBezTo>
                        <a:pt x="194" y="727"/>
                        <a:pt x="148" y="727"/>
                        <a:pt x="101" y="728"/>
                      </a:cubicBezTo>
                      <a:cubicBezTo>
                        <a:pt x="92" y="728"/>
                        <a:pt x="83" y="737"/>
                        <a:pt x="73" y="742"/>
                      </a:cubicBezTo>
                      <a:cubicBezTo>
                        <a:pt x="82" y="748"/>
                        <a:pt x="91" y="757"/>
                        <a:pt x="101" y="757"/>
                      </a:cubicBezTo>
                      <a:cubicBezTo>
                        <a:pt x="192" y="759"/>
                        <a:pt x="283" y="759"/>
                        <a:pt x="375" y="757"/>
                      </a:cubicBezTo>
                      <a:cubicBezTo>
                        <a:pt x="384" y="757"/>
                        <a:pt x="393" y="747"/>
                        <a:pt x="401" y="742"/>
                      </a:cubicBezTo>
                      <a:cubicBezTo>
                        <a:pt x="392" y="737"/>
                        <a:pt x="383" y="728"/>
                        <a:pt x="373" y="728"/>
                      </a:cubicBezTo>
                      <a:cubicBezTo>
                        <a:pt x="329" y="727"/>
                        <a:pt x="284" y="727"/>
                        <a:pt x="240" y="727"/>
                      </a:cubicBezTo>
                      <a:close/>
                      <a:moveTo>
                        <a:pt x="238" y="866"/>
                      </a:moveTo>
                      <a:cubicBezTo>
                        <a:pt x="192" y="866"/>
                        <a:pt x="145" y="865"/>
                        <a:pt x="99" y="867"/>
                      </a:cubicBezTo>
                      <a:cubicBezTo>
                        <a:pt x="90" y="867"/>
                        <a:pt x="82" y="876"/>
                        <a:pt x="73" y="880"/>
                      </a:cubicBezTo>
                      <a:cubicBezTo>
                        <a:pt x="81" y="886"/>
                        <a:pt x="89" y="896"/>
                        <a:pt x="97" y="896"/>
                      </a:cubicBezTo>
                      <a:cubicBezTo>
                        <a:pt x="190" y="897"/>
                        <a:pt x="284" y="897"/>
                        <a:pt x="377" y="896"/>
                      </a:cubicBezTo>
                      <a:cubicBezTo>
                        <a:pt x="385" y="896"/>
                        <a:pt x="393" y="886"/>
                        <a:pt x="402" y="881"/>
                      </a:cubicBezTo>
                      <a:cubicBezTo>
                        <a:pt x="393" y="876"/>
                        <a:pt x="385" y="867"/>
                        <a:pt x="376" y="867"/>
                      </a:cubicBezTo>
                      <a:cubicBezTo>
                        <a:pt x="330" y="865"/>
                        <a:pt x="284" y="866"/>
                        <a:pt x="238" y="866"/>
                      </a:cubicBezTo>
                      <a:close/>
                    </a:path>
                  </a:pathLst>
                </a:custGeom>
                <a:solidFill>
                  <a:schemeClr val="tx2"/>
                </a:solidFill>
                <a:ln w="9525">
                  <a:noFill/>
                  <a:round/>
                  <a:headEnd/>
                  <a:tailEnd/>
                </a:ln>
                <a:extLst/>
              </p:spPr>
              <p:txBody>
                <a:bodyPr vert="horz" wrap="square" lIns="91392" tIns="45696" rIns="91392" bIns="45696" numCol="1" anchor="t" anchorCtr="0" compatLnSpc="1">
                  <a:prstTxWarp prst="textNoShape">
                    <a:avLst/>
                  </a:prstTxWarp>
                </a:bodyPr>
                <a:lstStyle/>
                <a:p>
                  <a:endParaRPr lang="en-IN" sz="2399" dirty="0">
                    <a:solidFill>
                      <a:srgbClr val="000000"/>
                    </a:solidFill>
                    <a:latin typeface="+mj-lt"/>
                  </a:endParaRPr>
                </a:p>
              </p:txBody>
            </p:sp>
            <p:sp>
              <p:nvSpPr>
                <p:cNvPr id="77" name="Freeform 9"/>
                <p:cNvSpPr>
                  <a:spLocks noEditPoints="1"/>
                </p:cNvSpPr>
                <p:nvPr/>
              </p:nvSpPr>
              <p:spPr bwMode="auto">
                <a:xfrm>
                  <a:off x="6301043" y="5030963"/>
                  <a:ext cx="93392" cy="399795"/>
                </a:xfrm>
                <a:custGeom>
                  <a:avLst/>
                  <a:gdLst>
                    <a:gd name="T0" fmla="*/ 302 w 302"/>
                    <a:gd name="T1" fmla="*/ 0 h 1295"/>
                    <a:gd name="T2" fmla="*/ 302 w 302"/>
                    <a:gd name="T3" fmla="*/ 1295 h 1295"/>
                    <a:gd name="T4" fmla="*/ 235 w 302"/>
                    <a:gd name="T5" fmla="*/ 1255 h 1295"/>
                    <a:gd name="T6" fmla="*/ 20 w 302"/>
                    <a:gd name="T7" fmla="*/ 1126 h 1295"/>
                    <a:gd name="T8" fmla="*/ 0 w 302"/>
                    <a:gd name="T9" fmla="*/ 1090 h 1295"/>
                    <a:gd name="T10" fmla="*/ 1 w 302"/>
                    <a:gd name="T11" fmla="*/ 217 h 1295"/>
                    <a:gd name="T12" fmla="*/ 13 w 302"/>
                    <a:gd name="T13" fmla="*/ 187 h 1295"/>
                    <a:gd name="T14" fmla="*/ 302 w 302"/>
                    <a:gd name="T15" fmla="*/ 0 h 1295"/>
                    <a:gd name="T16" fmla="*/ 154 w 302"/>
                    <a:gd name="T17" fmla="*/ 647 h 1295"/>
                    <a:gd name="T18" fmla="*/ 78 w 302"/>
                    <a:gd name="T19" fmla="*/ 648 h 1295"/>
                    <a:gd name="T20" fmla="*/ 58 w 302"/>
                    <a:gd name="T21" fmla="*/ 663 h 1295"/>
                    <a:gd name="T22" fmla="*/ 76 w 302"/>
                    <a:gd name="T23" fmla="*/ 677 h 1295"/>
                    <a:gd name="T24" fmla="*/ 227 w 302"/>
                    <a:gd name="T25" fmla="*/ 677 h 1295"/>
                    <a:gd name="T26" fmla="*/ 245 w 302"/>
                    <a:gd name="T27" fmla="*/ 662 h 1295"/>
                    <a:gd name="T28" fmla="*/ 226 w 302"/>
                    <a:gd name="T29" fmla="*/ 648 h 1295"/>
                    <a:gd name="T30" fmla="*/ 154 w 302"/>
                    <a:gd name="T31" fmla="*/ 647 h 1295"/>
                    <a:gd name="T32" fmla="*/ 196 w 302"/>
                    <a:gd name="T33" fmla="*/ 835 h 1295"/>
                    <a:gd name="T34" fmla="*/ 214 w 302"/>
                    <a:gd name="T35" fmla="*/ 836 h 1295"/>
                    <a:gd name="T36" fmla="*/ 244 w 302"/>
                    <a:gd name="T37" fmla="*/ 826 h 1295"/>
                    <a:gd name="T38" fmla="*/ 217 w 302"/>
                    <a:gd name="T39" fmla="*/ 807 h 1295"/>
                    <a:gd name="T40" fmla="*/ 82 w 302"/>
                    <a:gd name="T41" fmla="*/ 794 h 1295"/>
                    <a:gd name="T42" fmla="*/ 58 w 302"/>
                    <a:gd name="T43" fmla="*/ 808 h 1295"/>
                    <a:gd name="T44" fmla="*/ 79 w 302"/>
                    <a:gd name="T45" fmla="*/ 823 h 1295"/>
                    <a:gd name="T46" fmla="*/ 196 w 302"/>
                    <a:gd name="T47" fmla="*/ 835 h 1295"/>
                    <a:gd name="T48" fmla="*/ 75 w 302"/>
                    <a:gd name="T49" fmla="*/ 920 h 1295"/>
                    <a:gd name="T50" fmla="*/ 62 w 302"/>
                    <a:gd name="T51" fmla="*/ 930 h 1295"/>
                    <a:gd name="T52" fmla="*/ 73 w 302"/>
                    <a:gd name="T53" fmla="*/ 949 h 1295"/>
                    <a:gd name="T54" fmla="*/ 223 w 302"/>
                    <a:gd name="T55" fmla="*/ 985 h 1295"/>
                    <a:gd name="T56" fmla="*/ 243 w 302"/>
                    <a:gd name="T57" fmla="*/ 974 h 1295"/>
                    <a:gd name="T58" fmla="*/ 229 w 302"/>
                    <a:gd name="T59" fmla="*/ 957 h 1295"/>
                    <a:gd name="T60" fmla="*/ 75 w 302"/>
                    <a:gd name="T61" fmla="*/ 920 h 1295"/>
                    <a:gd name="T62" fmla="*/ 229 w 302"/>
                    <a:gd name="T63" fmla="*/ 233 h 1295"/>
                    <a:gd name="T64" fmla="*/ 74 w 302"/>
                    <a:gd name="T65" fmla="*/ 264 h 1295"/>
                    <a:gd name="T66" fmla="*/ 60 w 302"/>
                    <a:gd name="T67" fmla="*/ 281 h 1295"/>
                    <a:gd name="T68" fmla="*/ 80 w 302"/>
                    <a:gd name="T69" fmla="*/ 291 h 1295"/>
                    <a:gd name="T70" fmla="*/ 228 w 302"/>
                    <a:gd name="T71" fmla="*/ 263 h 1295"/>
                    <a:gd name="T72" fmla="*/ 242 w 302"/>
                    <a:gd name="T73" fmla="*/ 246 h 1295"/>
                    <a:gd name="T74" fmla="*/ 229 w 302"/>
                    <a:gd name="T75" fmla="*/ 233 h 1295"/>
                    <a:gd name="T76" fmla="*/ 76 w 302"/>
                    <a:gd name="T77" fmla="*/ 421 h 1295"/>
                    <a:gd name="T78" fmla="*/ 223 w 302"/>
                    <a:gd name="T79" fmla="*/ 403 h 1295"/>
                    <a:gd name="T80" fmla="*/ 244 w 302"/>
                    <a:gd name="T81" fmla="*/ 385 h 1295"/>
                    <a:gd name="T82" fmla="*/ 221 w 302"/>
                    <a:gd name="T83" fmla="*/ 374 h 1295"/>
                    <a:gd name="T84" fmla="*/ 80 w 302"/>
                    <a:gd name="T85" fmla="*/ 391 h 1295"/>
                    <a:gd name="T86" fmla="*/ 59 w 302"/>
                    <a:gd name="T87" fmla="*/ 409 h 1295"/>
                    <a:gd name="T88" fmla="*/ 76 w 302"/>
                    <a:gd name="T89" fmla="*/ 421 h 1295"/>
                    <a:gd name="T90" fmla="*/ 148 w 302"/>
                    <a:gd name="T91" fmla="*/ 552 h 1295"/>
                    <a:gd name="T92" fmla="*/ 148 w 302"/>
                    <a:gd name="T93" fmla="*/ 550 h 1295"/>
                    <a:gd name="T94" fmla="*/ 226 w 302"/>
                    <a:gd name="T95" fmla="*/ 546 h 1295"/>
                    <a:gd name="T96" fmla="*/ 245 w 302"/>
                    <a:gd name="T97" fmla="*/ 531 h 1295"/>
                    <a:gd name="T98" fmla="*/ 227 w 302"/>
                    <a:gd name="T99" fmla="*/ 517 h 1295"/>
                    <a:gd name="T100" fmla="*/ 77 w 302"/>
                    <a:gd name="T101" fmla="*/ 523 h 1295"/>
                    <a:gd name="T102" fmla="*/ 58 w 302"/>
                    <a:gd name="T103" fmla="*/ 537 h 1295"/>
                    <a:gd name="T104" fmla="*/ 79 w 302"/>
                    <a:gd name="T105" fmla="*/ 552 h 1295"/>
                    <a:gd name="T106" fmla="*/ 148 w 302"/>
                    <a:gd name="T107" fmla="*/ 55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2" h="1295">
                      <a:moveTo>
                        <a:pt x="302" y="0"/>
                      </a:moveTo>
                      <a:cubicBezTo>
                        <a:pt x="302" y="434"/>
                        <a:pt x="302" y="862"/>
                        <a:pt x="302" y="1295"/>
                      </a:cubicBezTo>
                      <a:cubicBezTo>
                        <a:pt x="277" y="1281"/>
                        <a:pt x="256" y="1268"/>
                        <a:pt x="235" y="1255"/>
                      </a:cubicBezTo>
                      <a:cubicBezTo>
                        <a:pt x="163" y="1212"/>
                        <a:pt x="92" y="1168"/>
                        <a:pt x="20" y="1126"/>
                      </a:cubicBezTo>
                      <a:cubicBezTo>
                        <a:pt x="6" y="1117"/>
                        <a:pt x="0" y="1107"/>
                        <a:pt x="0" y="1090"/>
                      </a:cubicBezTo>
                      <a:cubicBezTo>
                        <a:pt x="0" y="799"/>
                        <a:pt x="0" y="508"/>
                        <a:pt x="1" y="217"/>
                      </a:cubicBezTo>
                      <a:cubicBezTo>
                        <a:pt x="1" y="207"/>
                        <a:pt x="5" y="192"/>
                        <a:pt x="13" y="187"/>
                      </a:cubicBezTo>
                      <a:cubicBezTo>
                        <a:pt x="107" y="125"/>
                        <a:pt x="202" y="64"/>
                        <a:pt x="302" y="0"/>
                      </a:cubicBezTo>
                      <a:close/>
                      <a:moveTo>
                        <a:pt x="154" y="647"/>
                      </a:moveTo>
                      <a:cubicBezTo>
                        <a:pt x="129" y="647"/>
                        <a:pt x="103" y="646"/>
                        <a:pt x="78" y="648"/>
                      </a:cubicBezTo>
                      <a:cubicBezTo>
                        <a:pt x="71" y="648"/>
                        <a:pt x="65" y="657"/>
                        <a:pt x="58" y="663"/>
                      </a:cubicBezTo>
                      <a:cubicBezTo>
                        <a:pt x="64" y="668"/>
                        <a:pt x="70" y="677"/>
                        <a:pt x="76" y="677"/>
                      </a:cubicBezTo>
                      <a:cubicBezTo>
                        <a:pt x="126" y="678"/>
                        <a:pt x="177" y="678"/>
                        <a:pt x="227" y="677"/>
                      </a:cubicBezTo>
                      <a:cubicBezTo>
                        <a:pt x="233" y="677"/>
                        <a:pt x="239" y="667"/>
                        <a:pt x="245" y="662"/>
                      </a:cubicBezTo>
                      <a:cubicBezTo>
                        <a:pt x="239" y="657"/>
                        <a:pt x="233" y="648"/>
                        <a:pt x="226" y="648"/>
                      </a:cubicBezTo>
                      <a:cubicBezTo>
                        <a:pt x="202" y="646"/>
                        <a:pt x="178" y="647"/>
                        <a:pt x="154" y="647"/>
                      </a:cubicBezTo>
                      <a:close/>
                      <a:moveTo>
                        <a:pt x="196" y="835"/>
                      </a:moveTo>
                      <a:cubicBezTo>
                        <a:pt x="206" y="836"/>
                        <a:pt x="211" y="837"/>
                        <a:pt x="214" y="836"/>
                      </a:cubicBezTo>
                      <a:cubicBezTo>
                        <a:pt x="224" y="833"/>
                        <a:pt x="234" y="829"/>
                        <a:pt x="244" y="826"/>
                      </a:cubicBezTo>
                      <a:cubicBezTo>
                        <a:pt x="235" y="819"/>
                        <a:pt x="227" y="808"/>
                        <a:pt x="217" y="807"/>
                      </a:cubicBezTo>
                      <a:cubicBezTo>
                        <a:pt x="172" y="801"/>
                        <a:pt x="127" y="796"/>
                        <a:pt x="82" y="794"/>
                      </a:cubicBezTo>
                      <a:cubicBezTo>
                        <a:pt x="74" y="793"/>
                        <a:pt x="66" y="803"/>
                        <a:pt x="58" y="808"/>
                      </a:cubicBezTo>
                      <a:cubicBezTo>
                        <a:pt x="65" y="813"/>
                        <a:pt x="72" y="822"/>
                        <a:pt x="79" y="823"/>
                      </a:cubicBezTo>
                      <a:cubicBezTo>
                        <a:pt x="120" y="828"/>
                        <a:pt x="161" y="832"/>
                        <a:pt x="196" y="835"/>
                      </a:cubicBezTo>
                      <a:close/>
                      <a:moveTo>
                        <a:pt x="75" y="920"/>
                      </a:moveTo>
                      <a:cubicBezTo>
                        <a:pt x="72" y="922"/>
                        <a:pt x="62" y="926"/>
                        <a:pt x="62" y="930"/>
                      </a:cubicBezTo>
                      <a:cubicBezTo>
                        <a:pt x="62" y="937"/>
                        <a:pt x="68" y="948"/>
                        <a:pt x="73" y="949"/>
                      </a:cubicBezTo>
                      <a:cubicBezTo>
                        <a:pt x="123" y="963"/>
                        <a:pt x="173" y="975"/>
                        <a:pt x="223" y="985"/>
                      </a:cubicBezTo>
                      <a:cubicBezTo>
                        <a:pt x="228" y="986"/>
                        <a:pt x="236" y="978"/>
                        <a:pt x="243" y="974"/>
                      </a:cubicBezTo>
                      <a:cubicBezTo>
                        <a:pt x="238" y="968"/>
                        <a:pt x="235" y="959"/>
                        <a:pt x="229" y="957"/>
                      </a:cubicBezTo>
                      <a:cubicBezTo>
                        <a:pt x="180" y="944"/>
                        <a:pt x="130" y="933"/>
                        <a:pt x="75" y="920"/>
                      </a:cubicBezTo>
                      <a:close/>
                      <a:moveTo>
                        <a:pt x="229" y="233"/>
                      </a:moveTo>
                      <a:cubicBezTo>
                        <a:pt x="174" y="244"/>
                        <a:pt x="123" y="253"/>
                        <a:pt x="74" y="264"/>
                      </a:cubicBezTo>
                      <a:cubicBezTo>
                        <a:pt x="68" y="265"/>
                        <a:pt x="64" y="275"/>
                        <a:pt x="60" y="281"/>
                      </a:cubicBezTo>
                      <a:cubicBezTo>
                        <a:pt x="67" y="285"/>
                        <a:pt x="74" y="292"/>
                        <a:pt x="80" y="291"/>
                      </a:cubicBezTo>
                      <a:cubicBezTo>
                        <a:pt x="130" y="283"/>
                        <a:pt x="179" y="274"/>
                        <a:pt x="228" y="263"/>
                      </a:cubicBezTo>
                      <a:cubicBezTo>
                        <a:pt x="234" y="262"/>
                        <a:pt x="242" y="253"/>
                        <a:pt x="242" y="246"/>
                      </a:cubicBezTo>
                      <a:cubicBezTo>
                        <a:pt x="242" y="242"/>
                        <a:pt x="232" y="236"/>
                        <a:pt x="229" y="233"/>
                      </a:cubicBezTo>
                      <a:close/>
                      <a:moveTo>
                        <a:pt x="76" y="421"/>
                      </a:moveTo>
                      <a:cubicBezTo>
                        <a:pt x="131" y="414"/>
                        <a:pt x="177" y="410"/>
                        <a:pt x="223" y="403"/>
                      </a:cubicBezTo>
                      <a:cubicBezTo>
                        <a:pt x="231" y="402"/>
                        <a:pt x="237" y="391"/>
                        <a:pt x="244" y="385"/>
                      </a:cubicBezTo>
                      <a:cubicBezTo>
                        <a:pt x="236" y="381"/>
                        <a:pt x="228" y="373"/>
                        <a:pt x="221" y="374"/>
                      </a:cubicBezTo>
                      <a:cubicBezTo>
                        <a:pt x="173" y="378"/>
                        <a:pt x="126" y="384"/>
                        <a:pt x="80" y="391"/>
                      </a:cubicBezTo>
                      <a:cubicBezTo>
                        <a:pt x="72" y="392"/>
                        <a:pt x="66" y="402"/>
                        <a:pt x="59" y="409"/>
                      </a:cubicBezTo>
                      <a:cubicBezTo>
                        <a:pt x="66" y="414"/>
                        <a:pt x="74" y="419"/>
                        <a:pt x="76" y="421"/>
                      </a:cubicBezTo>
                      <a:close/>
                      <a:moveTo>
                        <a:pt x="148" y="552"/>
                      </a:moveTo>
                      <a:cubicBezTo>
                        <a:pt x="148" y="552"/>
                        <a:pt x="148" y="551"/>
                        <a:pt x="148" y="550"/>
                      </a:cubicBezTo>
                      <a:cubicBezTo>
                        <a:pt x="174" y="549"/>
                        <a:pt x="200" y="549"/>
                        <a:pt x="226" y="546"/>
                      </a:cubicBezTo>
                      <a:cubicBezTo>
                        <a:pt x="233" y="545"/>
                        <a:pt x="239" y="536"/>
                        <a:pt x="245" y="531"/>
                      </a:cubicBezTo>
                      <a:cubicBezTo>
                        <a:pt x="239" y="526"/>
                        <a:pt x="233" y="517"/>
                        <a:pt x="227" y="517"/>
                      </a:cubicBezTo>
                      <a:cubicBezTo>
                        <a:pt x="177" y="517"/>
                        <a:pt x="127" y="520"/>
                        <a:pt x="77" y="523"/>
                      </a:cubicBezTo>
                      <a:cubicBezTo>
                        <a:pt x="70" y="523"/>
                        <a:pt x="64" y="532"/>
                        <a:pt x="58" y="537"/>
                      </a:cubicBezTo>
                      <a:cubicBezTo>
                        <a:pt x="65" y="542"/>
                        <a:pt x="71" y="551"/>
                        <a:pt x="79" y="552"/>
                      </a:cubicBezTo>
                      <a:cubicBezTo>
                        <a:pt x="102" y="554"/>
                        <a:pt x="125" y="552"/>
                        <a:pt x="148" y="552"/>
                      </a:cubicBezTo>
                      <a:close/>
                    </a:path>
                  </a:pathLst>
                </a:custGeom>
                <a:solidFill>
                  <a:schemeClr val="tx2"/>
                </a:solidFill>
                <a:ln w="9525">
                  <a:noFill/>
                  <a:round/>
                  <a:headEnd/>
                  <a:tailEnd/>
                </a:ln>
                <a:extLst/>
              </p:spPr>
              <p:txBody>
                <a:bodyPr vert="horz" wrap="square" lIns="91392" tIns="45696" rIns="91392" bIns="45696" numCol="1" anchor="t" anchorCtr="0" compatLnSpc="1">
                  <a:prstTxWarp prst="textNoShape">
                    <a:avLst/>
                  </a:prstTxWarp>
                </a:bodyPr>
                <a:lstStyle/>
                <a:p>
                  <a:endParaRPr lang="en-IN" sz="2399" dirty="0">
                    <a:solidFill>
                      <a:srgbClr val="000000"/>
                    </a:solidFill>
                    <a:latin typeface="+mj-lt"/>
                  </a:endParaRPr>
                </a:p>
              </p:txBody>
            </p:sp>
            <p:sp>
              <p:nvSpPr>
                <p:cNvPr id="78" name="Freeform 46"/>
                <p:cNvSpPr>
                  <a:spLocks noEditPoints="1"/>
                </p:cNvSpPr>
                <p:nvPr/>
              </p:nvSpPr>
              <p:spPr bwMode="auto">
                <a:xfrm>
                  <a:off x="6299182" y="4833951"/>
                  <a:ext cx="335756" cy="231248"/>
                </a:xfrm>
                <a:custGeom>
                  <a:avLst/>
                  <a:gdLst>
                    <a:gd name="T0" fmla="*/ 64 w 128"/>
                    <a:gd name="T1" fmla="*/ 36 h 88"/>
                    <a:gd name="T2" fmla="*/ 44 w 128"/>
                    <a:gd name="T3" fmla="*/ 60 h 88"/>
                    <a:gd name="T4" fmla="*/ 56 w 128"/>
                    <a:gd name="T5" fmla="*/ 60 h 88"/>
                    <a:gd name="T6" fmla="*/ 56 w 128"/>
                    <a:gd name="T7" fmla="*/ 88 h 88"/>
                    <a:gd name="T8" fmla="*/ 72 w 128"/>
                    <a:gd name="T9" fmla="*/ 88 h 88"/>
                    <a:gd name="T10" fmla="*/ 72 w 128"/>
                    <a:gd name="T11" fmla="*/ 60 h 88"/>
                    <a:gd name="T12" fmla="*/ 84 w 128"/>
                    <a:gd name="T13" fmla="*/ 60 h 88"/>
                    <a:gd name="T14" fmla="*/ 64 w 128"/>
                    <a:gd name="T15" fmla="*/ 36 h 88"/>
                    <a:gd name="T16" fmla="*/ 110 w 128"/>
                    <a:gd name="T17" fmla="*/ 33 h 88"/>
                    <a:gd name="T18" fmla="*/ 86 w 128"/>
                    <a:gd name="T19" fmla="*/ 16 h 88"/>
                    <a:gd name="T20" fmla="*/ 79 w 128"/>
                    <a:gd name="T21" fmla="*/ 17 h 88"/>
                    <a:gd name="T22" fmla="*/ 48 w 128"/>
                    <a:gd name="T23" fmla="*/ 0 h 88"/>
                    <a:gd name="T24" fmla="*/ 12 w 128"/>
                    <a:gd name="T25" fmla="*/ 35 h 88"/>
                    <a:gd name="T26" fmla="*/ 0 w 128"/>
                    <a:gd name="T27" fmla="*/ 56 h 88"/>
                    <a:gd name="T28" fmla="*/ 24 w 128"/>
                    <a:gd name="T29" fmla="*/ 80 h 88"/>
                    <a:gd name="T30" fmla="*/ 48 w 128"/>
                    <a:gd name="T31" fmla="*/ 80 h 88"/>
                    <a:gd name="T32" fmla="*/ 48 w 128"/>
                    <a:gd name="T33" fmla="*/ 72 h 88"/>
                    <a:gd name="T34" fmla="*/ 24 w 128"/>
                    <a:gd name="T35" fmla="*/ 72 h 88"/>
                    <a:gd name="T36" fmla="*/ 8 w 128"/>
                    <a:gd name="T37" fmla="*/ 56 h 88"/>
                    <a:gd name="T38" fmla="*/ 20 w 128"/>
                    <a:gd name="T39" fmla="*/ 40 h 88"/>
                    <a:gd name="T40" fmla="*/ 20 w 128"/>
                    <a:gd name="T41" fmla="*/ 36 h 88"/>
                    <a:gd name="T42" fmla="*/ 48 w 128"/>
                    <a:gd name="T43" fmla="*/ 8 h 88"/>
                    <a:gd name="T44" fmla="*/ 75 w 128"/>
                    <a:gd name="T45" fmla="*/ 28 h 88"/>
                    <a:gd name="T46" fmla="*/ 86 w 128"/>
                    <a:gd name="T47" fmla="*/ 24 h 88"/>
                    <a:gd name="T48" fmla="*/ 104 w 128"/>
                    <a:gd name="T49" fmla="*/ 40 h 88"/>
                    <a:gd name="T50" fmla="*/ 104 w 128"/>
                    <a:gd name="T51" fmla="*/ 40 h 88"/>
                    <a:gd name="T52" fmla="*/ 120 w 128"/>
                    <a:gd name="T53" fmla="*/ 56 h 88"/>
                    <a:gd name="T54" fmla="*/ 104 w 128"/>
                    <a:gd name="T55" fmla="*/ 72 h 88"/>
                    <a:gd name="T56" fmla="*/ 80 w 128"/>
                    <a:gd name="T57" fmla="*/ 72 h 88"/>
                    <a:gd name="T58" fmla="*/ 80 w 128"/>
                    <a:gd name="T59" fmla="*/ 80 h 88"/>
                    <a:gd name="T60" fmla="*/ 104 w 128"/>
                    <a:gd name="T61" fmla="*/ 80 h 88"/>
                    <a:gd name="T62" fmla="*/ 128 w 128"/>
                    <a:gd name="T63" fmla="*/ 56 h 88"/>
                    <a:gd name="T64" fmla="*/ 110 w 128"/>
                    <a:gd name="T65" fmla="*/ 3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88">
                      <a:moveTo>
                        <a:pt x="64" y="36"/>
                      </a:moveTo>
                      <a:cubicBezTo>
                        <a:pt x="44" y="60"/>
                        <a:pt x="44" y="60"/>
                        <a:pt x="44" y="60"/>
                      </a:cubicBezTo>
                      <a:cubicBezTo>
                        <a:pt x="56" y="60"/>
                        <a:pt x="56" y="60"/>
                        <a:pt x="56" y="60"/>
                      </a:cubicBezTo>
                      <a:cubicBezTo>
                        <a:pt x="56" y="88"/>
                        <a:pt x="56" y="88"/>
                        <a:pt x="56" y="88"/>
                      </a:cubicBezTo>
                      <a:cubicBezTo>
                        <a:pt x="72" y="88"/>
                        <a:pt x="72" y="88"/>
                        <a:pt x="72" y="88"/>
                      </a:cubicBezTo>
                      <a:cubicBezTo>
                        <a:pt x="72" y="60"/>
                        <a:pt x="72" y="60"/>
                        <a:pt x="72" y="60"/>
                      </a:cubicBezTo>
                      <a:cubicBezTo>
                        <a:pt x="84" y="60"/>
                        <a:pt x="84" y="60"/>
                        <a:pt x="84" y="60"/>
                      </a:cubicBezTo>
                      <a:lnTo>
                        <a:pt x="64" y="36"/>
                      </a:lnTo>
                      <a:close/>
                      <a:moveTo>
                        <a:pt x="110" y="33"/>
                      </a:moveTo>
                      <a:cubicBezTo>
                        <a:pt x="107" y="23"/>
                        <a:pt x="97" y="16"/>
                        <a:pt x="86" y="16"/>
                      </a:cubicBezTo>
                      <a:cubicBezTo>
                        <a:pt x="83" y="16"/>
                        <a:pt x="81" y="16"/>
                        <a:pt x="79" y="17"/>
                      </a:cubicBezTo>
                      <a:cubicBezTo>
                        <a:pt x="72" y="7"/>
                        <a:pt x="61" y="0"/>
                        <a:pt x="48" y="0"/>
                      </a:cubicBezTo>
                      <a:cubicBezTo>
                        <a:pt x="28" y="0"/>
                        <a:pt x="12" y="16"/>
                        <a:pt x="12" y="35"/>
                      </a:cubicBezTo>
                      <a:cubicBezTo>
                        <a:pt x="5" y="39"/>
                        <a:pt x="0" y="47"/>
                        <a:pt x="0" y="56"/>
                      </a:cubicBezTo>
                      <a:cubicBezTo>
                        <a:pt x="0" y="69"/>
                        <a:pt x="11" y="80"/>
                        <a:pt x="24" y="80"/>
                      </a:cubicBezTo>
                      <a:cubicBezTo>
                        <a:pt x="48" y="80"/>
                        <a:pt x="48" y="80"/>
                        <a:pt x="48" y="80"/>
                      </a:cubicBezTo>
                      <a:cubicBezTo>
                        <a:pt x="48" y="72"/>
                        <a:pt x="48" y="72"/>
                        <a:pt x="48" y="72"/>
                      </a:cubicBezTo>
                      <a:cubicBezTo>
                        <a:pt x="24" y="72"/>
                        <a:pt x="24" y="72"/>
                        <a:pt x="24" y="72"/>
                      </a:cubicBezTo>
                      <a:cubicBezTo>
                        <a:pt x="15" y="72"/>
                        <a:pt x="8" y="65"/>
                        <a:pt x="8" y="56"/>
                      </a:cubicBezTo>
                      <a:cubicBezTo>
                        <a:pt x="8" y="48"/>
                        <a:pt x="13" y="42"/>
                        <a:pt x="20" y="40"/>
                      </a:cubicBezTo>
                      <a:cubicBezTo>
                        <a:pt x="20" y="39"/>
                        <a:pt x="20" y="38"/>
                        <a:pt x="20" y="36"/>
                      </a:cubicBezTo>
                      <a:cubicBezTo>
                        <a:pt x="20" y="21"/>
                        <a:pt x="33" y="8"/>
                        <a:pt x="48" y="8"/>
                      </a:cubicBezTo>
                      <a:cubicBezTo>
                        <a:pt x="61" y="8"/>
                        <a:pt x="71" y="16"/>
                        <a:pt x="75" y="28"/>
                      </a:cubicBezTo>
                      <a:cubicBezTo>
                        <a:pt x="78" y="25"/>
                        <a:pt x="82" y="24"/>
                        <a:pt x="86" y="24"/>
                      </a:cubicBezTo>
                      <a:cubicBezTo>
                        <a:pt x="95" y="24"/>
                        <a:pt x="103" y="31"/>
                        <a:pt x="104" y="40"/>
                      </a:cubicBezTo>
                      <a:cubicBezTo>
                        <a:pt x="104" y="40"/>
                        <a:pt x="104" y="40"/>
                        <a:pt x="104" y="40"/>
                      </a:cubicBezTo>
                      <a:cubicBezTo>
                        <a:pt x="113" y="40"/>
                        <a:pt x="120" y="47"/>
                        <a:pt x="120" y="56"/>
                      </a:cubicBezTo>
                      <a:cubicBezTo>
                        <a:pt x="120" y="65"/>
                        <a:pt x="113" y="72"/>
                        <a:pt x="104" y="72"/>
                      </a:cubicBezTo>
                      <a:cubicBezTo>
                        <a:pt x="80" y="72"/>
                        <a:pt x="80" y="72"/>
                        <a:pt x="80" y="72"/>
                      </a:cubicBezTo>
                      <a:cubicBezTo>
                        <a:pt x="80" y="80"/>
                        <a:pt x="80" y="80"/>
                        <a:pt x="80" y="80"/>
                      </a:cubicBezTo>
                      <a:cubicBezTo>
                        <a:pt x="104" y="80"/>
                        <a:pt x="104" y="80"/>
                        <a:pt x="104" y="80"/>
                      </a:cubicBezTo>
                      <a:cubicBezTo>
                        <a:pt x="117" y="80"/>
                        <a:pt x="128" y="69"/>
                        <a:pt x="128" y="56"/>
                      </a:cubicBezTo>
                      <a:cubicBezTo>
                        <a:pt x="128" y="45"/>
                        <a:pt x="121" y="36"/>
                        <a:pt x="110" y="33"/>
                      </a:cubicBezTo>
                      <a:close/>
                    </a:path>
                  </a:pathLst>
                </a:custGeom>
                <a:solidFill>
                  <a:schemeClr val="tx2"/>
                </a:solidFill>
                <a:ln>
                  <a:noFill/>
                </a:ln>
                <a:extLst/>
              </p:spPr>
              <p:txBody>
                <a:bodyPr vert="horz" wrap="square" lIns="91392" tIns="45696" rIns="91392" bIns="45696" numCol="1" anchor="t" anchorCtr="0" compatLnSpc="1">
                  <a:prstTxWarp prst="textNoShape">
                    <a:avLst/>
                  </a:prstTxWarp>
                </a:bodyPr>
                <a:lstStyle/>
                <a:p>
                  <a:endParaRPr lang="en-US" sz="2399" dirty="0">
                    <a:solidFill>
                      <a:srgbClr val="000000"/>
                    </a:solidFill>
                    <a:latin typeface="+mj-lt"/>
                  </a:endParaRPr>
                </a:p>
              </p:txBody>
            </p:sp>
          </p:grpSp>
        </p:grpSp>
      </p:grpSp>
      <p:grpSp>
        <p:nvGrpSpPr>
          <p:cNvPr id="9" name="Group 8"/>
          <p:cNvGrpSpPr/>
          <p:nvPr/>
        </p:nvGrpSpPr>
        <p:grpSpPr>
          <a:xfrm>
            <a:off x="9181546" y="5340277"/>
            <a:ext cx="2280310" cy="624223"/>
            <a:chOff x="9181546" y="5340277"/>
            <a:chExt cx="2280310" cy="624223"/>
          </a:xfrm>
        </p:grpSpPr>
        <p:sp>
          <p:nvSpPr>
            <p:cNvPr id="79" name="Rectangle 78"/>
            <p:cNvSpPr/>
            <p:nvPr/>
          </p:nvSpPr>
          <p:spPr>
            <a:xfrm>
              <a:off x="9181546" y="5428784"/>
              <a:ext cx="1468789" cy="492186"/>
            </a:xfrm>
            <a:prstGeom prst="rect">
              <a:avLst/>
            </a:prstGeom>
          </p:spPr>
          <p:txBody>
            <a:bodyPr wrap="square" lIns="0" tIns="0" rIns="0" bIns="0">
              <a:spAutoFit/>
            </a:bodyPr>
            <a:lstStyle/>
            <a:p>
              <a:pPr algn="r"/>
              <a:r>
                <a:rPr lang="en-US" sz="1599" b="1" spc="-30" dirty="0" smtClean="0">
                  <a:solidFill>
                    <a:schemeClr val="bg1"/>
                  </a:solidFill>
                  <a:latin typeface="+mj-lt"/>
                </a:rPr>
                <a:t>Advance the enterprise</a:t>
              </a:r>
              <a:endParaRPr lang="en-US" sz="1599" b="1" spc="-30" dirty="0">
                <a:solidFill>
                  <a:schemeClr val="bg1"/>
                </a:solidFill>
                <a:latin typeface="+mj-lt"/>
              </a:endParaRPr>
            </a:p>
          </p:txBody>
        </p:sp>
        <p:grpSp>
          <p:nvGrpSpPr>
            <p:cNvPr id="80" name="Group 79"/>
            <p:cNvGrpSpPr/>
            <p:nvPr/>
          </p:nvGrpSpPr>
          <p:grpSpPr>
            <a:xfrm>
              <a:off x="10775207" y="5340277"/>
              <a:ext cx="686649" cy="624223"/>
              <a:chOff x="10662769" y="5127474"/>
              <a:chExt cx="913930" cy="913924"/>
            </a:xfrm>
          </p:grpSpPr>
          <p:sp>
            <p:nvSpPr>
              <p:cNvPr id="81" name="Oval 80"/>
              <p:cNvSpPr>
                <a:spLocks noChangeAspect="1"/>
              </p:cNvSpPr>
              <p:nvPr/>
            </p:nvSpPr>
            <p:spPr>
              <a:xfrm>
                <a:off x="10662769" y="5127474"/>
                <a:ext cx="913930" cy="913924"/>
              </a:xfrm>
              <a:prstGeom prst="ellipse">
                <a:avLst/>
              </a:prstGeom>
              <a:solidFill>
                <a:srgbClr val="FFE600"/>
              </a:solidFill>
              <a:ln w="57150" cap="flat" cmpd="sng" algn="ctr">
                <a:solidFill>
                  <a:srgbClr val="FFFFFF"/>
                </a:solidFill>
                <a:prstDash val="solid"/>
              </a:ln>
              <a:effectLst/>
            </p:spPr>
            <p:txBody>
              <a:bodyPr rtlCol="0" anchor="ctr"/>
              <a:lstStyle/>
              <a:p>
                <a:pPr algn="ctr">
                  <a:defRPr/>
                </a:pPr>
                <a:endParaRPr lang="en-US" sz="1599" kern="0" dirty="0">
                  <a:solidFill>
                    <a:srgbClr val="FFFFFF"/>
                  </a:solidFill>
                  <a:latin typeface="Arial"/>
                </a:endParaRPr>
              </a:p>
            </p:txBody>
          </p:sp>
          <p:sp>
            <p:nvSpPr>
              <p:cNvPr id="82" name="Freeform 143"/>
              <p:cNvSpPr>
                <a:spLocks noEditPoints="1"/>
              </p:cNvSpPr>
              <p:nvPr/>
            </p:nvSpPr>
            <p:spPr bwMode="auto">
              <a:xfrm>
                <a:off x="10886541" y="5364022"/>
                <a:ext cx="484846" cy="496745"/>
              </a:xfrm>
              <a:custGeom>
                <a:avLst/>
                <a:gdLst>
                  <a:gd name="T0" fmla="*/ 120 w 160"/>
                  <a:gd name="T1" fmla="*/ 49 h 164"/>
                  <a:gd name="T2" fmla="*/ 136 w 160"/>
                  <a:gd name="T3" fmla="*/ 47 h 164"/>
                  <a:gd name="T4" fmla="*/ 136 w 160"/>
                  <a:gd name="T5" fmla="*/ 77 h 164"/>
                  <a:gd name="T6" fmla="*/ 80 w 160"/>
                  <a:gd name="T7" fmla="*/ 139 h 164"/>
                  <a:gd name="T8" fmla="*/ 24 w 160"/>
                  <a:gd name="T9" fmla="*/ 77 h 164"/>
                  <a:gd name="T10" fmla="*/ 24 w 160"/>
                  <a:gd name="T11" fmla="*/ 51 h 164"/>
                  <a:gd name="T12" fmla="*/ 40 w 160"/>
                  <a:gd name="T13" fmla="*/ 53 h 164"/>
                  <a:gd name="T14" fmla="*/ 82 w 160"/>
                  <a:gd name="T15" fmla="*/ 33 h 164"/>
                  <a:gd name="T16" fmla="*/ 120 w 160"/>
                  <a:gd name="T17" fmla="*/ 49 h 164"/>
                  <a:gd name="T18" fmla="*/ 160 w 160"/>
                  <a:gd name="T19" fmla="*/ 21 h 164"/>
                  <a:gd name="T20" fmla="*/ 160 w 160"/>
                  <a:gd name="T21" fmla="*/ 77 h 164"/>
                  <a:gd name="T22" fmla="*/ 88 w 160"/>
                  <a:gd name="T23" fmla="*/ 162 h 164"/>
                  <a:gd name="T24" fmla="*/ 73 w 160"/>
                  <a:gd name="T25" fmla="*/ 162 h 164"/>
                  <a:gd name="T26" fmla="*/ 0 w 160"/>
                  <a:gd name="T27" fmla="*/ 77 h 164"/>
                  <a:gd name="T28" fmla="*/ 0 w 160"/>
                  <a:gd name="T29" fmla="*/ 21 h 164"/>
                  <a:gd name="T30" fmla="*/ 7 w 160"/>
                  <a:gd name="T31" fmla="*/ 18 h 164"/>
                  <a:gd name="T32" fmla="*/ 40 w 160"/>
                  <a:gd name="T33" fmla="*/ 29 h 164"/>
                  <a:gd name="T34" fmla="*/ 76 w 160"/>
                  <a:gd name="T35" fmla="*/ 4 h 164"/>
                  <a:gd name="T36" fmla="*/ 85 w 160"/>
                  <a:gd name="T37" fmla="*/ 3 h 164"/>
                  <a:gd name="T38" fmla="*/ 120 w 160"/>
                  <a:gd name="T39" fmla="*/ 25 h 164"/>
                  <a:gd name="T40" fmla="*/ 154 w 160"/>
                  <a:gd name="T41" fmla="*/ 17 h 164"/>
                  <a:gd name="T42" fmla="*/ 160 w 160"/>
                  <a:gd name="T43" fmla="*/ 21 h 164"/>
                  <a:gd name="T44" fmla="*/ 144 w 160"/>
                  <a:gd name="T45" fmla="*/ 37 h 164"/>
                  <a:gd name="T46" fmla="*/ 120 w 160"/>
                  <a:gd name="T47" fmla="*/ 41 h 164"/>
                  <a:gd name="T48" fmla="*/ 81 w 160"/>
                  <a:gd name="T49" fmla="*/ 22 h 164"/>
                  <a:gd name="T50" fmla="*/ 40 w 160"/>
                  <a:gd name="T51" fmla="*/ 45 h 164"/>
                  <a:gd name="T52" fmla="*/ 16 w 160"/>
                  <a:gd name="T53" fmla="*/ 40 h 164"/>
                  <a:gd name="T54" fmla="*/ 16 w 160"/>
                  <a:gd name="T55" fmla="*/ 77 h 164"/>
                  <a:gd name="T56" fmla="*/ 80 w 160"/>
                  <a:gd name="T57" fmla="*/ 148 h 164"/>
                  <a:gd name="T58" fmla="*/ 144 w 160"/>
                  <a:gd name="T59" fmla="*/ 77 h 164"/>
                  <a:gd name="T60" fmla="*/ 144 w 160"/>
                  <a:gd name="T61" fmla="*/ 3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164">
                    <a:moveTo>
                      <a:pt x="120" y="49"/>
                    </a:moveTo>
                    <a:cubicBezTo>
                      <a:pt x="126" y="49"/>
                      <a:pt x="131" y="48"/>
                      <a:pt x="136" y="47"/>
                    </a:cubicBezTo>
                    <a:cubicBezTo>
                      <a:pt x="136" y="77"/>
                      <a:pt x="136" y="77"/>
                      <a:pt x="136" y="77"/>
                    </a:cubicBezTo>
                    <a:cubicBezTo>
                      <a:pt x="136" y="113"/>
                      <a:pt x="97" y="133"/>
                      <a:pt x="80" y="139"/>
                    </a:cubicBezTo>
                    <a:cubicBezTo>
                      <a:pt x="64" y="133"/>
                      <a:pt x="24" y="113"/>
                      <a:pt x="24" y="77"/>
                    </a:cubicBezTo>
                    <a:cubicBezTo>
                      <a:pt x="24" y="51"/>
                      <a:pt x="24" y="51"/>
                      <a:pt x="24" y="51"/>
                    </a:cubicBezTo>
                    <a:cubicBezTo>
                      <a:pt x="30" y="52"/>
                      <a:pt x="35" y="53"/>
                      <a:pt x="40" y="53"/>
                    </a:cubicBezTo>
                    <a:cubicBezTo>
                      <a:pt x="54" y="53"/>
                      <a:pt x="68" y="46"/>
                      <a:pt x="82" y="33"/>
                    </a:cubicBezTo>
                    <a:cubicBezTo>
                      <a:pt x="95" y="43"/>
                      <a:pt x="108" y="49"/>
                      <a:pt x="120" y="49"/>
                    </a:cubicBezTo>
                    <a:close/>
                    <a:moveTo>
                      <a:pt x="160" y="21"/>
                    </a:moveTo>
                    <a:cubicBezTo>
                      <a:pt x="160" y="21"/>
                      <a:pt x="160" y="45"/>
                      <a:pt x="160" y="77"/>
                    </a:cubicBezTo>
                    <a:cubicBezTo>
                      <a:pt x="160" y="141"/>
                      <a:pt x="88" y="162"/>
                      <a:pt x="88" y="162"/>
                    </a:cubicBezTo>
                    <a:cubicBezTo>
                      <a:pt x="84" y="164"/>
                      <a:pt x="77" y="164"/>
                      <a:pt x="73" y="162"/>
                    </a:cubicBezTo>
                    <a:cubicBezTo>
                      <a:pt x="73" y="162"/>
                      <a:pt x="0" y="141"/>
                      <a:pt x="0" y="77"/>
                    </a:cubicBezTo>
                    <a:cubicBezTo>
                      <a:pt x="0" y="41"/>
                      <a:pt x="0" y="21"/>
                      <a:pt x="0" y="21"/>
                    </a:cubicBezTo>
                    <a:cubicBezTo>
                      <a:pt x="0" y="16"/>
                      <a:pt x="3" y="15"/>
                      <a:pt x="7" y="18"/>
                    </a:cubicBezTo>
                    <a:cubicBezTo>
                      <a:pt x="7" y="18"/>
                      <a:pt x="20" y="29"/>
                      <a:pt x="40" y="29"/>
                    </a:cubicBezTo>
                    <a:cubicBezTo>
                      <a:pt x="60" y="29"/>
                      <a:pt x="76" y="4"/>
                      <a:pt x="76" y="4"/>
                    </a:cubicBezTo>
                    <a:cubicBezTo>
                      <a:pt x="78" y="0"/>
                      <a:pt x="82" y="0"/>
                      <a:pt x="85" y="3"/>
                    </a:cubicBezTo>
                    <a:cubicBezTo>
                      <a:pt x="85" y="3"/>
                      <a:pt x="100" y="25"/>
                      <a:pt x="120" y="25"/>
                    </a:cubicBezTo>
                    <a:cubicBezTo>
                      <a:pt x="140" y="25"/>
                      <a:pt x="154" y="17"/>
                      <a:pt x="154" y="17"/>
                    </a:cubicBezTo>
                    <a:cubicBezTo>
                      <a:pt x="157" y="15"/>
                      <a:pt x="160" y="16"/>
                      <a:pt x="160" y="21"/>
                    </a:cubicBezTo>
                    <a:close/>
                    <a:moveTo>
                      <a:pt x="144" y="37"/>
                    </a:moveTo>
                    <a:cubicBezTo>
                      <a:pt x="137" y="39"/>
                      <a:pt x="129" y="41"/>
                      <a:pt x="120" y="41"/>
                    </a:cubicBezTo>
                    <a:cubicBezTo>
                      <a:pt x="105" y="41"/>
                      <a:pt x="91" y="31"/>
                      <a:pt x="81" y="22"/>
                    </a:cubicBezTo>
                    <a:cubicBezTo>
                      <a:pt x="71" y="33"/>
                      <a:pt x="57" y="45"/>
                      <a:pt x="40" y="45"/>
                    </a:cubicBezTo>
                    <a:cubicBezTo>
                      <a:pt x="32" y="45"/>
                      <a:pt x="24" y="43"/>
                      <a:pt x="16" y="40"/>
                    </a:cubicBezTo>
                    <a:cubicBezTo>
                      <a:pt x="16" y="77"/>
                      <a:pt x="16" y="77"/>
                      <a:pt x="16" y="77"/>
                    </a:cubicBezTo>
                    <a:cubicBezTo>
                      <a:pt x="16" y="120"/>
                      <a:pt x="65" y="142"/>
                      <a:pt x="80" y="148"/>
                    </a:cubicBezTo>
                    <a:cubicBezTo>
                      <a:pt x="96" y="142"/>
                      <a:pt x="144" y="120"/>
                      <a:pt x="144" y="77"/>
                    </a:cubicBezTo>
                    <a:lnTo>
                      <a:pt x="144" y="37"/>
                    </a:lnTo>
                    <a:close/>
                  </a:path>
                </a:pathLst>
              </a:custGeom>
              <a:solidFill>
                <a:schemeClr val="tx2"/>
              </a:solidFill>
              <a:ln w="9525">
                <a:noFill/>
                <a:round/>
                <a:headEnd/>
                <a:tailEnd/>
              </a:ln>
            </p:spPr>
            <p:txBody>
              <a:bodyPr vert="horz" wrap="square" lIns="91392" tIns="45696" rIns="91392" bIns="45696" numCol="1" anchor="t" anchorCtr="0" compatLnSpc="1">
                <a:prstTxWarp prst="textNoShape">
                  <a:avLst/>
                </a:prstTxWarp>
              </a:bodyPr>
              <a:lstStyle/>
              <a:p>
                <a:endParaRPr lang="en-US" sz="1799" dirty="0">
                  <a:latin typeface="+mj-lt"/>
                </a:endParaRPr>
              </a:p>
            </p:txBody>
          </p:sp>
        </p:grpSp>
      </p:grpSp>
      <p:grpSp>
        <p:nvGrpSpPr>
          <p:cNvPr id="10" name="Group 9"/>
          <p:cNvGrpSpPr/>
          <p:nvPr/>
        </p:nvGrpSpPr>
        <p:grpSpPr>
          <a:xfrm>
            <a:off x="8855723" y="1556293"/>
            <a:ext cx="2606133" cy="624794"/>
            <a:chOff x="8855694" y="1556293"/>
            <a:chExt cx="2606133" cy="624794"/>
          </a:xfrm>
        </p:grpSpPr>
        <p:sp>
          <p:nvSpPr>
            <p:cNvPr id="69" name="Rectangle 68"/>
            <p:cNvSpPr/>
            <p:nvPr/>
          </p:nvSpPr>
          <p:spPr>
            <a:xfrm>
              <a:off x="8855694" y="1645086"/>
              <a:ext cx="1759767" cy="447209"/>
            </a:xfrm>
            <a:prstGeom prst="rect">
              <a:avLst/>
            </a:prstGeom>
          </p:spPr>
          <p:txBody>
            <a:bodyPr wrap="square" lIns="0" tIns="0" rIns="0" bIns="0">
              <a:spAutoFit/>
            </a:bodyPr>
            <a:lstStyle/>
            <a:p>
              <a:pPr algn="r"/>
              <a:r>
                <a:rPr lang="en-US" sz="1599" b="1" spc="-30" dirty="0">
                  <a:solidFill>
                    <a:schemeClr val="bg1"/>
                  </a:solidFill>
                  <a:latin typeface="+mj-lt"/>
                </a:rPr>
                <a:t>Customer connectivity</a:t>
              </a:r>
            </a:p>
          </p:txBody>
        </p:sp>
        <p:grpSp>
          <p:nvGrpSpPr>
            <p:cNvPr id="83" name="Group 82"/>
            <p:cNvGrpSpPr/>
            <p:nvPr/>
          </p:nvGrpSpPr>
          <p:grpSpPr>
            <a:xfrm>
              <a:off x="10774554" y="1556293"/>
              <a:ext cx="687273" cy="624794"/>
              <a:chOff x="615110" y="5127477"/>
              <a:chExt cx="913929" cy="913925"/>
            </a:xfrm>
          </p:grpSpPr>
          <p:sp>
            <p:nvSpPr>
              <p:cNvPr id="84" name="Oval 83"/>
              <p:cNvSpPr>
                <a:spLocks noChangeAspect="1"/>
              </p:cNvSpPr>
              <p:nvPr/>
            </p:nvSpPr>
            <p:spPr>
              <a:xfrm>
                <a:off x="615110" y="5127477"/>
                <a:ext cx="913929" cy="913925"/>
              </a:xfrm>
              <a:prstGeom prst="ellipse">
                <a:avLst/>
              </a:prstGeom>
              <a:solidFill>
                <a:srgbClr val="FFE600"/>
              </a:solidFill>
              <a:ln w="57150" cap="flat" cmpd="sng" algn="ctr">
                <a:solidFill>
                  <a:srgbClr val="FFFFFF"/>
                </a:solidFill>
                <a:prstDash val="solid"/>
              </a:ln>
              <a:effectLst/>
            </p:spPr>
            <p:txBody>
              <a:bodyPr rtlCol="0" anchor="ctr"/>
              <a:lstStyle/>
              <a:p>
                <a:pPr algn="ctr">
                  <a:defRPr/>
                </a:pPr>
                <a:endParaRPr lang="en-US" sz="1599" kern="0" dirty="0">
                  <a:solidFill>
                    <a:srgbClr val="FFFFFF"/>
                  </a:solidFill>
                  <a:latin typeface="Arial"/>
                </a:endParaRPr>
              </a:p>
            </p:txBody>
          </p:sp>
          <p:sp>
            <p:nvSpPr>
              <p:cNvPr id="85" name="Freeform 45"/>
              <p:cNvSpPr>
                <a:spLocks noChangeAspect="1" noEditPoints="1"/>
              </p:cNvSpPr>
              <p:nvPr/>
            </p:nvSpPr>
            <p:spPr bwMode="auto">
              <a:xfrm>
                <a:off x="826900" y="5294652"/>
                <a:ext cx="490348" cy="546020"/>
              </a:xfrm>
              <a:custGeom>
                <a:avLst/>
                <a:gdLst>
                  <a:gd name="T0" fmla="*/ 1626 w 2290"/>
                  <a:gd name="T1" fmla="*/ 356 h 2550"/>
                  <a:gd name="T2" fmla="*/ 1685 w 2290"/>
                  <a:gd name="T3" fmla="*/ 221 h 2550"/>
                  <a:gd name="T4" fmla="*/ 1625 w 2290"/>
                  <a:gd name="T5" fmla="*/ 81 h 2550"/>
                  <a:gd name="T6" fmla="*/ 1485 w 2290"/>
                  <a:gd name="T7" fmla="*/ 43 h 2550"/>
                  <a:gd name="T8" fmla="*/ 1379 w 2290"/>
                  <a:gd name="T9" fmla="*/ 110 h 2550"/>
                  <a:gd name="T10" fmla="*/ 1349 w 2290"/>
                  <a:gd name="T11" fmla="*/ 274 h 2550"/>
                  <a:gd name="T12" fmla="*/ 1428 w 2290"/>
                  <a:gd name="T13" fmla="*/ 405 h 2550"/>
                  <a:gd name="T14" fmla="*/ 1379 w 2290"/>
                  <a:gd name="T15" fmla="*/ 187 h 2550"/>
                  <a:gd name="T16" fmla="*/ 1478 w 2290"/>
                  <a:gd name="T17" fmla="*/ 127 h 2550"/>
                  <a:gd name="T18" fmla="*/ 1522 w 2290"/>
                  <a:gd name="T19" fmla="*/ 219 h 2550"/>
                  <a:gd name="T20" fmla="*/ 1580 w 2290"/>
                  <a:gd name="T21" fmla="*/ 367 h 2550"/>
                  <a:gd name="T22" fmla="*/ 1489 w 2290"/>
                  <a:gd name="T23" fmla="*/ 396 h 2550"/>
                  <a:gd name="T24" fmla="*/ 1392 w 2290"/>
                  <a:gd name="T25" fmla="*/ 325 h 2550"/>
                  <a:gd name="T26" fmla="*/ 1187 w 2290"/>
                  <a:gd name="T27" fmla="*/ 1061 h 2550"/>
                  <a:gd name="T28" fmla="*/ 1238 w 2290"/>
                  <a:gd name="T29" fmla="*/ 1004 h 2550"/>
                  <a:gd name="T30" fmla="*/ 1254 w 2290"/>
                  <a:gd name="T31" fmla="*/ 975 h 2550"/>
                  <a:gd name="T32" fmla="*/ 1280 w 2290"/>
                  <a:gd name="T33" fmla="*/ 996 h 2550"/>
                  <a:gd name="T34" fmla="*/ 1259 w 2290"/>
                  <a:gd name="T35" fmla="*/ 1018 h 2550"/>
                  <a:gd name="T36" fmla="*/ 1731 w 2290"/>
                  <a:gd name="T37" fmla="*/ 473 h 2550"/>
                  <a:gd name="T38" fmla="*/ 1657 w 2290"/>
                  <a:gd name="T39" fmla="*/ 427 h 2550"/>
                  <a:gd name="T40" fmla="*/ 1455 w 2290"/>
                  <a:gd name="T41" fmla="*/ 553 h 2550"/>
                  <a:gd name="T42" fmla="*/ 1594 w 2290"/>
                  <a:gd name="T43" fmla="*/ 2550 h 2550"/>
                  <a:gd name="T44" fmla="*/ 1848 w 2290"/>
                  <a:gd name="T45" fmla="*/ 1311 h 2550"/>
                  <a:gd name="T46" fmla="*/ 612 w 2290"/>
                  <a:gd name="T47" fmla="*/ 744 h 2550"/>
                  <a:gd name="T48" fmla="*/ 587 w 2290"/>
                  <a:gd name="T49" fmla="*/ 567 h 2550"/>
                  <a:gd name="T50" fmla="*/ 426 w 2290"/>
                  <a:gd name="T51" fmla="*/ 416 h 2550"/>
                  <a:gd name="T52" fmla="*/ 327 w 2290"/>
                  <a:gd name="T53" fmla="*/ 415 h 2550"/>
                  <a:gd name="T54" fmla="*/ 0 w 2290"/>
                  <a:gd name="T55" fmla="*/ 2014 h 2550"/>
                  <a:gd name="T56" fmla="*/ 481 w 2290"/>
                  <a:gd name="T57" fmla="*/ 2550 h 2550"/>
                  <a:gd name="T58" fmla="*/ 460 w 2290"/>
                  <a:gd name="T59" fmla="*/ 1037 h 2550"/>
                  <a:gd name="T60" fmla="*/ 394 w 2290"/>
                  <a:gd name="T61" fmla="*/ 1009 h 2550"/>
                  <a:gd name="T62" fmla="*/ 370 w 2290"/>
                  <a:gd name="T63" fmla="*/ 1027 h 2550"/>
                  <a:gd name="T64" fmla="*/ 458 w 2290"/>
                  <a:gd name="T65" fmla="*/ 1067 h 2550"/>
                  <a:gd name="T66" fmla="*/ 339 w 2290"/>
                  <a:gd name="T67" fmla="*/ 480 h 2550"/>
                  <a:gd name="T68" fmla="*/ 407 w 2290"/>
                  <a:gd name="T69" fmla="*/ 473 h 2550"/>
                  <a:gd name="T70" fmla="*/ 546 w 2290"/>
                  <a:gd name="T71" fmla="*/ 616 h 2550"/>
                  <a:gd name="T72" fmla="*/ 809 w 2290"/>
                  <a:gd name="T73" fmla="*/ 884 h 2550"/>
                  <a:gd name="T74" fmla="*/ 465 w 2290"/>
                  <a:gd name="T75" fmla="*/ 405 h 2550"/>
                  <a:gd name="T76" fmla="*/ 583 w 2290"/>
                  <a:gd name="T77" fmla="*/ 397 h 2550"/>
                  <a:gd name="T78" fmla="*/ 655 w 2290"/>
                  <a:gd name="T79" fmla="*/ 278 h 2550"/>
                  <a:gd name="T80" fmla="*/ 659 w 2290"/>
                  <a:gd name="T81" fmla="*/ 145 h 2550"/>
                  <a:gd name="T82" fmla="*/ 599 w 2290"/>
                  <a:gd name="T83" fmla="*/ 51 h 2550"/>
                  <a:gd name="T84" fmla="*/ 456 w 2290"/>
                  <a:gd name="T85" fmla="*/ 2 h 2550"/>
                  <a:gd name="T86" fmla="*/ 325 w 2290"/>
                  <a:gd name="T87" fmla="*/ 76 h 2550"/>
                  <a:gd name="T88" fmla="*/ 273 w 2290"/>
                  <a:gd name="T89" fmla="*/ 186 h 2550"/>
                  <a:gd name="T90" fmla="*/ 296 w 2290"/>
                  <a:gd name="T91" fmla="*/ 306 h 2550"/>
                  <a:gd name="T92" fmla="*/ 404 w 2290"/>
                  <a:gd name="T93" fmla="*/ 381 h 2550"/>
                  <a:gd name="T94" fmla="*/ 589 w 2290"/>
                  <a:gd name="T95" fmla="*/ 137 h 2550"/>
                  <a:gd name="T96" fmla="*/ 625 w 2290"/>
                  <a:gd name="T97" fmla="*/ 274 h 2550"/>
                  <a:gd name="T98" fmla="*/ 567 w 2290"/>
                  <a:gd name="T99" fmla="*/ 371 h 2550"/>
                  <a:gd name="T100" fmla="*/ 481 w 2290"/>
                  <a:gd name="T101" fmla="*/ 381 h 2550"/>
                  <a:gd name="T102" fmla="*/ 461 w 2290"/>
                  <a:gd name="T103" fmla="*/ 319 h 2550"/>
                  <a:gd name="T104" fmla="*/ 450 w 2290"/>
                  <a:gd name="T105" fmla="*/ 234 h 2550"/>
                  <a:gd name="T106" fmla="*/ 983 w 2290"/>
                  <a:gd name="T107" fmla="*/ 1076 h 2550"/>
                  <a:gd name="T108" fmla="*/ 1071 w 2290"/>
                  <a:gd name="T109" fmla="*/ 1074 h 2550"/>
                  <a:gd name="T110" fmla="*/ 1024 w 2290"/>
                  <a:gd name="T111" fmla="*/ 1054 h 2550"/>
                  <a:gd name="T112" fmla="*/ 940 w 2290"/>
                  <a:gd name="T113" fmla="*/ 887 h 2550"/>
                  <a:gd name="T114" fmla="*/ 1063 w 2290"/>
                  <a:gd name="T115" fmla="*/ 859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0" h="2550">
                    <a:moveTo>
                      <a:pt x="1502" y="426"/>
                    </a:moveTo>
                    <a:lnTo>
                      <a:pt x="1502" y="426"/>
                    </a:lnTo>
                    <a:lnTo>
                      <a:pt x="1521" y="425"/>
                    </a:lnTo>
                    <a:lnTo>
                      <a:pt x="1539" y="421"/>
                    </a:lnTo>
                    <a:lnTo>
                      <a:pt x="1557" y="415"/>
                    </a:lnTo>
                    <a:lnTo>
                      <a:pt x="1572" y="407"/>
                    </a:lnTo>
                    <a:lnTo>
                      <a:pt x="1588" y="397"/>
                    </a:lnTo>
                    <a:lnTo>
                      <a:pt x="1602" y="385"/>
                    </a:lnTo>
                    <a:lnTo>
                      <a:pt x="1615" y="372"/>
                    </a:lnTo>
                    <a:lnTo>
                      <a:pt x="1626" y="356"/>
                    </a:lnTo>
                    <a:lnTo>
                      <a:pt x="1626" y="356"/>
                    </a:lnTo>
                    <a:lnTo>
                      <a:pt x="1639" y="352"/>
                    </a:lnTo>
                    <a:lnTo>
                      <a:pt x="1650" y="346"/>
                    </a:lnTo>
                    <a:lnTo>
                      <a:pt x="1660" y="340"/>
                    </a:lnTo>
                    <a:lnTo>
                      <a:pt x="1669" y="333"/>
                    </a:lnTo>
                    <a:lnTo>
                      <a:pt x="1676" y="324"/>
                    </a:lnTo>
                    <a:lnTo>
                      <a:pt x="1682" y="315"/>
                    </a:lnTo>
                    <a:lnTo>
                      <a:pt x="1684" y="305"/>
                    </a:lnTo>
                    <a:lnTo>
                      <a:pt x="1685" y="293"/>
                    </a:lnTo>
                    <a:lnTo>
                      <a:pt x="1685" y="221"/>
                    </a:lnTo>
                    <a:lnTo>
                      <a:pt x="1685" y="221"/>
                    </a:lnTo>
                    <a:lnTo>
                      <a:pt x="1685" y="204"/>
                    </a:lnTo>
                    <a:lnTo>
                      <a:pt x="1683" y="186"/>
                    </a:lnTo>
                    <a:lnTo>
                      <a:pt x="1678" y="169"/>
                    </a:lnTo>
                    <a:lnTo>
                      <a:pt x="1673" y="152"/>
                    </a:lnTo>
                    <a:lnTo>
                      <a:pt x="1666" y="136"/>
                    </a:lnTo>
                    <a:lnTo>
                      <a:pt x="1658" y="120"/>
                    </a:lnTo>
                    <a:lnTo>
                      <a:pt x="1648" y="107"/>
                    </a:lnTo>
                    <a:lnTo>
                      <a:pt x="1638" y="93"/>
                    </a:lnTo>
                    <a:lnTo>
                      <a:pt x="1625" y="81"/>
                    </a:lnTo>
                    <a:lnTo>
                      <a:pt x="1613" y="71"/>
                    </a:lnTo>
                    <a:lnTo>
                      <a:pt x="1598" y="61"/>
                    </a:lnTo>
                    <a:lnTo>
                      <a:pt x="1584" y="53"/>
                    </a:lnTo>
                    <a:lnTo>
                      <a:pt x="1568" y="47"/>
                    </a:lnTo>
                    <a:lnTo>
                      <a:pt x="1552" y="43"/>
                    </a:lnTo>
                    <a:lnTo>
                      <a:pt x="1535" y="39"/>
                    </a:lnTo>
                    <a:lnTo>
                      <a:pt x="1517" y="38"/>
                    </a:lnTo>
                    <a:lnTo>
                      <a:pt x="1517" y="38"/>
                    </a:lnTo>
                    <a:lnTo>
                      <a:pt x="1499" y="39"/>
                    </a:lnTo>
                    <a:lnTo>
                      <a:pt x="1485" y="43"/>
                    </a:lnTo>
                    <a:lnTo>
                      <a:pt x="1485" y="43"/>
                    </a:lnTo>
                    <a:lnTo>
                      <a:pt x="1470" y="45"/>
                    </a:lnTo>
                    <a:lnTo>
                      <a:pt x="1457" y="49"/>
                    </a:lnTo>
                    <a:lnTo>
                      <a:pt x="1443" y="55"/>
                    </a:lnTo>
                    <a:lnTo>
                      <a:pt x="1431" y="61"/>
                    </a:lnTo>
                    <a:lnTo>
                      <a:pt x="1418" y="69"/>
                    </a:lnTo>
                    <a:lnTo>
                      <a:pt x="1407" y="78"/>
                    </a:lnTo>
                    <a:lnTo>
                      <a:pt x="1397" y="88"/>
                    </a:lnTo>
                    <a:lnTo>
                      <a:pt x="1387" y="98"/>
                    </a:lnTo>
                    <a:lnTo>
                      <a:pt x="1379" y="110"/>
                    </a:lnTo>
                    <a:lnTo>
                      <a:pt x="1371" y="123"/>
                    </a:lnTo>
                    <a:lnTo>
                      <a:pt x="1364" y="136"/>
                    </a:lnTo>
                    <a:lnTo>
                      <a:pt x="1359" y="150"/>
                    </a:lnTo>
                    <a:lnTo>
                      <a:pt x="1354" y="164"/>
                    </a:lnTo>
                    <a:lnTo>
                      <a:pt x="1351" y="179"/>
                    </a:lnTo>
                    <a:lnTo>
                      <a:pt x="1349" y="195"/>
                    </a:lnTo>
                    <a:lnTo>
                      <a:pt x="1349" y="210"/>
                    </a:lnTo>
                    <a:lnTo>
                      <a:pt x="1349" y="257"/>
                    </a:lnTo>
                    <a:lnTo>
                      <a:pt x="1349" y="257"/>
                    </a:lnTo>
                    <a:lnTo>
                      <a:pt x="1349" y="274"/>
                    </a:lnTo>
                    <a:lnTo>
                      <a:pt x="1351" y="291"/>
                    </a:lnTo>
                    <a:lnTo>
                      <a:pt x="1355" y="307"/>
                    </a:lnTo>
                    <a:lnTo>
                      <a:pt x="1360" y="323"/>
                    </a:lnTo>
                    <a:lnTo>
                      <a:pt x="1367" y="337"/>
                    </a:lnTo>
                    <a:lnTo>
                      <a:pt x="1374" y="351"/>
                    </a:lnTo>
                    <a:lnTo>
                      <a:pt x="1382" y="364"/>
                    </a:lnTo>
                    <a:lnTo>
                      <a:pt x="1392" y="376"/>
                    </a:lnTo>
                    <a:lnTo>
                      <a:pt x="1404" y="387"/>
                    </a:lnTo>
                    <a:lnTo>
                      <a:pt x="1415" y="397"/>
                    </a:lnTo>
                    <a:lnTo>
                      <a:pt x="1428" y="405"/>
                    </a:lnTo>
                    <a:lnTo>
                      <a:pt x="1442" y="413"/>
                    </a:lnTo>
                    <a:lnTo>
                      <a:pt x="1455" y="418"/>
                    </a:lnTo>
                    <a:lnTo>
                      <a:pt x="1470" y="423"/>
                    </a:lnTo>
                    <a:lnTo>
                      <a:pt x="1486" y="425"/>
                    </a:lnTo>
                    <a:lnTo>
                      <a:pt x="1502" y="426"/>
                    </a:lnTo>
                    <a:lnTo>
                      <a:pt x="1502" y="426"/>
                    </a:lnTo>
                    <a:close/>
                    <a:moveTo>
                      <a:pt x="1377" y="210"/>
                    </a:moveTo>
                    <a:lnTo>
                      <a:pt x="1377" y="210"/>
                    </a:lnTo>
                    <a:lnTo>
                      <a:pt x="1378" y="198"/>
                    </a:lnTo>
                    <a:lnTo>
                      <a:pt x="1379" y="187"/>
                    </a:lnTo>
                    <a:lnTo>
                      <a:pt x="1381" y="175"/>
                    </a:lnTo>
                    <a:lnTo>
                      <a:pt x="1385" y="164"/>
                    </a:lnTo>
                    <a:lnTo>
                      <a:pt x="1388" y="153"/>
                    </a:lnTo>
                    <a:lnTo>
                      <a:pt x="1392" y="143"/>
                    </a:lnTo>
                    <a:lnTo>
                      <a:pt x="1398" y="134"/>
                    </a:lnTo>
                    <a:lnTo>
                      <a:pt x="1404" y="125"/>
                    </a:lnTo>
                    <a:lnTo>
                      <a:pt x="1457" y="125"/>
                    </a:lnTo>
                    <a:lnTo>
                      <a:pt x="1457" y="125"/>
                    </a:lnTo>
                    <a:lnTo>
                      <a:pt x="1468" y="125"/>
                    </a:lnTo>
                    <a:lnTo>
                      <a:pt x="1478" y="127"/>
                    </a:lnTo>
                    <a:lnTo>
                      <a:pt x="1487" y="130"/>
                    </a:lnTo>
                    <a:lnTo>
                      <a:pt x="1495" y="135"/>
                    </a:lnTo>
                    <a:lnTo>
                      <a:pt x="1502" y="139"/>
                    </a:lnTo>
                    <a:lnTo>
                      <a:pt x="1506" y="146"/>
                    </a:lnTo>
                    <a:lnTo>
                      <a:pt x="1511" y="153"/>
                    </a:lnTo>
                    <a:lnTo>
                      <a:pt x="1514" y="161"/>
                    </a:lnTo>
                    <a:lnTo>
                      <a:pt x="1516" y="170"/>
                    </a:lnTo>
                    <a:lnTo>
                      <a:pt x="1518" y="179"/>
                    </a:lnTo>
                    <a:lnTo>
                      <a:pt x="1521" y="198"/>
                    </a:lnTo>
                    <a:lnTo>
                      <a:pt x="1522" y="219"/>
                    </a:lnTo>
                    <a:lnTo>
                      <a:pt x="1522" y="241"/>
                    </a:lnTo>
                    <a:lnTo>
                      <a:pt x="1570" y="198"/>
                    </a:lnTo>
                    <a:lnTo>
                      <a:pt x="1570" y="295"/>
                    </a:lnTo>
                    <a:lnTo>
                      <a:pt x="1615" y="316"/>
                    </a:lnTo>
                    <a:lnTo>
                      <a:pt x="1615" y="316"/>
                    </a:lnTo>
                    <a:lnTo>
                      <a:pt x="1608" y="331"/>
                    </a:lnTo>
                    <a:lnTo>
                      <a:pt x="1599" y="344"/>
                    </a:lnTo>
                    <a:lnTo>
                      <a:pt x="1590" y="355"/>
                    </a:lnTo>
                    <a:lnTo>
                      <a:pt x="1580" y="367"/>
                    </a:lnTo>
                    <a:lnTo>
                      <a:pt x="1580" y="367"/>
                    </a:lnTo>
                    <a:lnTo>
                      <a:pt x="1571" y="373"/>
                    </a:lnTo>
                    <a:lnTo>
                      <a:pt x="1562" y="379"/>
                    </a:lnTo>
                    <a:lnTo>
                      <a:pt x="1553" y="385"/>
                    </a:lnTo>
                    <a:lnTo>
                      <a:pt x="1543" y="389"/>
                    </a:lnTo>
                    <a:lnTo>
                      <a:pt x="1534" y="392"/>
                    </a:lnTo>
                    <a:lnTo>
                      <a:pt x="1523" y="395"/>
                    </a:lnTo>
                    <a:lnTo>
                      <a:pt x="1513" y="397"/>
                    </a:lnTo>
                    <a:lnTo>
                      <a:pt x="1502" y="397"/>
                    </a:lnTo>
                    <a:lnTo>
                      <a:pt x="1502" y="397"/>
                    </a:lnTo>
                    <a:lnTo>
                      <a:pt x="1489" y="396"/>
                    </a:lnTo>
                    <a:lnTo>
                      <a:pt x="1477" y="395"/>
                    </a:lnTo>
                    <a:lnTo>
                      <a:pt x="1466" y="391"/>
                    </a:lnTo>
                    <a:lnTo>
                      <a:pt x="1454" y="387"/>
                    </a:lnTo>
                    <a:lnTo>
                      <a:pt x="1443" y="380"/>
                    </a:lnTo>
                    <a:lnTo>
                      <a:pt x="1433" y="373"/>
                    </a:lnTo>
                    <a:lnTo>
                      <a:pt x="1423" y="365"/>
                    </a:lnTo>
                    <a:lnTo>
                      <a:pt x="1414" y="356"/>
                    </a:lnTo>
                    <a:lnTo>
                      <a:pt x="1406" y="346"/>
                    </a:lnTo>
                    <a:lnTo>
                      <a:pt x="1399" y="336"/>
                    </a:lnTo>
                    <a:lnTo>
                      <a:pt x="1392" y="325"/>
                    </a:lnTo>
                    <a:lnTo>
                      <a:pt x="1387" y="313"/>
                    </a:lnTo>
                    <a:lnTo>
                      <a:pt x="1382" y="299"/>
                    </a:lnTo>
                    <a:lnTo>
                      <a:pt x="1380" y="286"/>
                    </a:lnTo>
                    <a:lnTo>
                      <a:pt x="1378" y="272"/>
                    </a:lnTo>
                    <a:lnTo>
                      <a:pt x="1377" y="257"/>
                    </a:lnTo>
                    <a:lnTo>
                      <a:pt x="1377" y="210"/>
                    </a:lnTo>
                    <a:close/>
                    <a:moveTo>
                      <a:pt x="1407" y="741"/>
                    </a:moveTo>
                    <a:lnTo>
                      <a:pt x="1325" y="846"/>
                    </a:lnTo>
                    <a:lnTo>
                      <a:pt x="1187" y="846"/>
                    </a:lnTo>
                    <a:lnTo>
                      <a:pt x="1187" y="1061"/>
                    </a:lnTo>
                    <a:lnTo>
                      <a:pt x="1426" y="1061"/>
                    </a:lnTo>
                    <a:lnTo>
                      <a:pt x="1407" y="741"/>
                    </a:lnTo>
                    <a:close/>
                    <a:moveTo>
                      <a:pt x="1259" y="1018"/>
                    </a:moveTo>
                    <a:lnTo>
                      <a:pt x="1259" y="1018"/>
                    </a:lnTo>
                    <a:lnTo>
                      <a:pt x="1254" y="1018"/>
                    </a:lnTo>
                    <a:lnTo>
                      <a:pt x="1250" y="1016"/>
                    </a:lnTo>
                    <a:lnTo>
                      <a:pt x="1246" y="1014"/>
                    </a:lnTo>
                    <a:lnTo>
                      <a:pt x="1243" y="1012"/>
                    </a:lnTo>
                    <a:lnTo>
                      <a:pt x="1241" y="1009"/>
                    </a:lnTo>
                    <a:lnTo>
                      <a:pt x="1238" y="1004"/>
                    </a:lnTo>
                    <a:lnTo>
                      <a:pt x="1237" y="1001"/>
                    </a:lnTo>
                    <a:lnTo>
                      <a:pt x="1236" y="996"/>
                    </a:lnTo>
                    <a:lnTo>
                      <a:pt x="1236" y="996"/>
                    </a:lnTo>
                    <a:lnTo>
                      <a:pt x="1237" y="992"/>
                    </a:lnTo>
                    <a:lnTo>
                      <a:pt x="1238" y="987"/>
                    </a:lnTo>
                    <a:lnTo>
                      <a:pt x="1241" y="984"/>
                    </a:lnTo>
                    <a:lnTo>
                      <a:pt x="1243" y="980"/>
                    </a:lnTo>
                    <a:lnTo>
                      <a:pt x="1246" y="978"/>
                    </a:lnTo>
                    <a:lnTo>
                      <a:pt x="1250" y="976"/>
                    </a:lnTo>
                    <a:lnTo>
                      <a:pt x="1254" y="975"/>
                    </a:lnTo>
                    <a:lnTo>
                      <a:pt x="1259" y="975"/>
                    </a:lnTo>
                    <a:lnTo>
                      <a:pt x="1259" y="975"/>
                    </a:lnTo>
                    <a:lnTo>
                      <a:pt x="1262" y="975"/>
                    </a:lnTo>
                    <a:lnTo>
                      <a:pt x="1266" y="976"/>
                    </a:lnTo>
                    <a:lnTo>
                      <a:pt x="1270" y="978"/>
                    </a:lnTo>
                    <a:lnTo>
                      <a:pt x="1273" y="980"/>
                    </a:lnTo>
                    <a:lnTo>
                      <a:pt x="1277" y="984"/>
                    </a:lnTo>
                    <a:lnTo>
                      <a:pt x="1278" y="987"/>
                    </a:lnTo>
                    <a:lnTo>
                      <a:pt x="1279" y="992"/>
                    </a:lnTo>
                    <a:lnTo>
                      <a:pt x="1280" y="996"/>
                    </a:lnTo>
                    <a:lnTo>
                      <a:pt x="1280" y="996"/>
                    </a:lnTo>
                    <a:lnTo>
                      <a:pt x="1279" y="1001"/>
                    </a:lnTo>
                    <a:lnTo>
                      <a:pt x="1278" y="1004"/>
                    </a:lnTo>
                    <a:lnTo>
                      <a:pt x="1277" y="1009"/>
                    </a:lnTo>
                    <a:lnTo>
                      <a:pt x="1273" y="1012"/>
                    </a:lnTo>
                    <a:lnTo>
                      <a:pt x="1270" y="1014"/>
                    </a:lnTo>
                    <a:lnTo>
                      <a:pt x="1266" y="1016"/>
                    </a:lnTo>
                    <a:lnTo>
                      <a:pt x="1262" y="1018"/>
                    </a:lnTo>
                    <a:lnTo>
                      <a:pt x="1259" y="1018"/>
                    </a:lnTo>
                    <a:lnTo>
                      <a:pt x="1259" y="1018"/>
                    </a:lnTo>
                    <a:close/>
                    <a:moveTo>
                      <a:pt x="1825" y="1980"/>
                    </a:moveTo>
                    <a:lnTo>
                      <a:pt x="1939" y="2550"/>
                    </a:lnTo>
                    <a:lnTo>
                      <a:pt x="2146" y="2550"/>
                    </a:lnTo>
                    <a:lnTo>
                      <a:pt x="2094" y="1980"/>
                    </a:lnTo>
                    <a:lnTo>
                      <a:pt x="1825" y="1980"/>
                    </a:lnTo>
                    <a:close/>
                    <a:moveTo>
                      <a:pt x="2011" y="1445"/>
                    </a:moveTo>
                    <a:lnTo>
                      <a:pt x="2036" y="1339"/>
                    </a:lnTo>
                    <a:lnTo>
                      <a:pt x="1735" y="486"/>
                    </a:lnTo>
                    <a:lnTo>
                      <a:pt x="1735" y="486"/>
                    </a:lnTo>
                    <a:lnTo>
                      <a:pt x="1731" y="473"/>
                    </a:lnTo>
                    <a:lnTo>
                      <a:pt x="1726" y="463"/>
                    </a:lnTo>
                    <a:lnTo>
                      <a:pt x="1720" y="454"/>
                    </a:lnTo>
                    <a:lnTo>
                      <a:pt x="1714" y="446"/>
                    </a:lnTo>
                    <a:lnTo>
                      <a:pt x="1707" y="440"/>
                    </a:lnTo>
                    <a:lnTo>
                      <a:pt x="1701" y="435"/>
                    </a:lnTo>
                    <a:lnTo>
                      <a:pt x="1693" y="431"/>
                    </a:lnTo>
                    <a:lnTo>
                      <a:pt x="1684" y="428"/>
                    </a:lnTo>
                    <a:lnTo>
                      <a:pt x="1676" y="427"/>
                    </a:lnTo>
                    <a:lnTo>
                      <a:pt x="1666" y="426"/>
                    </a:lnTo>
                    <a:lnTo>
                      <a:pt x="1657" y="427"/>
                    </a:lnTo>
                    <a:lnTo>
                      <a:pt x="1647" y="429"/>
                    </a:lnTo>
                    <a:lnTo>
                      <a:pt x="1635" y="432"/>
                    </a:lnTo>
                    <a:lnTo>
                      <a:pt x="1625" y="436"/>
                    </a:lnTo>
                    <a:lnTo>
                      <a:pt x="1602" y="445"/>
                    </a:lnTo>
                    <a:lnTo>
                      <a:pt x="1490" y="516"/>
                    </a:lnTo>
                    <a:lnTo>
                      <a:pt x="1490" y="516"/>
                    </a:lnTo>
                    <a:lnTo>
                      <a:pt x="1484" y="521"/>
                    </a:lnTo>
                    <a:lnTo>
                      <a:pt x="1478" y="526"/>
                    </a:lnTo>
                    <a:lnTo>
                      <a:pt x="1466" y="539"/>
                    </a:lnTo>
                    <a:lnTo>
                      <a:pt x="1455" y="553"/>
                    </a:lnTo>
                    <a:lnTo>
                      <a:pt x="1445" y="570"/>
                    </a:lnTo>
                    <a:lnTo>
                      <a:pt x="1437" y="589"/>
                    </a:lnTo>
                    <a:lnTo>
                      <a:pt x="1432" y="608"/>
                    </a:lnTo>
                    <a:lnTo>
                      <a:pt x="1430" y="617"/>
                    </a:lnTo>
                    <a:lnTo>
                      <a:pt x="1428" y="627"/>
                    </a:lnTo>
                    <a:lnTo>
                      <a:pt x="1428" y="638"/>
                    </a:lnTo>
                    <a:lnTo>
                      <a:pt x="1428" y="648"/>
                    </a:lnTo>
                    <a:lnTo>
                      <a:pt x="1479" y="1437"/>
                    </a:lnTo>
                    <a:lnTo>
                      <a:pt x="1394" y="2550"/>
                    </a:lnTo>
                    <a:lnTo>
                      <a:pt x="1594" y="2550"/>
                    </a:lnTo>
                    <a:lnTo>
                      <a:pt x="1710" y="1980"/>
                    </a:lnTo>
                    <a:lnTo>
                      <a:pt x="1637" y="1980"/>
                    </a:lnTo>
                    <a:lnTo>
                      <a:pt x="1637" y="1421"/>
                    </a:lnTo>
                    <a:lnTo>
                      <a:pt x="1852" y="1421"/>
                    </a:lnTo>
                    <a:lnTo>
                      <a:pt x="1828" y="1345"/>
                    </a:lnTo>
                    <a:lnTo>
                      <a:pt x="1766" y="1356"/>
                    </a:lnTo>
                    <a:lnTo>
                      <a:pt x="1597" y="778"/>
                    </a:lnTo>
                    <a:lnTo>
                      <a:pt x="1625" y="770"/>
                    </a:lnTo>
                    <a:lnTo>
                      <a:pt x="1786" y="1323"/>
                    </a:lnTo>
                    <a:lnTo>
                      <a:pt x="1848" y="1311"/>
                    </a:lnTo>
                    <a:lnTo>
                      <a:pt x="1893" y="1450"/>
                    </a:lnTo>
                    <a:lnTo>
                      <a:pt x="1665" y="1450"/>
                    </a:lnTo>
                    <a:lnTo>
                      <a:pt x="1666" y="1951"/>
                    </a:lnTo>
                    <a:lnTo>
                      <a:pt x="2290" y="1951"/>
                    </a:lnTo>
                    <a:lnTo>
                      <a:pt x="2290" y="1445"/>
                    </a:lnTo>
                    <a:lnTo>
                      <a:pt x="2011" y="1445"/>
                    </a:lnTo>
                    <a:close/>
                    <a:moveTo>
                      <a:pt x="840" y="1067"/>
                    </a:moveTo>
                    <a:lnTo>
                      <a:pt x="840" y="858"/>
                    </a:lnTo>
                    <a:lnTo>
                      <a:pt x="608" y="858"/>
                    </a:lnTo>
                    <a:lnTo>
                      <a:pt x="612" y="744"/>
                    </a:lnTo>
                    <a:lnTo>
                      <a:pt x="612" y="744"/>
                    </a:lnTo>
                    <a:lnTo>
                      <a:pt x="612" y="702"/>
                    </a:lnTo>
                    <a:lnTo>
                      <a:pt x="611" y="663"/>
                    </a:lnTo>
                    <a:lnTo>
                      <a:pt x="610" y="646"/>
                    </a:lnTo>
                    <a:lnTo>
                      <a:pt x="607" y="631"/>
                    </a:lnTo>
                    <a:lnTo>
                      <a:pt x="605" y="616"/>
                    </a:lnTo>
                    <a:lnTo>
                      <a:pt x="602" y="603"/>
                    </a:lnTo>
                    <a:lnTo>
                      <a:pt x="597" y="590"/>
                    </a:lnTo>
                    <a:lnTo>
                      <a:pt x="593" y="578"/>
                    </a:lnTo>
                    <a:lnTo>
                      <a:pt x="587" y="567"/>
                    </a:lnTo>
                    <a:lnTo>
                      <a:pt x="580" y="555"/>
                    </a:lnTo>
                    <a:lnTo>
                      <a:pt x="574" y="545"/>
                    </a:lnTo>
                    <a:lnTo>
                      <a:pt x="565" y="535"/>
                    </a:lnTo>
                    <a:lnTo>
                      <a:pt x="556" y="525"/>
                    </a:lnTo>
                    <a:lnTo>
                      <a:pt x="544" y="515"/>
                    </a:lnTo>
                    <a:lnTo>
                      <a:pt x="452" y="435"/>
                    </a:lnTo>
                    <a:lnTo>
                      <a:pt x="452" y="435"/>
                    </a:lnTo>
                    <a:lnTo>
                      <a:pt x="443" y="427"/>
                    </a:lnTo>
                    <a:lnTo>
                      <a:pt x="435" y="422"/>
                    </a:lnTo>
                    <a:lnTo>
                      <a:pt x="426" y="416"/>
                    </a:lnTo>
                    <a:lnTo>
                      <a:pt x="418" y="412"/>
                    </a:lnTo>
                    <a:lnTo>
                      <a:pt x="409" y="408"/>
                    </a:lnTo>
                    <a:lnTo>
                      <a:pt x="402" y="406"/>
                    </a:lnTo>
                    <a:lnTo>
                      <a:pt x="394" y="404"/>
                    </a:lnTo>
                    <a:lnTo>
                      <a:pt x="386" y="403"/>
                    </a:lnTo>
                    <a:lnTo>
                      <a:pt x="378" y="401"/>
                    </a:lnTo>
                    <a:lnTo>
                      <a:pt x="370" y="401"/>
                    </a:lnTo>
                    <a:lnTo>
                      <a:pt x="355" y="404"/>
                    </a:lnTo>
                    <a:lnTo>
                      <a:pt x="341" y="408"/>
                    </a:lnTo>
                    <a:lnTo>
                      <a:pt x="327" y="415"/>
                    </a:lnTo>
                    <a:lnTo>
                      <a:pt x="315" y="423"/>
                    </a:lnTo>
                    <a:lnTo>
                      <a:pt x="305" y="433"/>
                    </a:lnTo>
                    <a:lnTo>
                      <a:pt x="295" y="445"/>
                    </a:lnTo>
                    <a:lnTo>
                      <a:pt x="286" y="458"/>
                    </a:lnTo>
                    <a:lnTo>
                      <a:pt x="279" y="472"/>
                    </a:lnTo>
                    <a:lnTo>
                      <a:pt x="273" y="487"/>
                    </a:lnTo>
                    <a:lnTo>
                      <a:pt x="270" y="503"/>
                    </a:lnTo>
                    <a:lnTo>
                      <a:pt x="268" y="518"/>
                    </a:lnTo>
                    <a:lnTo>
                      <a:pt x="223" y="1152"/>
                    </a:lnTo>
                    <a:lnTo>
                      <a:pt x="0" y="2014"/>
                    </a:lnTo>
                    <a:lnTo>
                      <a:pt x="114" y="2014"/>
                    </a:lnTo>
                    <a:lnTo>
                      <a:pt x="38" y="2550"/>
                    </a:lnTo>
                    <a:lnTo>
                      <a:pt x="97" y="2550"/>
                    </a:lnTo>
                    <a:lnTo>
                      <a:pt x="172" y="2014"/>
                    </a:lnTo>
                    <a:lnTo>
                      <a:pt x="350" y="2014"/>
                    </a:lnTo>
                    <a:lnTo>
                      <a:pt x="235" y="2550"/>
                    </a:lnTo>
                    <a:lnTo>
                      <a:pt x="263" y="2550"/>
                    </a:lnTo>
                    <a:lnTo>
                      <a:pt x="366" y="2074"/>
                    </a:lnTo>
                    <a:lnTo>
                      <a:pt x="451" y="2550"/>
                    </a:lnTo>
                    <a:lnTo>
                      <a:pt x="481" y="2550"/>
                    </a:lnTo>
                    <a:lnTo>
                      <a:pt x="385" y="2014"/>
                    </a:lnTo>
                    <a:lnTo>
                      <a:pt x="564" y="2014"/>
                    </a:lnTo>
                    <a:lnTo>
                      <a:pt x="614" y="2550"/>
                    </a:lnTo>
                    <a:lnTo>
                      <a:pt x="673" y="2550"/>
                    </a:lnTo>
                    <a:lnTo>
                      <a:pt x="622" y="2014"/>
                    </a:lnTo>
                    <a:lnTo>
                      <a:pt x="730" y="2014"/>
                    </a:lnTo>
                    <a:lnTo>
                      <a:pt x="601" y="1149"/>
                    </a:lnTo>
                    <a:lnTo>
                      <a:pt x="603" y="1067"/>
                    </a:lnTo>
                    <a:lnTo>
                      <a:pt x="840" y="1067"/>
                    </a:lnTo>
                    <a:close/>
                    <a:moveTo>
                      <a:pt x="460" y="1037"/>
                    </a:moveTo>
                    <a:lnTo>
                      <a:pt x="460" y="1037"/>
                    </a:lnTo>
                    <a:lnTo>
                      <a:pt x="444" y="1036"/>
                    </a:lnTo>
                    <a:lnTo>
                      <a:pt x="431" y="1034"/>
                    </a:lnTo>
                    <a:lnTo>
                      <a:pt x="418" y="1032"/>
                    </a:lnTo>
                    <a:lnTo>
                      <a:pt x="409" y="1029"/>
                    </a:lnTo>
                    <a:lnTo>
                      <a:pt x="405" y="1025"/>
                    </a:lnTo>
                    <a:lnTo>
                      <a:pt x="402" y="1022"/>
                    </a:lnTo>
                    <a:lnTo>
                      <a:pt x="398" y="1019"/>
                    </a:lnTo>
                    <a:lnTo>
                      <a:pt x="396" y="1014"/>
                    </a:lnTo>
                    <a:lnTo>
                      <a:pt x="394" y="1009"/>
                    </a:lnTo>
                    <a:lnTo>
                      <a:pt x="393" y="1003"/>
                    </a:lnTo>
                    <a:lnTo>
                      <a:pt x="391" y="988"/>
                    </a:lnTo>
                    <a:lnTo>
                      <a:pt x="381" y="703"/>
                    </a:lnTo>
                    <a:lnTo>
                      <a:pt x="352" y="703"/>
                    </a:lnTo>
                    <a:lnTo>
                      <a:pt x="362" y="988"/>
                    </a:lnTo>
                    <a:lnTo>
                      <a:pt x="362" y="988"/>
                    </a:lnTo>
                    <a:lnTo>
                      <a:pt x="363" y="1000"/>
                    </a:lnTo>
                    <a:lnTo>
                      <a:pt x="364" y="1010"/>
                    </a:lnTo>
                    <a:lnTo>
                      <a:pt x="367" y="1019"/>
                    </a:lnTo>
                    <a:lnTo>
                      <a:pt x="370" y="1027"/>
                    </a:lnTo>
                    <a:lnTo>
                      <a:pt x="373" y="1034"/>
                    </a:lnTo>
                    <a:lnTo>
                      <a:pt x="378" y="1040"/>
                    </a:lnTo>
                    <a:lnTo>
                      <a:pt x="384" y="1046"/>
                    </a:lnTo>
                    <a:lnTo>
                      <a:pt x="389" y="1051"/>
                    </a:lnTo>
                    <a:lnTo>
                      <a:pt x="396" y="1055"/>
                    </a:lnTo>
                    <a:lnTo>
                      <a:pt x="403" y="1058"/>
                    </a:lnTo>
                    <a:lnTo>
                      <a:pt x="411" y="1061"/>
                    </a:lnTo>
                    <a:lnTo>
                      <a:pt x="418" y="1064"/>
                    </a:lnTo>
                    <a:lnTo>
                      <a:pt x="438" y="1067"/>
                    </a:lnTo>
                    <a:lnTo>
                      <a:pt x="458" y="1067"/>
                    </a:lnTo>
                    <a:lnTo>
                      <a:pt x="546" y="1067"/>
                    </a:lnTo>
                    <a:lnTo>
                      <a:pt x="543" y="1139"/>
                    </a:lnTo>
                    <a:lnTo>
                      <a:pt x="282" y="1139"/>
                    </a:lnTo>
                    <a:lnTo>
                      <a:pt x="325" y="522"/>
                    </a:lnTo>
                    <a:lnTo>
                      <a:pt x="325" y="522"/>
                    </a:lnTo>
                    <a:lnTo>
                      <a:pt x="326" y="512"/>
                    </a:lnTo>
                    <a:lnTo>
                      <a:pt x="328" y="503"/>
                    </a:lnTo>
                    <a:lnTo>
                      <a:pt x="332" y="494"/>
                    </a:lnTo>
                    <a:lnTo>
                      <a:pt x="335" y="487"/>
                    </a:lnTo>
                    <a:lnTo>
                      <a:pt x="339" y="480"/>
                    </a:lnTo>
                    <a:lnTo>
                      <a:pt x="344" y="473"/>
                    </a:lnTo>
                    <a:lnTo>
                      <a:pt x="350" y="469"/>
                    </a:lnTo>
                    <a:lnTo>
                      <a:pt x="355" y="465"/>
                    </a:lnTo>
                    <a:lnTo>
                      <a:pt x="362" y="463"/>
                    </a:lnTo>
                    <a:lnTo>
                      <a:pt x="369" y="461"/>
                    </a:lnTo>
                    <a:lnTo>
                      <a:pt x="376" y="461"/>
                    </a:lnTo>
                    <a:lnTo>
                      <a:pt x="384" y="462"/>
                    </a:lnTo>
                    <a:lnTo>
                      <a:pt x="391" y="464"/>
                    </a:lnTo>
                    <a:lnTo>
                      <a:pt x="399" y="468"/>
                    </a:lnTo>
                    <a:lnTo>
                      <a:pt x="407" y="473"/>
                    </a:lnTo>
                    <a:lnTo>
                      <a:pt x="415" y="479"/>
                    </a:lnTo>
                    <a:lnTo>
                      <a:pt x="507" y="559"/>
                    </a:lnTo>
                    <a:lnTo>
                      <a:pt x="507" y="559"/>
                    </a:lnTo>
                    <a:lnTo>
                      <a:pt x="515" y="566"/>
                    </a:lnTo>
                    <a:lnTo>
                      <a:pt x="522" y="573"/>
                    </a:lnTo>
                    <a:lnTo>
                      <a:pt x="529" y="581"/>
                    </a:lnTo>
                    <a:lnTo>
                      <a:pt x="533" y="589"/>
                    </a:lnTo>
                    <a:lnTo>
                      <a:pt x="538" y="598"/>
                    </a:lnTo>
                    <a:lnTo>
                      <a:pt x="542" y="607"/>
                    </a:lnTo>
                    <a:lnTo>
                      <a:pt x="546" y="616"/>
                    </a:lnTo>
                    <a:lnTo>
                      <a:pt x="548" y="626"/>
                    </a:lnTo>
                    <a:lnTo>
                      <a:pt x="552" y="650"/>
                    </a:lnTo>
                    <a:lnTo>
                      <a:pt x="555" y="677"/>
                    </a:lnTo>
                    <a:lnTo>
                      <a:pt x="555" y="707"/>
                    </a:lnTo>
                    <a:lnTo>
                      <a:pt x="555" y="742"/>
                    </a:lnTo>
                    <a:lnTo>
                      <a:pt x="551" y="862"/>
                    </a:lnTo>
                    <a:lnTo>
                      <a:pt x="551" y="862"/>
                    </a:lnTo>
                    <a:lnTo>
                      <a:pt x="565" y="877"/>
                    </a:lnTo>
                    <a:lnTo>
                      <a:pt x="570" y="884"/>
                    </a:lnTo>
                    <a:lnTo>
                      <a:pt x="809" y="884"/>
                    </a:lnTo>
                    <a:lnTo>
                      <a:pt x="809" y="1037"/>
                    </a:lnTo>
                    <a:lnTo>
                      <a:pt x="460" y="1037"/>
                    </a:lnTo>
                    <a:close/>
                    <a:moveTo>
                      <a:pt x="404" y="381"/>
                    </a:moveTo>
                    <a:lnTo>
                      <a:pt x="404" y="381"/>
                    </a:lnTo>
                    <a:lnTo>
                      <a:pt x="422" y="376"/>
                    </a:lnTo>
                    <a:lnTo>
                      <a:pt x="422" y="376"/>
                    </a:lnTo>
                    <a:lnTo>
                      <a:pt x="432" y="385"/>
                    </a:lnTo>
                    <a:lnTo>
                      <a:pt x="442" y="392"/>
                    </a:lnTo>
                    <a:lnTo>
                      <a:pt x="452" y="399"/>
                    </a:lnTo>
                    <a:lnTo>
                      <a:pt x="465" y="405"/>
                    </a:lnTo>
                    <a:lnTo>
                      <a:pt x="476" y="409"/>
                    </a:lnTo>
                    <a:lnTo>
                      <a:pt x="488" y="413"/>
                    </a:lnTo>
                    <a:lnTo>
                      <a:pt x="502" y="415"/>
                    </a:lnTo>
                    <a:lnTo>
                      <a:pt x="515" y="415"/>
                    </a:lnTo>
                    <a:lnTo>
                      <a:pt x="515" y="415"/>
                    </a:lnTo>
                    <a:lnTo>
                      <a:pt x="530" y="415"/>
                    </a:lnTo>
                    <a:lnTo>
                      <a:pt x="543" y="413"/>
                    </a:lnTo>
                    <a:lnTo>
                      <a:pt x="557" y="408"/>
                    </a:lnTo>
                    <a:lnTo>
                      <a:pt x="570" y="403"/>
                    </a:lnTo>
                    <a:lnTo>
                      <a:pt x="583" y="397"/>
                    </a:lnTo>
                    <a:lnTo>
                      <a:pt x="594" y="389"/>
                    </a:lnTo>
                    <a:lnTo>
                      <a:pt x="604" y="380"/>
                    </a:lnTo>
                    <a:lnTo>
                      <a:pt x="614" y="370"/>
                    </a:lnTo>
                    <a:lnTo>
                      <a:pt x="623" y="359"/>
                    </a:lnTo>
                    <a:lnTo>
                      <a:pt x="631" y="347"/>
                    </a:lnTo>
                    <a:lnTo>
                      <a:pt x="639" y="334"/>
                    </a:lnTo>
                    <a:lnTo>
                      <a:pt x="644" y="322"/>
                    </a:lnTo>
                    <a:lnTo>
                      <a:pt x="649" y="307"/>
                    </a:lnTo>
                    <a:lnTo>
                      <a:pt x="652" y="292"/>
                    </a:lnTo>
                    <a:lnTo>
                      <a:pt x="655" y="278"/>
                    </a:lnTo>
                    <a:lnTo>
                      <a:pt x="656" y="262"/>
                    </a:lnTo>
                    <a:lnTo>
                      <a:pt x="656" y="228"/>
                    </a:lnTo>
                    <a:lnTo>
                      <a:pt x="656" y="228"/>
                    </a:lnTo>
                    <a:lnTo>
                      <a:pt x="655" y="218"/>
                    </a:lnTo>
                    <a:lnTo>
                      <a:pt x="653" y="207"/>
                    </a:lnTo>
                    <a:lnTo>
                      <a:pt x="652" y="197"/>
                    </a:lnTo>
                    <a:lnTo>
                      <a:pt x="649" y="187"/>
                    </a:lnTo>
                    <a:lnTo>
                      <a:pt x="658" y="154"/>
                    </a:lnTo>
                    <a:lnTo>
                      <a:pt x="658" y="154"/>
                    </a:lnTo>
                    <a:lnTo>
                      <a:pt x="659" y="145"/>
                    </a:lnTo>
                    <a:lnTo>
                      <a:pt x="659" y="136"/>
                    </a:lnTo>
                    <a:lnTo>
                      <a:pt x="659" y="127"/>
                    </a:lnTo>
                    <a:lnTo>
                      <a:pt x="658" y="117"/>
                    </a:lnTo>
                    <a:lnTo>
                      <a:pt x="656" y="108"/>
                    </a:lnTo>
                    <a:lnTo>
                      <a:pt x="651" y="99"/>
                    </a:lnTo>
                    <a:lnTo>
                      <a:pt x="647" y="90"/>
                    </a:lnTo>
                    <a:lnTo>
                      <a:pt x="639" y="83"/>
                    </a:lnTo>
                    <a:lnTo>
                      <a:pt x="639" y="83"/>
                    </a:lnTo>
                    <a:lnTo>
                      <a:pt x="619" y="65"/>
                    </a:lnTo>
                    <a:lnTo>
                      <a:pt x="599" y="51"/>
                    </a:lnTo>
                    <a:lnTo>
                      <a:pt x="599" y="51"/>
                    </a:lnTo>
                    <a:lnTo>
                      <a:pt x="569" y="31"/>
                    </a:lnTo>
                    <a:lnTo>
                      <a:pt x="555" y="22"/>
                    </a:lnTo>
                    <a:lnTo>
                      <a:pt x="540" y="16"/>
                    </a:lnTo>
                    <a:lnTo>
                      <a:pt x="526" y="10"/>
                    </a:lnTo>
                    <a:lnTo>
                      <a:pt x="512" y="6"/>
                    </a:lnTo>
                    <a:lnTo>
                      <a:pt x="498" y="2"/>
                    </a:lnTo>
                    <a:lnTo>
                      <a:pt x="485" y="0"/>
                    </a:lnTo>
                    <a:lnTo>
                      <a:pt x="470" y="0"/>
                    </a:lnTo>
                    <a:lnTo>
                      <a:pt x="456" y="2"/>
                    </a:lnTo>
                    <a:lnTo>
                      <a:pt x="440" y="6"/>
                    </a:lnTo>
                    <a:lnTo>
                      <a:pt x="424" y="10"/>
                    </a:lnTo>
                    <a:lnTo>
                      <a:pt x="407" y="18"/>
                    </a:lnTo>
                    <a:lnTo>
                      <a:pt x="389" y="27"/>
                    </a:lnTo>
                    <a:lnTo>
                      <a:pt x="371" y="38"/>
                    </a:lnTo>
                    <a:lnTo>
                      <a:pt x="351" y="53"/>
                    </a:lnTo>
                    <a:lnTo>
                      <a:pt x="351" y="53"/>
                    </a:lnTo>
                    <a:lnTo>
                      <a:pt x="342" y="60"/>
                    </a:lnTo>
                    <a:lnTo>
                      <a:pt x="333" y="67"/>
                    </a:lnTo>
                    <a:lnTo>
                      <a:pt x="325" y="76"/>
                    </a:lnTo>
                    <a:lnTo>
                      <a:pt x="317" y="85"/>
                    </a:lnTo>
                    <a:lnTo>
                      <a:pt x="310" y="94"/>
                    </a:lnTo>
                    <a:lnTo>
                      <a:pt x="304" y="105"/>
                    </a:lnTo>
                    <a:lnTo>
                      <a:pt x="297" y="116"/>
                    </a:lnTo>
                    <a:lnTo>
                      <a:pt x="291" y="127"/>
                    </a:lnTo>
                    <a:lnTo>
                      <a:pt x="287" y="138"/>
                    </a:lnTo>
                    <a:lnTo>
                      <a:pt x="282" y="150"/>
                    </a:lnTo>
                    <a:lnTo>
                      <a:pt x="279" y="162"/>
                    </a:lnTo>
                    <a:lnTo>
                      <a:pt x="276" y="173"/>
                    </a:lnTo>
                    <a:lnTo>
                      <a:pt x="273" y="186"/>
                    </a:lnTo>
                    <a:lnTo>
                      <a:pt x="271" y="198"/>
                    </a:lnTo>
                    <a:lnTo>
                      <a:pt x="271" y="210"/>
                    </a:lnTo>
                    <a:lnTo>
                      <a:pt x="271" y="224"/>
                    </a:lnTo>
                    <a:lnTo>
                      <a:pt x="272" y="236"/>
                    </a:lnTo>
                    <a:lnTo>
                      <a:pt x="273" y="248"/>
                    </a:lnTo>
                    <a:lnTo>
                      <a:pt x="277" y="260"/>
                    </a:lnTo>
                    <a:lnTo>
                      <a:pt x="280" y="272"/>
                    </a:lnTo>
                    <a:lnTo>
                      <a:pt x="285" y="283"/>
                    </a:lnTo>
                    <a:lnTo>
                      <a:pt x="290" y="295"/>
                    </a:lnTo>
                    <a:lnTo>
                      <a:pt x="296" y="306"/>
                    </a:lnTo>
                    <a:lnTo>
                      <a:pt x="304" y="317"/>
                    </a:lnTo>
                    <a:lnTo>
                      <a:pt x="313" y="327"/>
                    </a:lnTo>
                    <a:lnTo>
                      <a:pt x="322" y="336"/>
                    </a:lnTo>
                    <a:lnTo>
                      <a:pt x="333" y="346"/>
                    </a:lnTo>
                    <a:lnTo>
                      <a:pt x="344" y="354"/>
                    </a:lnTo>
                    <a:lnTo>
                      <a:pt x="358" y="362"/>
                    </a:lnTo>
                    <a:lnTo>
                      <a:pt x="371" y="370"/>
                    </a:lnTo>
                    <a:lnTo>
                      <a:pt x="387" y="376"/>
                    </a:lnTo>
                    <a:lnTo>
                      <a:pt x="404" y="381"/>
                    </a:lnTo>
                    <a:lnTo>
                      <a:pt x="404" y="381"/>
                    </a:lnTo>
                    <a:close/>
                    <a:moveTo>
                      <a:pt x="506" y="175"/>
                    </a:moveTo>
                    <a:lnTo>
                      <a:pt x="506" y="175"/>
                    </a:lnTo>
                    <a:lnTo>
                      <a:pt x="522" y="163"/>
                    </a:lnTo>
                    <a:lnTo>
                      <a:pt x="535" y="153"/>
                    </a:lnTo>
                    <a:lnTo>
                      <a:pt x="548" y="145"/>
                    </a:lnTo>
                    <a:lnTo>
                      <a:pt x="559" y="138"/>
                    </a:lnTo>
                    <a:lnTo>
                      <a:pt x="574" y="130"/>
                    </a:lnTo>
                    <a:lnTo>
                      <a:pt x="580" y="128"/>
                    </a:lnTo>
                    <a:lnTo>
                      <a:pt x="580" y="128"/>
                    </a:lnTo>
                    <a:lnTo>
                      <a:pt x="589" y="137"/>
                    </a:lnTo>
                    <a:lnTo>
                      <a:pt x="598" y="147"/>
                    </a:lnTo>
                    <a:lnTo>
                      <a:pt x="607" y="159"/>
                    </a:lnTo>
                    <a:lnTo>
                      <a:pt x="614" y="171"/>
                    </a:lnTo>
                    <a:lnTo>
                      <a:pt x="619" y="184"/>
                    </a:lnTo>
                    <a:lnTo>
                      <a:pt x="623" y="199"/>
                    </a:lnTo>
                    <a:lnTo>
                      <a:pt x="625" y="214"/>
                    </a:lnTo>
                    <a:lnTo>
                      <a:pt x="626" y="228"/>
                    </a:lnTo>
                    <a:lnTo>
                      <a:pt x="626" y="262"/>
                    </a:lnTo>
                    <a:lnTo>
                      <a:pt x="626" y="262"/>
                    </a:lnTo>
                    <a:lnTo>
                      <a:pt x="625" y="274"/>
                    </a:lnTo>
                    <a:lnTo>
                      <a:pt x="624" y="287"/>
                    </a:lnTo>
                    <a:lnTo>
                      <a:pt x="621" y="299"/>
                    </a:lnTo>
                    <a:lnTo>
                      <a:pt x="617" y="310"/>
                    </a:lnTo>
                    <a:lnTo>
                      <a:pt x="613" y="322"/>
                    </a:lnTo>
                    <a:lnTo>
                      <a:pt x="607" y="332"/>
                    </a:lnTo>
                    <a:lnTo>
                      <a:pt x="601" y="342"/>
                    </a:lnTo>
                    <a:lnTo>
                      <a:pt x="593" y="350"/>
                    </a:lnTo>
                    <a:lnTo>
                      <a:pt x="585" y="359"/>
                    </a:lnTo>
                    <a:lnTo>
                      <a:pt x="577" y="365"/>
                    </a:lnTo>
                    <a:lnTo>
                      <a:pt x="567" y="371"/>
                    </a:lnTo>
                    <a:lnTo>
                      <a:pt x="558" y="377"/>
                    </a:lnTo>
                    <a:lnTo>
                      <a:pt x="548" y="381"/>
                    </a:lnTo>
                    <a:lnTo>
                      <a:pt x="537" y="385"/>
                    </a:lnTo>
                    <a:lnTo>
                      <a:pt x="526" y="386"/>
                    </a:lnTo>
                    <a:lnTo>
                      <a:pt x="515" y="387"/>
                    </a:lnTo>
                    <a:lnTo>
                      <a:pt x="515" y="387"/>
                    </a:lnTo>
                    <a:lnTo>
                      <a:pt x="506" y="386"/>
                    </a:lnTo>
                    <a:lnTo>
                      <a:pt x="498" y="385"/>
                    </a:lnTo>
                    <a:lnTo>
                      <a:pt x="489" y="383"/>
                    </a:lnTo>
                    <a:lnTo>
                      <a:pt x="481" y="381"/>
                    </a:lnTo>
                    <a:lnTo>
                      <a:pt x="467" y="373"/>
                    </a:lnTo>
                    <a:lnTo>
                      <a:pt x="452" y="364"/>
                    </a:lnTo>
                    <a:lnTo>
                      <a:pt x="452" y="364"/>
                    </a:lnTo>
                    <a:lnTo>
                      <a:pt x="472" y="358"/>
                    </a:lnTo>
                    <a:lnTo>
                      <a:pt x="483" y="354"/>
                    </a:lnTo>
                    <a:lnTo>
                      <a:pt x="495" y="352"/>
                    </a:lnTo>
                    <a:lnTo>
                      <a:pt x="495" y="352"/>
                    </a:lnTo>
                    <a:lnTo>
                      <a:pt x="484" y="341"/>
                    </a:lnTo>
                    <a:lnTo>
                      <a:pt x="469" y="327"/>
                    </a:lnTo>
                    <a:lnTo>
                      <a:pt x="461" y="319"/>
                    </a:lnTo>
                    <a:lnTo>
                      <a:pt x="454" y="310"/>
                    </a:lnTo>
                    <a:lnTo>
                      <a:pt x="448" y="301"/>
                    </a:lnTo>
                    <a:lnTo>
                      <a:pt x="443" y="290"/>
                    </a:lnTo>
                    <a:lnTo>
                      <a:pt x="440" y="280"/>
                    </a:lnTo>
                    <a:lnTo>
                      <a:pt x="440" y="268"/>
                    </a:lnTo>
                    <a:lnTo>
                      <a:pt x="440" y="261"/>
                    </a:lnTo>
                    <a:lnTo>
                      <a:pt x="441" y="254"/>
                    </a:lnTo>
                    <a:lnTo>
                      <a:pt x="443" y="247"/>
                    </a:lnTo>
                    <a:lnTo>
                      <a:pt x="447" y="241"/>
                    </a:lnTo>
                    <a:lnTo>
                      <a:pt x="450" y="234"/>
                    </a:lnTo>
                    <a:lnTo>
                      <a:pt x="454" y="226"/>
                    </a:lnTo>
                    <a:lnTo>
                      <a:pt x="468" y="210"/>
                    </a:lnTo>
                    <a:lnTo>
                      <a:pt x="485" y="193"/>
                    </a:lnTo>
                    <a:lnTo>
                      <a:pt x="506" y="175"/>
                    </a:lnTo>
                    <a:lnTo>
                      <a:pt x="506" y="175"/>
                    </a:lnTo>
                    <a:close/>
                    <a:moveTo>
                      <a:pt x="974" y="1042"/>
                    </a:moveTo>
                    <a:lnTo>
                      <a:pt x="874" y="1002"/>
                    </a:lnTo>
                    <a:lnTo>
                      <a:pt x="874" y="1033"/>
                    </a:lnTo>
                    <a:lnTo>
                      <a:pt x="874" y="1033"/>
                    </a:lnTo>
                    <a:lnTo>
                      <a:pt x="983" y="1076"/>
                    </a:lnTo>
                    <a:lnTo>
                      <a:pt x="983" y="1076"/>
                    </a:lnTo>
                    <a:lnTo>
                      <a:pt x="994" y="1079"/>
                    </a:lnTo>
                    <a:lnTo>
                      <a:pt x="1006" y="1082"/>
                    </a:lnTo>
                    <a:lnTo>
                      <a:pt x="1017" y="1083"/>
                    </a:lnTo>
                    <a:lnTo>
                      <a:pt x="1028" y="1083"/>
                    </a:lnTo>
                    <a:lnTo>
                      <a:pt x="1039" y="1082"/>
                    </a:lnTo>
                    <a:lnTo>
                      <a:pt x="1049" y="1080"/>
                    </a:lnTo>
                    <a:lnTo>
                      <a:pt x="1061" y="1077"/>
                    </a:lnTo>
                    <a:lnTo>
                      <a:pt x="1071" y="1074"/>
                    </a:lnTo>
                    <a:lnTo>
                      <a:pt x="1071" y="1074"/>
                    </a:lnTo>
                    <a:lnTo>
                      <a:pt x="1102" y="1061"/>
                    </a:lnTo>
                    <a:lnTo>
                      <a:pt x="1128" y="1052"/>
                    </a:lnTo>
                    <a:lnTo>
                      <a:pt x="1167" y="1039"/>
                    </a:lnTo>
                    <a:lnTo>
                      <a:pt x="1167" y="1007"/>
                    </a:lnTo>
                    <a:lnTo>
                      <a:pt x="1072" y="1042"/>
                    </a:lnTo>
                    <a:lnTo>
                      <a:pt x="1072" y="1042"/>
                    </a:lnTo>
                    <a:lnTo>
                      <a:pt x="1058" y="1047"/>
                    </a:lnTo>
                    <a:lnTo>
                      <a:pt x="1046" y="1050"/>
                    </a:lnTo>
                    <a:lnTo>
                      <a:pt x="1035" y="1052"/>
                    </a:lnTo>
                    <a:lnTo>
                      <a:pt x="1024" y="1054"/>
                    </a:lnTo>
                    <a:lnTo>
                      <a:pt x="1012" y="1054"/>
                    </a:lnTo>
                    <a:lnTo>
                      <a:pt x="1000" y="1051"/>
                    </a:lnTo>
                    <a:lnTo>
                      <a:pt x="988" y="1048"/>
                    </a:lnTo>
                    <a:lnTo>
                      <a:pt x="974" y="1042"/>
                    </a:lnTo>
                    <a:lnTo>
                      <a:pt x="974" y="1042"/>
                    </a:lnTo>
                    <a:close/>
                    <a:moveTo>
                      <a:pt x="982" y="844"/>
                    </a:moveTo>
                    <a:lnTo>
                      <a:pt x="967" y="858"/>
                    </a:lnTo>
                    <a:lnTo>
                      <a:pt x="873" y="858"/>
                    </a:lnTo>
                    <a:lnTo>
                      <a:pt x="873" y="887"/>
                    </a:lnTo>
                    <a:lnTo>
                      <a:pt x="940" y="887"/>
                    </a:lnTo>
                    <a:lnTo>
                      <a:pt x="909" y="926"/>
                    </a:lnTo>
                    <a:lnTo>
                      <a:pt x="967" y="958"/>
                    </a:lnTo>
                    <a:lnTo>
                      <a:pt x="1040" y="934"/>
                    </a:lnTo>
                    <a:lnTo>
                      <a:pt x="1079" y="970"/>
                    </a:lnTo>
                    <a:lnTo>
                      <a:pt x="1099" y="949"/>
                    </a:lnTo>
                    <a:lnTo>
                      <a:pt x="1047" y="902"/>
                    </a:lnTo>
                    <a:lnTo>
                      <a:pt x="971" y="926"/>
                    </a:lnTo>
                    <a:lnTo>
                      <a:pt x="953" y="917"/>
                    </a:lnTo>
                    <a:lnTo>
                      <a:pt x="991" y="871"/>
                    </a:lnTo>
                    <a:lnTo>
                      <a:pt x="1063" y="859"/>
                    </a:lnTo>
                    <a:lnTo>
                      <a:pt x="1167" y="877"/>
                    </a:lnTo>
                    <a:lnTo>
                      <a:pt x="1167" y="847"/>
                    </a:lnTo>
                    <a:lnTo>
                      <a:pt x="1063" y="830"/>
                    </a:lnTo>
                    <a:lnTo>
                      <a:pt x="982" y="844"/>
                    </a:lnTo>
                    <a:close/>
                  </a:path>
                </a:pathLst>
              </a:custGeom>
              <a:solidFill>
                <a:schemeClr val="tx2"/>
              </a:solidFill>
              <a:ln>
                <a:noFill/>
              </a:ln>
            </p:spPr>
            <p:txBody>
              <a:bodyPr vert="horz" wrap="square" lIns="91392" tIns="45696" rIns="91392" bIns="45696" numCol="1" anchor="t" anchorCtr="0" compatLnSpc="1">
                <a:prstTxWarp prst="textNoShape">
                  <a:avLst/>
                </a:prstTxWarp>
              </a:bodyPr>
              <a:lstStyle/>
              <a:p>
                <a:endParaRPr lang="de-DE" sz="2399" dirty="0">
                  <a:solidFill>
                    <a:srgbClr val="000000"/>
                  </a:solidFill>
                  <a:latin typeface="+mj-lt"/>
                </a:endParaRPr>
              </a:p>
            </p:txBody>
          </p:sp>
        </p:grpSp>
      </p:grpSp>
      <p:grpSp>
        <p:nvGrpSpPr>
          <p:cNvPr id="5" name="Group 4"/>
          <p:cNvGrpSpPr/>
          <p:nvPr/>
        </p:nvGrpSpPr>
        <p:grpSpPr>
          <a:xfrm>
            <a:off x="8880434" y="2313547"/>
            <a:ext cx="2361733" cy="624223"/>
            <a:chOff x="8235840" y="3826922"/>
            <a:chExt cx="2361733" cy="624223"/>
          </a:xfrm>
        </p:grpSpPr>
        <p:sp>
          <p:nvSpPr>
            <p:cNvPr id="71" name="Rectangle 70"/>
            <p:cNvSpPr/>
            <p:nvPr/>
          </p:nvSpPr>
          <p:spPr>
            <a:xfrm>
              <a:off x="8235840" y="3915429"/>
              <a:ext cx="1530902" cy="447209"/>
            </a:xfrm>
            <a:prstGeom prst="rect">
              <a:avLst/>
            </a:prstGeom>
          </p:spPr>
          <p:txBody>
            <a:bodyPr wrap="square" lIns="0" tIns="0" rIns="0" bIns="0">
              <a:spAutoFit/>
            </a:bodyPr>
            <a:lstStyle/>
            <a:p>
              <a:pPr algn="r"/>
              <a:r>
                <a:rPr lang="en-US" sz="1599" b="1" spc="-30" dirty="0">
                  <a:solidFill>
                    <a:schemeClr val="bg1"/>
                  </a:solidFill>
                  <a:latin typeface="+mj-lt"/>
                </a:rPr>
                <a:t>Supply chain reinvention</a:t>
              </a:r>
            </a:p>
          </p:txBody>
        </p:sp>
        <p:grpSp>
          <p:nvGrpSpPr>
            <p:cNvPr id="86" name="Group 85"/>
            <p:cNvGrpSpPr/>
            <p:nvPr/>
          </p:nvGrpSpPr>
          <p:grpSpPr>
            <a:xfrm>
              <a:off x="9910924" y="3826922"/>
              <a:ext cx="686649" cy="624223"/>
              <a:chOff x="2624640" y="4461476"/>
              <a:chExt cx="913929" cy="913924"/>
            </a:xfrm>
          </p:grpSpPr>
          <p:sp>
            <p:nvSpPr>
              <p:cNvPr id="87" name="Oval 86"/>
              <p:cNvSpPr>
                <a:spLocks noChangeAspect="1"/>
              </p:cNvSpPr>
              <p:nvPr/>
            </p:nvSpPr>
            <p:spPr>
              <a:xfrm>
                <a:off x="2624640" y="4461476"/>
                <a:ext cx="913929" cy="913924"/>
              </a:xfrm>
              <a:prstGeom prst="ellipse">
                <a:avLst/>
              </a:prstGeom>
              <a:solidFill>
                <a:srgbClr val="FFE600"/>
              </a:solidFill>
              <a:ln w="57150" cap="flat" cmpd="sng" algn="ctr">
                <a:solidFill>
                  <a:srgbClr val="FFFFFF"/>
                </a:solidFill>
                <a:prstDash val="solid"/>
              </a:ln>
              <a:effectLst/>
            </p:spPr>
            <p:txBody>
              <a:bodyPr rtlCol="0" anchor="ctr"/>
              <a:lstStyle/>
              <a:p>
                <a:pPr algn="ctr">
                  <a:defRPr/>
                </a:pPr>
                <a:endParaRPr lang="en-US" sz="1599" kern="0" dirty="0">
                  <a:solidFill>
                    <a:srgbClr val="FFFFFF"/>
                  </a:solidFill>
                  <a:latin typeface="Arial"/>
                </a:endParaRPr>
              </a:p>
            </p:txBody>
          </p:sp>
          <p:sp>
            <p:nvSpPr>
              <p:cNvPr id="88" name="Freeform 55"/>
              <p:cNvSpPr>
                <a:spLocks noChangeAspect="1" noEditPoints="1"/>
              </p:cNvSpPr>
              <p:nvPr/>
            </p:nvSpPr>
            <p:spPr bwMode="auto">
              <a:xfrm>
                <a:off x="2696534" y="4677484"/>
                <a:ext cx="781773" cy="469478"/>
              </a:xfrm>
              <a:custGeom>
                <a:avLst/>
                <a:gdLst>
                  <a:gd name="T0" fmla="*/ 2147483647 w 6736"/>
                  <a:gd name="T1" fmla="*/ 2147483647 h 3805"/>
                  <a:gd name="T2" fmla="*/ 2147483647 w 6736"/>
                  <a:gd name="T3" fmla="*/ 2147483647 h 3805"/>
                  <a:gd name="T4" fmla="*/ 2147483647 w 6736"/>
                  <a:gd name="T5" fmla="*/ 2147483647 h 3805"/>
                  <a:gd name="T6" fmla="*/ 2147483647 w 6736"/>
                  <a:gd name="T7" fmla="*/ 2147483647 h 3805"/>
                  <a:gd name="T8" fmla="*/ 2147483647 w 6736"/>
                  <a:gd name="T9" fmla="*/ 2147483647 h 3805"/>
                  <a:gd name="T10" fmla="*/ 2147483647 w 6736"/>
                  <a:gd name="T11" fmla="*/ 2147483647 h 3805"/>
                  <a:gd name="T12" fmla="*/ 2147483647 w 6736"/>
                  <a:gd name="T13" fmla="*/ 2147483647 h 3805"/>
                  <a:gd name="T14" fmla="*/ 2147483647 w 6736"/>
                  <a:gd name="T15" fmla="*/ 2147483647 h 3805"/>
                  <a:gd name="T16" fmla="*/ 2147483647 w 6736"/>
                  <a:gd name="T17" fmla="*/ 2147483647 h 3805"/>
                  <a:gd name="T18" fmla="*/ 2147483647 w 6736"/>
                  <a:gd name="T19" fmla="*/ 2147483647 h 3805"/>
                  <a:gd name="T20" fmla="*/ 2147483647 w 6736"/>
                  <a:gd name="T21" fmla="*/ 2147483647 h 3805"/>
                  <a:gd name="T22" fmla="*/ 2147483647 w 6736"/>
                  <a:gd name="T23" fmla="*/ 2147483647 h 3805"/>
                  <a:gd name="T24" fmla="*/ 2147483647 w 6736"/>
                  <a:gd name="T25" fmla="*/ 2147483647 h 3805"/>
                  <a:gd name="T26" fmla="*/ 2147483647 w 6736"/>
                  <a:gd name="T27" fmla="*/ 2147483647 h 3805"/>
                  <a:gd name="T28" fmla="*/ 2147483647 w 6736"/>
                  <a:gd name="T29" fmla="*/ 2147483647 h 3805"/>
                  <a:gd name="T30" fmla="*/ 2147483647 w 6736"/>
                  <a:gd name="T31" fmla="*/ 2147483647 h 3805"/>
                  <a:gd name="T32" fmla="*/ 2147483647 w 6736"/>
                  <a:gd name="T33" fmla="*/ 2147483647 h 3805"/>
                  <a:gd name="T34" fmla="*/ 2147483647 w 6736"/>
                  <a:gd name="T35" fmla="*/ 2147483647 h 3805"/>
                  <a:gd name="T36" fmla="*/ 2147483647 w 6736"/>
                  <a:gd name="T37" fmla="*/ 2147483647 h 3805"/>
                  <a:gd name="T38" fmla="*/ 2147483647 w 6736"/>
                  <a:gd name="T39" fmla="*/ 2147483647 h 3805"/>
                  <a:gd name="T40" fmla="*/ 2147483647 w 6736"/>
                  <a:gd name="T41" fmla="*/ 2147483647 h 3805"/>
                  <a:gd name="T42" fmla="*/ 2147483647 w 6736"/>
                  <a:gd name="T43" fmla="*/ 2147483647 h 3805"/>
                  <a:gd name="T44" fmla="*/ 2147483647 w 6736"/>
                  <a:gd name="T45" fmla="*/ 2147483647 h 3805"/>
                  <a:gd name="T46" fmla="*/ 2147483647 w 6736"/>
                  <a:gd name="T47" fmla="*/ 2147483647 h 3805"/>
                  <a:gd name="T48" fmla="*/ 2147483647 w 6736"/>
                  <a:gd name="T49" fmla="*/ 2147483647 h 3805"/>
                  <a:gd name="T50" fmla="*/ 2147483647 w 6736"/>
                  <a:gd name="T51" fmla="*/ 2147483647 h 3805"/>
                  <a:gd name="T52" fmla="*/ 2147483647 w 6736"/>
                  <a:gd name="T53" fmla="*/ 2147483647 h 3805"/>
                  <a:gd name="T54" fmla="*/ 2147483647 w 6736"/>
                  <a:gd name="T55" fmla="*/ 2147483647 h 3805"/>
                  <a:gd name="T56" fmla="*/ 2147483647 w 6736"/>
                  <a:gd name="T57" fmla="*/ 2147483647 h 3805"/>
                  <a:gd name="T58" fmla="*/ 2147483647 w 6736"/>
                  <a:gd name="T59" fmla="*/ 2147483647 h 3805"/>
                  <a:gd name="T60" fmla="*/ 2147483647 w 6736"/>
                  <a:gd name="T61" fmla="*/ 2147483647 h 3805"/>
                  <a:gd name="T62" fmla="*/ 2147483647 w 6736"/>
                  <a:gd name="T63" fmla="*/ 2147483647 h 3805"/>
                  <a:gd name="T64" fmla="*/ 2147483647 w 6736"/>
                  <a:gd name="T65" fmla="*/ 2147483647 h 3805"/>
                  <a:gd name="T66" fmla="*/ 2147483647 w 6736"/>
                  <a:gd name="T67" fmla="*/ 2147483647 h 3805"/>
                  <a:gd name="T68" fmla="*/ 2147483647 w 6736"/>
                  <a:gd name="T69" fmla="*/ 2147483647 h 3805"/>
                  <a:gd name="T70" fmla="*/ 2147483647 w 6736"/>
                  <a:gd name="T71" fmla="*/ 2147483647 h 3805"/>
                  <a:gd name="T72" fmla="*/ 2147483647 w 6736"/>
                  <a:gd name="T73" fmla="*/ 2147483647 h 3805"/>
                  <a:gd name="T74" fmla="*/ 2147483647 w 6736"/>
                  <a:gd name="T75" fmla="*/ 2147483647 h 3805"/>
                  <a:gd name="T76" fmla="*/ 2147483647 w 6736"/>
                  <a:gd name="T77" fmla="*/ 2147483647 h 3805"/>
                  <a:gd name="T78" fmla="*/ 2147483647 w 6736"/>
                  <a:gd name="T79" fmla="*/ 2147483647 h 3805"/>
                  <a:gd name="T80" fmla="*/ 2147483647 w 6736"/>
                  <a:gd name="T81" fmla="*/ 2147483647 h 3805"/>
                  <a:gd name="T82" fmla="*/ 2147483647 w 6736"/>
                  <a:gd name="T83" fmla="*/ 2147483647 h 3805"/>
                  <a:gd name="T84" fmla="*/ 2147483647 w 6736"/>
                  <a:gd name="T85" fmla="*/ 2147483647 h 3805"/>
                  <a:gd name="T86" fmla="*/ 2147483647 w 6736"/>
                  <a:gd name="T87" fmla="*/ 2147483647 h 3805"/>
                  <a:gd name="T88" fmla="*/ 2147483647 w 6736"/>
                  <a:gd name="T89" fmla="*/ 2147483647 h 3805"/>
                  <a:gd name="T90" fmla="*/ 2147483647 w 6736"/>
                  <a:gd name="T91" fmla="*/ 2147483647 h 3805"/>
                  <a:gd name="T92" fmla="*/ 2147483647 w 6736"/>
                  <a:gd name="T93" fmla="*/ 2147483647 h 3805"/>
                  <a:gd name="T94" fmla="*/ 2147483647 w 6736"/>
                  <a:gd name="T95" fmla="*/ 2147483647 h 3805"/>
                  <a:gd name="T96" fmla="*/ 2147483647 w 6736"/>
                  <a:gd name="T97" fmla="*/ 2147483647 h 3805"/>
                  <a:gd name="T98" fmla="*/ 2147483647 w 6736"/>
                  <a:gd name="T99" fmla="*/ 2147483647 h 3805"/>
                  <a:gd name="T100" fmla="*/ 2147483647 w 6736"/>
                  <a:gd name="T101" fmla="*/ 2147483647 h 3805"/>
                  <a:gd name="T102" fmla="*/ 2147483647 w 6736"/>
                  <a:gd name="T103" fmla="*/ 2147483647 h 3805"/>
                  <a:gd name="T104" fmla="*/ 2147483647 w 6736"/>
                  <a:gd name="T105" fmla="*/ 2147483647 h 3805"/>
                  <a:gd name="T106" fmla="*/ 2147483647 w 6736"/>
                  <a:gd name="T107" fmla="*/ 2147483647 h 3805"/>
                  <a:gd name="T108" fmla="*/ 2147483647 w 6736"/>
                  <a:gd name="T109" fmla="*/ 2147483647 h 3805"/>
                  <a:gd name="T110" fmla="*/ 2147483647 w 6736"/>
                  <a:gd name="T111" fmla="*/ 2147483647 h 3805"/>
                  <a:gd name="T112" fmla="*/ 2147483647 w 6736"/>
                  <a:gd name="T113" fmla="*/ 2147483647 h 3805"/>
                  <a:gd name="T114" fmla="*/ 2147483647 w 6736"/>
                  <a:gd name="T115" fmla="*/ 2147483647 h 3805"/>
                  <a:gd name="T116" fmla="*/ 2147483647 w 6736"/>
                  <a:gd name="T117" fmla="*/ 2147483647 h 3805"/>
                  <a:gd name="T118" fmla="*/ 2147483647 w 6736"/>
                  <a:gd name="T119" fmla="*/ 2147483647 h 3805"/>
                  <a:gd name="T120" fmla="*/ 2147483647 w 6736"/>
                  <a:gd name="T121" fmla="*/ 2147483647 h 3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736"/>
                  <a:gd name="T184" fmla="*/ 0 h 3805"/>
                  <a:gd name="T185" fmla="*/ 6736 w 6736"/>
                  <a:gd name="T186" fmla="*/ 3805 h 3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736" h="3805">
                    <a:moveTo>
                      <a:pt x="1869" y="521"/>
                    </a:moveTo>
                    <a:lnTo>
                      <a:pt x="1869" y="550"/>
                    </a:lnTo>
                    <a:lnTo>
                      <a:pt x="1871" y="578"/>
                    </a:lnTo>
                    <a:lnTo>
                      <a:pt x="1874" y="605"/>
                    </a:lnTo>
                    <a:lnTo>
                      <a:pt x="1880" y="632"/>
                    </a:lnTo>
                    <a:lnTo>
                      <a:pt x="1889" y="657"/>
                    </a:lnTo>
                    <a:lnTo>
                      <a:pt x="1898" y="680"/>
                    </a:lnTo>
                    <a:lnTo>
                      <a:pt x="1910" y="701"/>
                    </a:lnTo>
                    <a:lnTo>
                      <a:pt x="1924" y="723"/>
                    </a:lnTo>
                    <a:lnTo>
                      <a:pt x="1939" y="742"/>
                    </a:lnTo>
                    <a:lnTo>
                      <a:pt x="1956" y="758"/>
                    </a:lnTo>
                    <a:lnTo>
                      <a:pt x="1974" y="774"/>
                    </a:lnTo>
                    <a:lnTo>
                      <a:pt x="1994" y="787"/>
                    </a:lnTo>
                    <a:lnTo>
                      <a:pt x="2013" y="799"/>
                    </a:lnTo>
                    <a:lnTo>
                      <a:pt x="2035" y="806"/>
                    </a:lnTo>
                    <a:lnTo>
                      <a:pt x="2058" y="813"/>
                    </a:lnTo>
                    <a:lnTo>
                      <a:pt x="2081" y="817"/>
                    </a:lnTo>
                    <a:lnTo>
                      <a:pt x="2104" y="819"/>
                    </a:lnTo>
                    <a:lnTo>
                      <a:pt x="2127" y="817"/>
                    </a:lnTo>
                    <a:lnTo>
                      <a:pt x="2149" y="813"/>
                    </a:lnTo>
                    <a:lnTo>
                      <a:pt x="2170" y="808"/>
                    </a:lnTo>
                    <a:lnTo>
                      <a:pt x="2191" y="799"/>
                    </a:lnTo>
                    <a:lnTo>
                      <a:pt x="2213" y="788"/>
                    </a:lnTo>
                    <a:lnTo>
                      <a:pt x="2230" y="776"/>
                    </a:lnTo>
                    <a:lnTo>
                      <a:pt x="2248" y="762"/>
                    </a:lnTo>
                    <a:lnTo>
                      <a:pt x="2266" y="746"/>
                    </a:lnTo>
                    <a:lnTo>
                      <a:pt x="2166" y="521"/>
                    </a:lnTo>
                    <a:lnTo>
                      <a:pt x="2410" y="521"/>
                    </a:lnTo>
                    <a:lnTo>
                      <a:pt x="2410" y="550"/>
                    </a:lnTo>
                    <a:lnTo>
                      <a:pt x="2409" y="584"/>
                    </a:lnTo>
                    <a:lnTo>
                      <a:pt x="2403" y="618"/>
                    </a:lnTo>
                    <a:lnTo>
                      <a:pt x="2396" y="650"/>
                    </a:lnTo>
                    <a:lnTo>
                      <a:pt x="2387" y="680"/>
                    </a:lnTo>
                    <a:lnTo>
                      <a:pt x="2375" y="710"/>
                    </a:lnTo>
                    <a:lnTo>
                      <a:pt x="2359" y="739"/>
                    </a:lnTo>
                    <a:lnTo>
                      <a:pt x="2341" y="765"/>
                    </a:lnTo>
                    <a:lnTo>
                      <a:pt x="2321" y="788"/>
                    </a:lnTo>
                    <a:lnTo>
                      <a:pt x="2300" y="812"/>
                    </a:lnTo>
                    <a:lnTo>
                      <a:pt x="2277" y="831"/>
                    </a:lnTo>
                    <a:lnTo>
                      <a:pt x="2252" y="849"/>
                    </a:lnTo>
                    <a:lnTo>
                      <a:pt x="2225" y="863"/>
                    </a:lnTo>
                    <a:lnTo>
                      <a:pt x="2197" y="874"/>
                    </a:lnTo>
                    <a:lnTo>
                      <a:pt x="2166" y="883"/>
                    </a:lnTo>
                    <a:lnTo>
                      <a:pt x="2136" y="888"/>
                    </a:lnTo>
                    <a:lnTo>
                      <a:pt x="2104" y="890"/>
                    </a:lnTo>
                    <a:lnTo>
                      <a:pt x="2072" y="888"/>
                    </a:lnTo>
                    <a:lnTo>
                      <a:pt x="2042" y="883"/>
                    </a:lnTo>
                    <a:lnTo>
                      <a:pt x="2012" y="874"/>
                    </a:lnTo>
                    <a:lnTo>
                      <a:pt x="1983" y="863"/>
                    </a:lnTo>
                    <a:lnTo>
                      <a:pt x="1956" y="849"/>
                    </a:lnTo>
                    <a:lnTo>
                      <a:pt x="1931" y="831"/>
                    </a:lnTo>
                    <a:lnTo>
                      <a:pt x="1908" y="812"/>
                    </a:lnTo>
                    <a:lnTo>
                      <a:pt x="1887" y="788"/>
                    </a:lnTo>
                    <a:lnTo>
                      <a:pt x="1867" y="765"/>
                    </a:lnTo>
                    <a:lnTo>
                      <a:pt x="1850" y="739"/>
                    </a:lnTo>
                    <a:lnTo>
                      <a:pt x="1834" y="710"/>
                    </a:lnTo>
                    <a:lnTo>
                      <a:pt x="1821" y="680"/>
                    </a:lnTo>
                    <a:lnTo>
                      <a:pt x="1812" y="650"/>
                    </a:lnTo>
                    <a:lnTo>
                      <a:pt x="1803" y="618"/>
                    </a:lnTo>
                    <a:lnTo>
                      <a:pt x="1800" y="584"/>
                    </a:lnTo>
                    <a:lnTo>
                      <a:pt x="1798" y="550"/>
                    </a:lnTo>
                    <a:lnTo>
                      <a:pt x="1798" y="521"/>
                    </a:lnTo>
                    <a:lnTo>
                      <a:pt x="1869" y="521"/>
                    </a:lnTo>
                    <a:close/>
                    <a:moveTo>
                      <a:pt x="2732" y="1420"/>
                    </a:moveTo>
                    <a:lnTo>
                      <a:pt x="2732" y="1420"/>
                    </a:lnTo>
                    <a:lnTo>
                      <a:pt x="2731" y="1410"/>
                    </a:lnTo>
                    <a:lnTo>
                      <a:pt x="2729" y="1399"/>
                    </a:lnTo>
                    <a:lnTo>
                      <a:pt x="2725" y="1388"/>
                    </a:lnTo>
                    <a:lnTo>
                      <a:pt x="2720" y="1377"/>
                    </a:lnTo>
                    <a:lnTo>
                      <a:pt x="2704" y="1354"/>
                    </a:lnTo>
                    <a:lnTo>
                      <a:pt x="2684" y="1329"/>
                    </a:lnTo>
                    <a:lnTo>
                      <a:pt x="2660" y="1306"/>
                    </a:lnTo>
                    <a:lnTo>
                      <a:pt x="2631" y="1283"/>
                    </a:lnTo>
                    <a:lnTo>
                      <a:pt x="2601" y="1262"/>
                    </a:lnTo>
                    <a:lnTo>
                      <a:pt x="2565" y="1240"/>
                    </a:lnTo>
                    <a:lnTo>
                      <a:pt x="2465" y="1185"/>
                    </a:lnTo>
                    <a:lnTo>
                      <a:pt x="2465" y="1310"/>
                    </a:lnTo>
                    <a:lnTo>
                      <a:pt x="2465" y="1853"/>
                    </a:lnTo>
                    <a:lnTo>
                      <a:pt x="1905" y="1694"/>
                    </a:lnTo>
                    <a:lnTo>
                      <a:pt x="1905" y="2093"/>
                    </a:lnTo>
                    <a:lnTo>
                      <a:pt x="2261" y="2283"/>
                    </a:lnTo>
                    <a:lnTo>
                      <a:pt x="2303" y="2305"/>
                    </a:lnTo>
                    <a:lnTo>
                      <a:pt x="2346" y="2323"/>
                    </a:lnTo>
                    <a:lnTo>
                      <a:pt x="2389" y="2339"/>
                    </a:lnTo>
                    <a:lnTo>
                      <a:pt x="2430" y="2351"/>
                    </a:lnTo>
                    <a:lnTo>
                      <a:pt x="2471" y="2360"/>
                    </a:lnTo>
                    <a:lnTo>
                      <a:pt x="2490" y="2363"/>
                    </a:lnTo>
                    <a:lnTo>
                      <a:pt x="2510" y="2365"/>
                    </a:lnTo>
                    <a:lnTo>
                      <a:pt x="2528" y="2365"/>
                    </a:lnTo>
                    <a:lnTo>
                      <a:pt x="2547" y="2363"/>
                    </a:lnTo>
                    <a:lnTo>
                      <a:pt x="2563" y="2362"/>
                    </a:lnTo>
                    <a:lnTo>
                      <a:pt x="2581" y="2358"/>
                    </a:lnTo>
                    <a:lnTo>
                      <a:pt x="2597" y="2353"/>
                    </a:lnTo>
                    <a:lnTo>
                      <a:pt x="2613" y="2346"/>
                    </a:lnTo>
                    <a:lnTo>
                      <a:pt x="2629" y="2339"/>
                    </a:lnTo>
                    <a:lnTo>
                      <a:pt x="2643" y="2328"/>
                    </a:lnTo>
                    <a:lnTo>
                      <a:pt x="2656" y="2317"/>
                    </a:lnTo>
                    <a:lnTo>
                      <a:pt x="2668" y="2303"/>
                    </a:lnTo>
                    <a:lnTo>
                      <a:pt x="2681" y="2289"/>
                    </a:lnTo>
                    <a:lnTo>
                      <a:pt x="2690" y="2273"/>
                    </a:lnTo>
                    <a:lnTo>
                      <a:pt x="2700" y="2253"/>
                    </a:lnTo>
                    <a:lnTo>
                      <a:pt x="2708" y="2232"/>
                    </a:lnTo>
                    <a:lnTo>
                      <a:pt x="2715" y="2210"/>
                    </a:lnTo>
                    <a:lnTo>
                      <a:pt x="2722" y="2185"/>
                    </a:lnTo>
                    <a:lnTo>
                      <a:pt x="2725" y="2159"/>
                    </a:lnTo>
                    <a:lnTo>
                      <a:pt x="2729" y="2129"/>
                    </a:lnTo>
                    <a:lnTo>
                      <a:pt x="2732" y="2098"/>
                    </a:lnTo>
                    <a:lnTo>
                      <a:pt x="2732" y="2064"/>
                    </a:lnTo>
                    <a:lnTo>
                      <a:pt x="2732" y="1420"/>
                    </a:lnTo>
                    <a:close/>
                    <a:moveTo>
                      <a:pt x="867" y="1652"/>
                    </a:moveTo>
                    <a:lnTo>
                      <a:pt x="1121" y="1652"/>
                    </a:lnTo>
                    <a:lnTo>
                      <a:pt x="1121" y="1639"/>
                    </a:lnTo>
                    <a:lnTo>
                      <a:pt x="1118" y="1627"/>
                    </a:lnTo>
                    <a:lnTo>
                      <a:pt x="1114" y="1614"/>
                    </a:lnTo>
                    <a:lnTo>
                      <a:pt x="1111" y="1604"/>
                    </a:lnTo>
                    <a:lnTo>
                      <a:pt x="1105" y="1593"/>
                    </a:lnTo>
                    <a:lnTo>
                      <a:pt x="1098" y="1582"/>
                    </a:lnTo>
                    <a:lnTo>
                      <a:pt x="1091" y="1571"/>
                    </a:lnTo>
                    <a:lnTo>
                      <a:pt x="1082" y="1563"/>
                    </a:lnTo>
                    <a:lnTo>
                      <a:pt x="1073" y="1555"/>
                    </a:lnTo>
                    <a:lnTo>
                      <a:pt x="1065" y="1548"/>
                    </a:lnTo>
                    <a:lnTo>
                      <a:pt x="1054" y="1541"/>
                    </a:lnTo>
                    <a:lnTo>
                      <a:pt x="1043" y="1536"/>
                    </a:lnTo>
                    <a:lnTo>
                      <a:pt x="1031" y="1532"/>
                    </a:lnTo>
                    <a:lnTo>
                      <a:pt x="1020" y="1529"/>
                    </a:lnTo>
                    <a:lnTo>
                      <a:pt x="1008" y="1527"/>
                    </a:lnTo>
                    <a:lnTo>
                      <a:pt x="993" y="1527"/>
                    </a:lnTo>
                    <a:lnTo>
                      <a:pt x="981" y="1527"/>
                    </a:lnTo>
                    <a:lnTo>
                      <a:pt x="968" y="1529"/>
                    </a:lnTo>
                    <a:lnTo>
                      <a:pt x="956" y="1532"/>
                    </a:lnTo>
                    <a:lnTo>
                      <a:pt x="945" y="1536"/>
                    </a:lnTo>
                    <a:lnTo>
                      <a:pt x="935" y="1541"/>
                    </a:lnTo>
                    <a:lnTo>
                      <a:pt x="924" y="1548"/>
                    </a:lnTo>
                    <a:lnTo>
                      <a:pt x="913" y="1555"/>
                    </a:lnTo>
                    <a:lnTo>
                      <a:pt x="904" y="1563"/>
                    </a:lnTo>
                    <a:lnTo>
                      <a:pt x="897" y="1571"/>
                    </a:lnTo>
                    <a:lnTo>
                      <a:pt x="888" y="1582"/>
                    </a:lnTo>
                    <a:lnTo>
                      <a:pt x="883" y="1593"/>
                    </a:lnTo>
                    <a:lnTo>
                      <a:pt x="878" y="1604"/>
                    </a:lnTo>
                    <a:lnTo>
                      <a:pt x="872" y="1614"/>
                    </a:lnTo>
                    <a:lnTo>
                      <a:pt x="869" y="1627"/>
                    </a:lnTo>
                    <a:lnTo>
                      <a:pt x="867" y="1639"/>
                    </a:lnTo>
                    <a:lnTo>
                      <a:pt x="867" y="1652"/>
                    </a:lnTo>
                    <a:close/>
                    <a:moveTo>
                      <a:pt x="725" y="2500"/>
                    </a:moveTo>
                    <a:lnTo>
                      <a:pt x="725" y="1655"/>
                    </a:lnTo>
                    <a:lnTo>
                      <a:pt x="725" y="1652"/>
                    </a:lnTo>
                    <a:lnTo>
                      <a:pt x="725" y="1625"/>
                    </a:lnTo>
                    <a:lnTo>
                      <a:pt x="730" y="1598"/>
                    </a:lnTo>
                    <a:lnTo>
                      <a:pt x="737" y="1571"/>
                    </a:lnTo>
                    <a:lnTo>
                      <a:pt x="746" y="1548"/>
                    </a:lnTo>
                    <a:lnTo>
                      <a:pt x="757" y="1523"/>
                    </a:lnTo>
                    <a:lnTo>
                      <a:pt x="771" y="1502"/>
                    </a:lnTo>
                    <a:lnTo>
                      <a:pt x="787" y="1481"/>
                    </a:lnTo>
                    <a:lnTo>
                      <a:pt x="805" y="1463"/>
                    </a:lnTo>
                    <a:lnTo>
                      <a:pt x="822" y="1445"/>
                    </a:lnTo>
                    <a:lnTo>
                      <a:pt x="844" y="1429"/>
                    </a:lnTo>
                    <a:lnTo>
                      <a:pt x="865" y="1417"/>
                    </a:lnTo>
                    <a:lnTo>
                      <a:pt x="890" y="1406"/>
                    </a:lnTo>
                    <a:lnTo>
                      <a:pt x="913" y="1397"/>
                    </a:lnTo>
                    <a:lnTo>
                      <a:pt x="940" y="1390"/>
                    </a:lnTo>
                    <a:lnTo>
                      <a:pt x="967" y="1386"/>
                    </a:lnTo>
                    <a:lnTo>
                      <a:pt x="993" y="1385"/>
                    </a:lnTo>
                    <a:lnTo>
                      <a:pt x="1022" y="1386"/>
                    </a:lnTo>
                    <a:lnTo>
                      <a:pt x="1048" y="1390"/>
                    </a:lnTo>
                    <a:lnTo>
                      <a:pt x="1073" y="1397"/>
                    </a:lnTo>
                    <a:lnTo>
                      <a:pt x="1098" y="1406"/>
                    </a:lnTo>
                    <a:lnTo>
                      <a:pt x="1121" y="1417"/>
                    </a:lnTo>
                    <a:lnTo>
                      <a:pt x="1145" y="1429"/>
                    </a:lnTo>
                    <a:lnTo>
                      <a:pt x="1164" y="1445"/>
                    </a:lnTo>
                    <a:lnTo>
                      <a:pt x="1184" y="1463"/>
                    </a:lnTo>
                    <a:lnTo>
                      <a:pt x="1202" y="1481"/>
                    </a:lnTo>
                    <a:lnTo>
                      <a:pt x="1218" y="1502"/>
                    </a:lnTo>
                    <a:lnTo>
                      <a:pt x="1230" y="1523"/>
                    </a:lnTo>
                    <a:lnTo>
                      <a:pt x="1243" y="1548"/>
                    </a:lnTo>
                    <a:lnTo>
                      <a:pt x="1251" y="1571"/>
                    </a:lnTo>
                    <a:lnTo>
                      <a:pt x="1259" y="1598"/>
                    </a:lnTo>
                    <a:lnTo>
                      <a:pt x="1262" y="1625"/>
                    </a:lnTo>
                    <a:lnTo>
                      <a:pt x="1264" y="1652"/>
                    </a:lnTo>
                    <a:lnTo>
                      <a:pt x="1513" y="1652"/>
                    </a:lnTo>
                    <a:lnTo>
                      <a:pt x="1712" y="1310"/>
                    </a:lnTo>
                    <a:lnTo>
                      <a:pt x="1712" y="1167"/>
                    </a:lnTo>
                    <a:lnTo>
                      <a:pt x="1565" y="1255"/>
                    </a:lnTo>
                    <a:lnTo>
                      <a:pt x="1536" y="1274"/>
                    </a:lnTo>
                    <a:lnTo>
                      <a:pt x="1508" y="1296"/>
                    </a:lnTo>
                    <a:lnTo>
                      <a:pt x="1485" y="1317"/>
                    </a:lnTo>
                    <a:lnTo>
                      <a:pt x="1463" y="1340"/>
                    </a:lnTo>
                    <a:lnTo>
                      <a:pt x="1445" y="1361"/>
                    </a:lnTo>
                    <a:lnTo>
                      <a:pt x="1431" y="1383"/>
                    </a:lnTo>
                    <a:lnTo>
                      <a:pt x="1426" y="1394"/>
                    </a:lnTo>
                    <a:lnTo>
                      <a:pt x="1422" y="1402"/>
                    </a:lnTo>
                    <a:lnTo>
                      <a:pt x="1419" y="1413"/>
                    </a:lnTo>
                    <a:lnTo>
                      <a:pt x="1419" y="1424"/>
                    </a:lnTo>
                    <a:lnTo>
                      <a:pt x="1413" y="1500"/>
                    </a:lnTo>
                    <a:lnTo>
                      <a:pt x="1271" y="1500"/>
                    </a:lnTo>
                    <a:lnTo>
                      <a:pt x="1276" y="1415"/>
                    </a:lnTo>
                    <a:lnTo>
                      <a:pt x="1278" y="1395"/>
                    </a:lnTo>
                    <a:lnTo>
                      <a:pt x="1282" y="1374"/>
                    </a:lnTo>
                    <a:lnTo>
                      <a:pt x="1289" y="1354"/>
                    </a:lnTo>
                    <a:lnTo>
                      <a:pt x="1296" y="1335"/>
                    </a:lnTo>
                    <a:lnTo>
                      <a:pt x="1305" y="1317"/>
                    </a:lnTo>
                    <a:lnTo>
                      <a:pt x="1316" y="1299"/>
                    </a:lnTo>
                    <a:lnTo>
                      <a:pt x="1328" y="1280"/>
                    </a:lnTo>
                    <a:lnTo>
                      <a:pt x="1342" y="1262"/>
                    </a:lnTo>
                    <a:lnTo>
                      <a:pt x="1356" y="1246"/>
                    </a:lnTo>
                    <a:lnTo>
                      <a:pt x="1372" y="1228"/>
                    </a:lnTo>
                    <a:lnTo>
                      <a:pt x="1406" y="1196"/>
                    </a:lnTo>
                    <a:lnTo>
                      <a:pt x="1444" y="1166"/>
                    </a:lnTo>
                    <a:lnTo>
                      <a:pt x="1485" y="1137"/>
                    </a:lnTo>
                    <a:lnTo>
                      <a:pt x="1712" y="1004"/>
                    </a:lnTo>
                    <a:lnTo>
                      <a:pt x="1712" y="941"/>
                    </a:lnTo>
                    <a:lnTo>
                      <a:pt x="1887" y="906"/>
                    </a:lnTo>
                    <a:lnTo>
                      <a:pt x="1887" y="1310"/>
                    </a:lnTo>
                    <a:lnTo>
                      <a:pt x="2291" y="1310"/>
                    </a:lnTo>
                    <a:lnTo>
                      <a:pt x="2291" y="906"/>
                    </a:lnTo>
                    <a:lnTo>
                      <a:pt x="2465" y="941"/>
                    </a:lnTo>
                    <a:lnTo>
                      <a:pt x="2465" y="1018"/>
                    </a:lnTo>
                    <a:lnTo>
                      <a:pt x="2635" y="1114"/>
                    </a:lnTo>
                    <a:lnTo>
                      <a:pt x="2683" y="1144"/>
                    </a:lnTo>
                    <a:lnTo>
                      <a:pt x="2704" y="1160"/>
                    </a:lnTo>
                    <a:lnTo>
                      <a:pt x="2727" y="1176"/>
                    </a:lnTo>
                    <a:lnTo>
                      <a:pt x="2747" y="1194"/>
                    </a:lnTo>
                    <a:lnTo>
                      <a:pt x="2768" y="1212"/>
                    </a:lnTo>
                    <a:lnTo>
                      <a:pt x="2786" y="1230"/>
                    </a:lnTo>
                    <a:lnTo>
                      <a:pt x="2804" y="1249"/>
                    </a:lnTo>
                    <a:lnTo>
                      <a:pt x="2818" y="1269"/>
                    </a:lnTo>
                    <a:lnTo>
                      <a:pt x="2832" y="1290"/>
                    </a:lnTo>
                    <a:lnTo>
                      <a:pt x="2845" y="1310"/>
                    </a:lnTo>
                    <a:lnTo>
                      <a:pt x="2855" y="1331"/>
                    </a:lnTo>
                    <a:lnTo>
                      <a:pt x="2864" y="1353"/>
                    </a:lnTo>
                    <a:lnTo>
                      <a:pt x="2870" y="1376"/>
                    </a:lnTo>
                    <a:lnTo>
                      <a:pt x="2873" y="1397"/>
                    </a:lnTo>
                    <a:lnTo>
                      <a:pt x="2875" y="1420"/>
                    </a:lnTo>
                    <a:lnTo>
                      <a:pt x="2875" y="2064"/>
                    </a:lnTo>
                    <a:lnTo>
                      <a:pt x="2875" y="2100"/>
                    </a:lnTo>
                    <a:lnTo>
                      <a:pt x="2873" y="2132"/>
                    </a:lnTo>
                    <a:lnTo>
                      <a:pt x="2870" y="2164"/>
                    </a:lnTo>
                    <a:lnTo>
                      <a:pt x="2866" y="2193"/>
                    </a:lnTo>
                    <a:lnTo>
                      <a:pt x="2862" y="2221"/>
                    </a:lnTo>
                    <a:lnTo>
                      <a:pt x="2857" y="2246"/>
                    </a:lnTo>
                    <a:lnTo>
                      <a:pt x="2850" y="2271"/>
                    </a:lnTo>
                    <a:lnTo>
                      <a:pt x="2843" y="2294"/>
                    </a:lnTo>
                    <a:lnTo>
                      <a:pt x="2834" y="2315"/>
                    </a:lnTo>
                    <a:lnTo>
                      <a:pt x="2825" y="2335"/>
                    </a:lnTo>
                    <a:lnTo>
                      <a:pt x="2816" y="2353"/>
                    </a:lnTo>
                    <a:lnTo>
                      <a:pt x="2805" y="2371"/>
                    </a:lnTo>
                    <a:lnTo>
                      <a:pt x="2795" y="2385"/>
                    </a:lnTo>
                    <a:lnTo>
                      <a:pt x="2782" y="2399"/>
                    </a:lnTo>
                    <a:lnTo>
                      <a:pt x="2770" y="2413"/>
                    </a:lnTo>
                    <a:lnTo>
                      <a:pt x="2756" y="2424"/>
                    </a:lnTo>
                    <a:lnTo>
                      <a:pt x="2741" y="2436"/>
                    </a:lnTo>
                    <a:lnTo>
                      <a:pt x="2727" y="2445"/>
                    </a:lnTo>
                    <a:lnTo>
                      <a:pt x="2711" y="2454"/>
                    </a:lnTo>
                    <a:lnTo>
                      <a:pt x="2695" y="2461"/>
                    </a:lnTo>
                    <a:lnTo>
                      <a:pt x="2661" y="2476"/>
                    </a:lnTo>
                    <a:lnTo>
                      <a:pt x="2626" y="2484"/>
                    </a:lnTo>
                    <a:lnTo>
                      <a:pt x="2588" y="2492"/>
                    </a:lnTo>
                    <a:lnTo>
                      <a:pt x="2549" y="2497"/>
                    </a:lnTo>
                    <a:lnTo>
                      <a:pt x="2508" y="2499"/>
                    </a:lnTo>
                    <a:lnTo>
                      <a:pt x="2465" y="2500"/>
                    </a:lnTo>
                    <a:lnTo>
                      <a:pt x="725" y="2500"/>
                    </a:lnTo>
                    <a:close/>
                    <a:moveTo>
                      <a:pt x="1572" y="1725"/>
                    </a:moveTo>
                    <a:lnTo>
                      <a:pt x="1572" y="2123"/>
                    </a:lnTo>
                    <a:lnTo>
                      <a:pt x="1593" y="2121"/>
                    </a:lnTo>
                    <a:lnTo>
                      <a:pt x="1613" y="2118"/>
                    </a:lnTo>
                    <a:lnTo>
                      <a:pt x="1631" y="2113"/>
                    </a:lnTo>
                    <a:lnTo>
                      <a:pt x="1648" y="2105"/>
                    </a:lnTo>
                    <a:lnTo>
                      <a:pt x="1666" y="2098"/>
                    </a:lnTo>
                    <a:lnTo>
                      <a:pt x="1682" y="2088"/>
                    </a:lnTo>
                    <a:lnTo>
                      <a:pt x="1696" y="2077"/>
                    </a:lnTo>
                    <a:lnTo>
                      <a:pt x="1711" y="2063"/>
                    </a:lnTo>
                    <a:lnTo>
                      <a:pt x="1723" y="2048"/>
                    </a:lnTo>
                    <a:lnTo>
                      <a:pt x="1734" y="2034"/>
                    </a:lnTo>
                    <a:lnTo>
                      <a:pt x="1745" y="2018"/>
                    </a:lnTo>
                    <a:lnTo>
                      <a:pt x="1752" y="2000"/>
                    </a:lnTo>
                    <a:lnTo>
                      <a:pt x="1759" y="1983"/>
                    </a:lnTo>
                    <a:lnTo>
                      <a:pt x="1764" y="1963"/>
                    </a:lnTo>
                    <a:lnTo>
                      <a:pt x="1766" y="1943"/>
                    </a:lnTo>
                    <a:lnTo>
                      <a:pt x="1768" y="1924"/>
                    </a:lnTo>
                    <a:lnTo>
                      <a:pt x="1766" y="1904"/>
                    </a:lnTo>
                    <a:lnTo>
                      <a:pt x="1764" y="1885"/>
                    </a:lnTo>
                    <a:lnTo>
                      <a:pt x="1759" y="1865"/>
                    </a:lnTo>
                    <a:lnTo>
                      <a:pt x="1752" y="1847"/>
                    </a:lnTo>
                    <a:lnTo>
                      <a:pt x="1745" y="1831"/>
                    </a:lnTo>
                    <a:lnTo>
                      <a:pt x="1734" y="1814"/>
                    </a:lnTo>
                    <a:lnTo>
                      <a:pt x="1723" y="1799"/>
                    </a:lnTo>
                    <a:lnTo>
                      <a:pt x="1711" y="1785"/>
                    </a:lnTo>
                    <a:lnTo>
                      <a:pt x="1696" y="1773"/>
                    </a:lnTo>
                    <a:lnTo>
                      <a:pt x="1682" y="1760"/>
                    </a:lnTo>
                    <a:lnTo>
                      <a:pt x="1666" y="1751"/>
                    </a:lnTo>
                    <a:lnTo>
                      <a:pt x="1648" y="1742"/>
                    </a:lnTo>
                    <a:lnTo>
                      <a:pt x="1631" y="1735"/>
                    </a:lnTo>
                    <a:lnTo>
                      <a:pt x="1613" y="1730"/>
                    </a:lnTo>
                    <a:lnTo>
                      <a:pt x="1593" y="1726"/>
                    </a:lnTo>
                    <a:lnTo>
                      <a:pt x="1572" y="1725"/>
                    </a:lnTo>
                    <a:close/>
                    <a:moveTo>
                      <a:pt x="1429" y="1794"/>
                    </a:moveTo>
                    <a:lnTo>
                      <a:pt x="867" y="1794"/>
                    </a:lnTo>
                    <a:lnTo>
                      <a:pt x="867" y="2358"/>
                    </a:lnTo>
                    <a:lnTo>
                      <a:pt x="1429" y="2358"/>
                    </a:lnTo>
                    <a:lnTo>
                      <a:pt x="1429" y="1794"/>
                    </a:lnTo>
                    <a:close/>
                    <a:moveTo>
                      <a:pt x="3987" y="520"/>
                    </a:moveTo>
                    <a:lnTo>
                      <a:pt x="3987" y="548"/>
                    </a:lnTo>
                    <a:lnTo>
                      <a:pt x="3989" y="577"/>
                    </a:lnTo>
                    <a:lnTo>
                      <a:pt x="3993" y="603"/>
                    </a:lnTo>
                    <a:lnTo>
                      <a:pt x="3998" y="630"/>
                    </a:lnTo>
                    <a:lnTo>
                      <a:pt x="4007" y="655"/>
                    </a:lnTo>
                    <a:lnTo>
                      <a:pt x="4016" y="678"/>
                    </a:lnTo>
                    <a:lnTo>
                      <a:pt x="4028" y="701"/>
                    </a:lnTo>
                    <a:lnTo>
                      <a:pt x="4043" y="721"/>
                    </a:lnTo>
                    <a:lnTo>
                      <a:pt x="4057" y="740"/>
                    </a:lnTo>
                    <a:lnTo>
                      <a:pt x="4075" y="756"/>
                    </a:lnTo>
                    <a:lnTo>
                      <a:pt x="4093" y="772"/>
                    </a:lnTo>
                    <a:lnTo>
                      <a:pt x="4112" y="785"/>
                    </a:lnTo>
                    <a:lnTo>
                      <a:pt x="4132" y="797"/>
                    </a:lnTo>
                    <a:lnTo>
                      <a:pt x="4153" y="806"/>
                    </a:lnTo>
                    <a:lnTo>
                      <a:pt x="4176" y="812"/>
                    </a:lnTo>
                    <a:lnTo>
                      <a:pt x="4199" y="817"/>
                    </a:lnTo>
                    <a:lnTo>
                      <a:pt x="4222" y="817"/>
                    </a:lnTo>
                    <a:lnTo>
                      <a:pt x="4246" y="817"/>
                    </a:lnTo>
                    <a:lnTo>
                      <a:pt x="4269" y="812"/>
                    </a:lnTo>
                    <a:lnTo>
                      <a:pt x="4290" y="806"/>
                    </a:lnTo>
                    <a:lnTo>
                      <a:pt x="4311" y="797"/>
                    </a:lnTo>
                    <a:lnTo>
                      <a:pt x="4333" y="785"/>
                    </a:lnTo>
                    <a:lnTo>
                      <a:pt x="4352" y="772"/>
                    </a:lnTo>
                    <a:lnTo>
                      <a:pt x="4370" y="756"/>
                    </a:lnTo>
                    <a:lnTo>
                      <a:pt x="4386" y="740"/>
                    </a:lnTo>
                    <a:lnTo>
                      <a:pt x="4402" y="721"/>
                    </a:lnTo>
                    <a:lnTo>
                      <a:pt x="4416" y="701"/>
                    </a:lnTo>
                    <a:lnTo>
                      <a:pt x="4427" y="678"/>
                    </a:lnTo>
                    <a:lnTo>
                      <a:pt x="4438" y="655"/>
                    </a:lnTo>
                    <a:lnTo>
                      <a:pt x="4447" y="630"/>
                    </a:lnTo>
                    <a:lnTo>
                      <a:pt x="4452" y="603"/>
                    </a:lnTo>
                    <a:lnTo>
                      <a:pt x="4456" y="577"/>
                    </a:lnTo>
                    <a:lnTo>
                      <a:pt x="4457" y="548"/>
                    </a:lnTo>
                    <a:lnTo>
                      <a:pt x="4457" y="520"/>
                    </a:lnTo>
                    <a:lnTo>
                      <a:pt x="4529" y="520"/>
                    </a:lnTo>
                    <a:lnTo>
                      <a:pt x="4529" y="548"/>
                    </a:lnTo>
                    <a:lnTo>
                      <a:pt x="4527" y="582"/>
                    </a:lnTo>
                    <a:lnTo>
                      <a:pt x="4522" y="616"/>
                    </a:lnTo>
                    <a:lnTo>
                      <a:pt x="4514" y="648"/>
                    </a:lnTo>
                    <a:lnTo>
                      <a:pt x="4506" y="678"/>
                    </a:lnTo>
                    <a:lnTo>
                      <a:pt x="4491" y="708"/>
                    </a:lnTo>
                    <a:lnTo>
                      <a:pt x="4477" y="737"/>
                    </a:lnTo>
                    <a:lnTo>
                      <a:pt x="4459" y="763"/>
                    </a:lnTo>
                    <a:lnTo>
                      <a:pt x="4440" y="787"/>
                    </a:lnTo>
                    <a:lnTo>
                      <a:pt x="4418" y="810"/>
                    </a:lnTo>
                    <a:lnTo>
                      <a:pt x="4395" y="829"/>
                    </a:lnTo>
                    <a:lnTo>
                      <a:pt x="4370" y="847"/>
                    </a:lnTo>
                    <a:lnTo>
                      <a:pt x="4344" y="861"/>
                    </a:lnTo>
                    <a:lnTo>
                      <a:pt x="4315" y="872"/>
                    </a:lnTo>
                    <a:lnTo>
                      <a:pt x="4285" y="881"/>
                    </a:lnTo>
                    <a:lnTo>
                      <a:pt x="4255" y="886"/>
                    </a:lnTo>
                    <a:lnTo>
                      <a:pt x="4222" y="888"/>
                    </a:lnTo>
                    <a:lnTo>
                      <a:pt x="4190" y="886"/>
                    </a:lnTo>
                    <a:lnTo>
                      <a:pt x="4160" y="881"/>
                    </a:lnTo>
                    <a:lnTo>
                      <a:pt x="4130" y="872"/>
                    </a:lnTo>
                    <a:lnTo>
                      <a:pt x="4101" y="861"/>
                    </a:lnTo>
                    <a:lnTo>
                      <a:pt x="4075" y="847"/>
                    </a:lnTo>
                    <a:lnTo>
                      <a:pt x="4050" y="829"/>
                    </a:lnTo>
                    <a:lnTo>
                      <a:pt x="4027" y="810"/>
                    </a:lnTo>
                    <a:lnTo>
                      <a:pt x="4004" y="787"/>
                    </a:lnTo>
                    <a:lnTo>
                      <a:pt x="3984" y="763"/>
                    </a:lnTo>
                    <a:lnTo>
                      <a:pt x="3968" y="737"/>
                    </a:lnTo>
                    <a:lnTo>
                      <a:pt x="3952" y="708"/>
                    </a:lnTo>
                    <a:lnTo>
                      <a:pt x="3939" y="678"/>
                    </a:lnTo>
                    <a:lnTo>
                      <a:pt x="3929" y="648"/>
                    </a:lnTo>
                    <a:lnTo>
                      <a:pt x="3922" y="616"/>
                    </a:lnTo>
                    <a:lnTo>
                      <a:pt x="3918" y="582"/>
                    </a:lnTo>
                    <a:lnTo>
                      <a:pt x="3916" y="548"/>
                    </a:lnTo>
                    <a:lnTo>
                      <a:pt x="3916" y="520"/>
                    </a:lnTo>
                    <a:lnTo>
                      <a:pt x="3987" y="520"/>
                    </a:lnTo>
                    <a:close/>
                    <a:moveTo>
                      <a:pt x="3900" y="450"/>
                    </a:moveTo>
                    <a:lnTo>
                      <a:pt x="3900" y="244"/>
                    </a:lnTo>
                    <a:lnTo>
                      <a:pt x="3902" y="205"/>
                    </a:lnTo>
                    <a:lnTo>
                      <a:pt x="3909" y="169"/>
                    </a:lnTo>
                    <a:lnTo>
                      <a:pt x="3913" y="153"/>
                    </a:lnTo>
                    <a:lnTo>
                      <a:pt x="3918" y="139"/>
                    </a:lnTo>
                    <a:lnTo>
                      <a:pt x="3923" y="125"/>
                    </a:lnTo>
                    <a:lnTo>
                      <a:pt x="3929" y="110"/>
                    </a:lnTo>
                    <a:lnTo>
                      <a:pt x="3936" y="100"/>
                    </a:lnTo>
                    <a:lnTo>
                      <a:pt x="3945" y="87"/>
                    </a:lnTo>
                    <a:lnTo>
                      <a:pt x="3963" y="68"/>
                    </a:lnTo>
                    <a:lnTo>
                      <a:pt x="3982" y="52"/>
                    </a:lnTo>
                    <a:lnTo>
                      <a:pt x="4005" y="37"/>
                    </a:lnTo>
                    <a:lnTo>
                      <a:pt x="4028" y="27"/>
                    </a:lnTo>
                    <a:lnTo>
                      <a:pt x="4055" y="18"/>
                    </a:lnTo>
                    <a:lnTo>
                      <a:pt x="4082" y="11"/>
                    </a:lnTo>
                    <a:lnTo>
                      <a:pt x="4109" y="5"/>
                    </a:lnTo>
                    <a:lnTo>
                      <a:pt x="4139" y="4"/>
                    </a:lnTo>
                    <a:lnTo>
                      <a:pt x="4167" y="0"/>
                    </a:lnTo>
                    <a:lnTo>
                      <a:pt x="4228" y="0"/>
                    </a:lnTo>
                    <a:lnTo>
                      <a:pt x="4287" y="0"/>
                    </a:lnTo>
                    <a:lnTo>
                      <a:pt x="4317" y="4"/>
                    </a:lnTo>
                    <a:lnTo>
                      <a:pt x="4345" y="5"/>
                    </a:lnTo>
                    <a:lnTo>
                      <a:pt x="4374" y="11"/>
                    </a:lnTo>
                    <a:lnTo>
                      <a:pt x="4400" y="18"/>
                    </a:lnTo>
                    <a:lnTo>
                      <a:pt x="4425" y="27"/>
                    </a:lnTo>
                    <a:lnTo>
                      <a:pt x="4450" y="37"/>
                    </a:lnTo>
                    <a:lnTo>
                      <a:pt x="4472" y="52"/>
                    </a:lnTo>
                    <a:lnTo>
                      <a:pt x="4491" y="68"/>
                    </a:lnTo>
                    <a:lnTo>
                      <a:pt x="4509" y="87"/>
                    </a:lnTo>
                    <a:lnTo>
                      <a:pt x="4518" y="100"/>
                    </a:lnTo>
                    <a:lnTo>
                      <a:pt x="4525" y="110"/>
                    </a:lnTo>
                    <a:lnTo>
                      <a:pt x="4532" y="125"/>
                    </a:lnTo>
                    <a:lnTo>
                      <a:pt x="4538" y="139"/>
                    </a:lnTo>
                    <a:lnTo>
                      <a:pt x="4541" y="153"/>
                    </a:lnTo>
                    <a:lnTo>
                      <a:pt x="4546" y="169"/>
                    </a:lnTo>
                    <a:lnTo>
                      <a:pt x="4552" y="205"/>
                    </a:lnTo>
                    <a:lnTo>
                      <a:pt x="4554" y="244"/>
                    </a:lnTo>
                    <a:lnTo>
                      <a:pt x="4554" y="450"/>
                    </a:lnTo>
                    <a:lnTo>
                      <a:pt x="3900" y="450"/>
                    </a:lnTo>
                    <a:close/>
                    <a:moveTo>
                      <a:pt x="3971" y="379"/>
                    </a:moveTo>
                    <a:lnTo>
                      <a:pt x="4482" y="379"/>
                    </a:lnTo>
                    <a:lnTo>
                      <a:pt x="4482" y="244"/>
                    </a:lnTo>
                    <a:lnTo>
                      <a:pt x="4481" y="217"/>
                    </a:lnTo>
                    <a:lnTo>
                      <a:pt x="4479" y="192"/>
                    </a:lnTo>
                    <a:lnTo>
                      <a:pt x="4473" y="171"/>
                    </a:lnTo>
                    <a:lnTo>
                      <a:pt x="4465" y="153"/>
                    </a:lnTo>
                    <a:lnTo>
                      <a:pt x="4456" y="137"/>
                    </a:lnTo>
                    <a:lnTo>
                      <a:pt x="4445" y="123"/>
                    </a:lnTo>
                    <a:lnTo>
                      <a:pt x="4431" y="110"/>
                    </a:lnTo>
                    <a:lnTo>
                      <a:pt x="4416" y="100"/>
                    </a:lnTo>
                    <a:lnTo>
                      <a:pt x="4399" y="93"/>
                    </a:lnTo>
                    <a:lnTo>
                      <a:pt x="4379" y="85"/>
                    </a:lnTo>
                    <a:lnTo>
                      <a:pt x="4358" y="80"/>
                    </a:lnTo>
                    <a:lnTo>
                      <a:pt x="4336" y="77"/>
                    </a:lnTo>
                    <a:lnTo>
                      <a:pt x="4311" y="73"/>
                    </a:lnTo>
                    <a:lnTo>
                      <a:pt x="4285" y="71"/>
                    </a:lnTo>
                    <a:lnTo>
                      <a:pt x="4228" y="71"/>
                    </a:lnTo>
                    <a:lnTo>
                      <a:pt x="4169" y="71"/>
                    </a:lnTo>
                    <a:lnTo>
                      <a:pt x="4144" y="73"/>
                    </a:lnTo>
                    <a:lnTo>
                      <a:pt x="4119" y="77"/>
                    </a:lnTo>
                    <a:lnTo>
                      <a:pt x="4096" y="80"/>
                    </a:lnTo>
                    <a:lnTo>
                      <a:pt x="4075" y="85"/>
                    </a:lnTo>
                    <a:lnTo>
                      <a:pt x="4055" y="93"/>
                    </a:lnTo>
                    <a:lnTo>
                      <a:pt x="4039" y="100"/>
                    </a:lnTo>
                    <a:lnTo>
                      <a:pt x="4023" y="110"/>
                    </a:lnTo>
                    <a:lnTo>
                      <a:pt x="4011" y="123"/>
                    </a:lnTo>
                    <a:lnTo>
                      <a:pt x="3998" y="137"/>
                    </a:lnTo>
                    <a:lnTo>
                      <a:pt x="3989" y="153"/>
                    </a:lnTo>
                    <a:lnTo>
                      <a:pt x="3982" y="171"/>
                    </a:lnTo>
                    <a:lnTo>
                      <a:pt x="3977" y="192"/>
                    </a:lnTo>
                    <a:lnTo>
                      <a:pt x="3973" y="217"/>
                    </a:lnTo>
                    <a:lnTo>
                      <a:pt x="3971" y="244"/>
                    </a:lnTo>
                    <a:lnTo>
                      <a:pt x="3971" y="379"/>
                    </a:lnTo>
                    <a:close/>
                    <a:moveTo>
                      <a:pt x="4219" y="3276"/>
                    </a:moveTo>
                    <a:lnTo>
                      <a:pt x="5864" y="3276"/>
                    </a:lnTo>
                    <a:lnTo>
                      <a:pt x="5358" y="3805"/>
                    </a:lnTo>
                    <a:lnTo>
                      <a:pt x="5255" y="3707"/>
                    </a:lnTo>
                    <a:lnTo>
                      <a:pt x="5531" y="3419"/>
                    </a:lnTo>
                    <a:lnTo>
                      <a:pt x="4219" y="3419"/>
                    </a:lnTo>
                    <a:lnTo>
                      <a:pt x="4219" y="3276"/>
                    </a:lnTo>
                    <a:close/>
                    <a:moveTo>
                      <a:pt x="2280" y="3276"/>
                    </a:moveTo>
                    <a:lnTo>
                      <a:pt x="3758" y="3276"/>
                    </a:lnTo>
                    <a:lnTo>
                      <a:pt x="3758" y="3419"/>
                    </a:lnTo>
                    <a:lnTo>
                      <a:pt x="2280" y="3419"/>
                    </a:lnTo>
                    <a:lnTo>
                      <a:pt x="2280" y="3276"/>
                    </a:lnTo>
                    <a:close/>
                    <a:moveTo>
                      <a:pt x="0" y="2162"/>
                    </a:moveTo>
                    <a:lnTo>
                      <a:pt x="1105" y="3276"/>
                    </a:lnTo>
                    <a:lnTo>
                      <a:pt x="1818" y="3276"/>
                    </a:lnTo>
                    <a:lnTo>
                      <a:pt x="1818" y="3419"/>
                    </a:lnTo>
                    <a:lnTo>
                      <a:pt x="1045" y="3419"/>
                    </a:lnTo>
                    <a:lnTo>
                      <a:pt x="0" y="2365"/>
                    </a:lnTo>
                    <a:lnTo>
                      <a:pt x="0" y="2162"/>
                    </a:lnTo>
                    <a:close/>
                    <a:moveTo>
                      <a:pt x="2353" y="379"/>
                    </a:moveTo>
                    <a:lnTo>
                      <a:pt x="2353" y="246"/>
                    </a:lnTo>
                    <a:lnTo>
                      <a:pt x="2353" y="217"/>
                    </a:lnTo>
                    <a:lnTo>
                      <a:pt x="2350" y="194"/>
                    </a:lnTo>
                    <a:lnTo>
                      <a:pt x="2344" y="173"/>
                    </a:lnTo>
                    <a:lnTo>
                      <a:pt x="2337" y="153"/>
                    </a:lnTo>
                    <a:lnTo>
                      <a:pt x="2328" y="137"/>
                    </a:lnTo>
                    <a:lnTo>
                      <a:pt x="2316" y="123"/>
                    </a:lnTo>
                    <a:lnTo>
                      <a:pt x="2303" y="112"/>
                    </a:lnTo>
                    <a:lnTo>
                      <a:pt x="2287" y="101"/>
                    </a:lnTo>
                    <a:lnTo>
                      <a:pt x="2270" y="93"/>
                    </a:lnTo>
                    <a:lnTo>
                      <a:pt x="2252" y="87"/>
                    </a:lnTo>
                    <a:lnTo>
                      <a:pt x="2230" y="82"/>
                    </a:lnTo>
                    <a:lnTo>
                      <a:pt x="2207" y="78"/>
                    </a:lnTo>
                    <a:lnTo>
                      <a:pt x="2182" y="75"/>
                    </a:lnTo>
                    <a:lnTo>
                      <a:pt x="2156" y="73"/>
                    </a:lnTo>
                    <a:lnTo>
                      <a:pt x="2099" y="71"/>
                    </a:lnTo>
                    <a:lnTo>
                      <a:pt x="2042" y="73"/>
                    </a:lnTo>
                    <a:lnTo>
                      <a:pt x="2015" y="75"/>
                    </a:lnTo>
                    <a:lnTo>
                      <a:pt x="1990" y="78"/>
                    </a:lnTo>
                    <a:lnTo>
                      <a:pt x="1967" y="82"/>
                    </a:lnTo>
                    <a:lnTo>
                      <a:pt x="1947" y="87"/>
                    </a:lnTo>
                    <a:lnTo>
                      <a:pt x="1928" y="93"/>
                    </a:lnTo>
                    <a:lnTo>
                      <a:pt x="1910" y="101"/>
                    </a:lnTo>
                    <a:lnTo>
                      <a:pt x="1896" y="112"/>
                    </a:lnTo>
                    <a:lnTo>
                      <a:pt x="1882" y="123"/>
                    </a:lnTo>
                    <a:lnTo>
                      <a:pt x="1871" y="137"/>
                    </a:lnTo>
                    <a:lnTo>
                      <a:pt x="1860" y="153"/>
                    </a:lnTo>
                    <a:lnTo>
                      <a:pt x="1853" y="173"/>
                    </a:lnTo>
                    <a:lnTo>
                      <a:pt x="1848" y="194"/>
                    </a:lnTo>
                    <a:lnTo>
                      <a:pt x="1844" y="217"/>
                    </a:lnTo>
                    <a:lnTo>
                      <a:pt x="1844" y="246"/>
                    </a:lnTo>
                    <a:lnTo>
                      <a:pt x="1844" y="379"/>
                    </a:lnTo>
                    <a:lnTo>
                      <a:pt x="2353" y="379"/>
                    </a:lnTo>
                    <a:close/>
                    <a:moveTo>
                      <a:pt x="2425" y="450"/>
                    </a:moveTo>
                    <a:lnTo>
                      <a:pt x="2245" y="450"/>
                    </a:lnTo>
                    <a:lnTo>
                      <a:pt x="1773" y="450"/>
                    </a:lnTo>
                    <a:lnTo>
                      <a:pt x="1629" y="450"/>
                    </a:lnTo>
                    <a:lnTo>
                      <a:pt x="1629" y="379"/>
                    </a:lnTo>
                    <a:lnTo>
                      <a:pt x="1773" y="379"/>
                    </a:lnTo>
                    <a:lnTo>
                      <a:pt x="1773" y="246"/>
                    </a:lnTo>
                    <a:lnTo>
                      <a:pt x="1775" y="205"/>
                    </a:lnTo>
                    <a:lnTo>
                      <a:pt x="1780" y="171"/>
                    </a:lnTo>
                    <a:lnTo>
                      <a:pt x="1784" y="155"/>
                    </a:lnTo>
                    <a:lnTo>
                      <a:pt x="1789" y="139"/>
                    </a:lnTo>
                    <a:lnTo>
                      <a:pt x="1794" y="125"/>
                    </a:lnTo>
                    <a:lnTo>
                      <a:pt x="1801" y="112"/>
                    </a:lnTo>
                    <a:lnTo>
                      <a:pt x="1809" y="100"/>
                    </a:lnTo>
                    <a:lnTo>
                      <a:pt x="1816" y="89"/>
                    </a:lnTo>
                    <a:lnTo>
                      <a:pt x="1834" y="69"/>
                    </a:lnTo>
                    <a:lnTo>
                      <a:pt x="1855" y="53"/>
                    </a:lnTo>
                    <a:lnTo>
                      <a:pt x="1876" y="39"/>
                    </a:lnTo>
                    <a:lnTo>
                      <a:pt x="1899" y="28"/>
                    </a:lnTo>
                    <a:lnTo>
                      <a:pt x="1926" y="20"/>
                    </a:lnTo>
                    <a:lnTo>
                      <a:pt x="1953" y="12"/>
                    </a:lnTo>
                    <a:lnTo>
                      <a:pt x="1981" y="7"/>
                    </a:lnTo>
                    <a:lnTo>
                      <a:pt x="2010" y="4"/>
                    </a:lnTo>
                    <a:lnTo>
                      <a:pt x="2040" y="2"/>
                    </a:lnTo>
                    <a:lnTo>
                      <a:pt x="2099" y="0"/>
                    </a:lnTo>
                    <a:lnTo>
                      <a:pt x="2159" y="2"/>
                    </a:lnTo>
                    <a:lnTo>
                      <a:pt x="2188" y="4"/>
                    </a:lnTo>
                    <a:lnTo>
                      <a:pt x="2216" y="7"/>
                    </a:lnTo>
                    <a:lnTo>
                      <a:pt x="2245" y="12"/>
                    </a:lnTo>
                    <a:lnTo>
                      <a:pt x="2271" y="20"/>
                    </a:lnTo>
                    <a:lnTo>
                      <a:pt x="2298" y="28"/>
                    </a:lnTo>
                    <a:lnTo>
                      <a:pt x="2321" y="39"/>
                    </a:lnTo>
                    <a:lnTo>
                      <a:pt x="2344" y="53"/>
                    </a:lnTo>
                    <a:lnTo>
                      <a:pt x="2364" y="69"/>
                    </a:lnTo>
                    <a:lnTo>
                      <a:pt x="2382" y="89"/>
                    </a:lnTo>
                    <a:lnTo>
                      <a:pt x="2389" y="100"/>
                    </a:lnTo>
                    <a:lnTo>
                      <a:pt x="2396" y="112"/>
                    </a:lnTo>
                    <a:lnTo>
                      <a:pt x="2403" y="126"/>
                    </a:lnTo>
                    <a:lnTo>
                      <a:pt x="2409" y="139"/>
                    </a:lnTo>
                    <a:lnTo>
                      <a:pt x="2414" y="155"/>
                    </a:lnTo>
                    <a:lnTo>
                      <a:pt x="2417" y="171"/>
                    </a:lnTo>
                    <a:lnTo>
                      <a:pt x="2423" y="205"/>
                    </a:lnTo>
                    <a:lnTo>
                      <a:pt x="2425" y="246"/>
                    </a:lnTo>
                    <a:lnTo>
                      <a:pt x="2425" y="450"/>
                    </a:lnTo>
                    <a:close/>
                    <a:moveTo>
                      <a:pt x="5615" y="1634"/>
                    </a:moveTo>
                    <a:lnTo>
                      <a:pt x="5622" y="1445"/>
                    </a:lnTo>
                    <a:lnTo>
                      <a:pt x="5606" y="1440"/>
                    </a:lnTo>
                    <a:lnTo>
                      <a:pt x="5590" y="1429"/>
                    </a:lnTo>
                    <a:lnTo>
                      <a:pt x="5575" y="1418"/>
                    </a:lnTo>
                    <a:lnTo>
                      <a:pt x="5563" y="1406"/>
                    </a:lnTo>
                    <a:lnTo>
                      <a:pt x="5554" y="1390"/>
                    </a:lnTo>
                    <a:lnTo>
                      <a:pt x="5547" y="1374"/>
                    </a:lnTo>
                    <a:lnTo>
                      <a:pt x="5542" y="1356"/>
                    </a:lnTo>
                    <a:lnTo>
                      <a:pt x="5542" y="1337"/>
                    </a:lnTo>
                    <a:lnTo>
                      <a:pt x="5542" y="1324"/>
                    </a:lnTo>
                    <a:lnTo>
                      <a:pt x="5543" y="1313"/>
                    </a:lnTo>
                    <a:lnTo>
                      <a:pt x="5545" y="1303"/>
                    </a:lnTo>
                    <a:lnTo>
                      <a:pt x="5550" y="1292"/>
                    </a:lnTo>
                    <a:lnTo>
                      <a:pt x="5554" y="1281"/>
                    </a:lnTo>
                    <a:lnTo>
                      <a:pt x="5559" y="1272"/>
                    </a:lnTo>
                    <a:lnTo>
                      <a:pt x="5574" y="1256"/>
                    </a:lnTo>
                    <a:lnTo>
                      <a:pt x="5591" y="1242"/>
                    </a:lnTo>
                    <a:lnTo>
                      <a:pt x="5600" y="1237"/>
                    </a:lnTo>
                    <a:lnTo>
                      <a:pt x="5611" y="1232"/>
                    </a:lnTo>
                    <a:lnTo>
                      <a:pt x="5620" y="1228"/>
                    </a:lnTo>
                    <a:lnTo>
                      <a:pt x="5632" y="1224"/>
                    </a:lnTo>
                    <a:lnTo>
                      <a:pt x="5643" y="1223"/>
                    </a:lnTo>
                    <a:lnTo>
                      <a:pt x="5655" y="1223"/>
                    </a:lnTo>
                    <a:lnTo>
                      <a:pt x="5666" y="1223"/>
                    </a:lnTo>
                    <a:lnTo>
                      <a:pt x="5677" y="1224"/>
                    </a:lnTo>
                    <a:lnTo>
                      <a:pt x="5689" y="1228"/>
                    </a:lnTo>
                    <a:lnTo>
                      <a:pt x="5698" y="1232"/>
                    </a:lnTo>
                    <a:lnTo>
                      <a:pt x="5709" y="1237"/>
                    </a:lnTo>
                    <a:lnTo>
                      <a:pt x="5718" y="1242"/>
                    </a:lnTo>
                    <a:lnTo>
                      <a:pt x="5736" y="1256"/>
                    </a:lnTo>
                    <a:lnTo>
                      <a:pt x="5750" y="1272"/>
                    </a:lnTo>
                    <a:lnTo>
                      <a:pt x="5755" y="1281"/>
                    </a:lnTo>
                    <a:lnTo>
                      <a:pt x="5759" y="1292"/>
                    </a:lnTo>
                    <a:lnTo>
                      <a:pt x="5764" y="1303"/>
                    </a:lnTo>
                    <a:lnTo>
                      <a:pt x="5766" y="1313"/>
                    </a:lnTo>
                    <a:lnTo>
                      <a:pt x="5768" y="1324"/>
                    </a:lnTo>
                    <a:lnTo>
                      <a:pt x="5769" y="1337"/>
                    </a:lnTo>
                    <a:lnTo>
                      <a:pt x="5768" y="1354"/>
                    </a:lnTo>
                    <a:lnTo>
                      <a:pt x="5764" y="1370"/>
                    </a:lnTo>
                    <a:lnTo>
                      <a:pt x="5757" y="1386"/>
                    </a:lnTo>
                    <a:lnTo>
                      <a:pt x="5748" y="1401"/>
                    </a:lnTo>
                    <a:lnTo>
                      <a:pt x="5737" y="1415"/>
                    </a:lnTo>
                    <a:lnTo>
                      <a:pt x="5725" y="1426"/>
                    </a:lnTo>
                    <a:lnTo>
                      <a:pt x="5712" y="1434"/>
                    </a:lnTo>
                    <a:lnTo>
                      <a:pt x="5696" y="1442"/>
                    </a:lnTo>
                    <a:lnTo>
                      <a:pt x="5709" y="1634"/>
                    </a:lnTo>
                    <a:lnTo>
                      <a:pt x="5901" y="1634"/>
                    </a:lnTo>
                    <a:lnTo>
                      <a:pt x="5842" y="1940"/>
                    </a:lnTo>
                    <a:lnTo>
                      <a:pt x="5835" y="1967"/>
                    </a:lnTo>
                    <a:lnTo>
                      <a:pt x="5826" y="1993"/>
                    </a:lnTo>
                    <a:lnTo>
                      <a:pt x="5814" y="2018"/>
                    </a:lnTo>
                    <a:lnTo>
                      <a:pt x="5798" y="2043"/>
                    </a:lnTo>
                    <a:lnTo>
                      <a:pt x="5780" y="2064"/>
                    </a:lnTo>
                    <a:lnTo>
                      <a:pt x="5760" y="2086"/>
                    </a:lnTo>
                    <a:lnTo>
                      <a:pt x="5741" y="2104"/>
                    </a:lnTo>
                    <a:lnTo>
                      <a:pt x="5718" y="2118"/>
                    </a:lnTo>
                    <a:lnTo>
                      <a:pt x="5718" y="2500"/>
                    </a:lnTo>
                    <a:lnTo>
                      <a:pt x="5609" y="2500"/>
                    </a:lnTo>
                    <a:lnTo>
                      <a:pt x="5609" y="2139"/>
                    </a:lnTo>
                    <a:lnTo>
                      <a:pt x="5485" y="2145"/>
                    </a:lnTo>
                    <a:lnTo>
                      <a:pt x="5485" y="2210"/>
                    </a:lnTo>
                    <a:lnTo>
                      <a:pt x="5191" y="2210"/>
                    </a:lnTo>
                    <a:lnTo>
                      <a:pt x="5173" y="2210"/>
                    </a:lnTo>
                    <a:lnTo>
                      <a:pt x="5153" y="2207"/>
                    </a:lnTo>
                    <a:lnTo>
                      <a:pt x="5111" y="2200"/>
                    </a:lnTo>
                    <a:lnTo>
                      <a:pt x="5068" y="2187"/>
                    </a:lnTo>
                    <a:lnTo>
                      <a:pt x="5022" y="2171"/>
                    </a:lnTo>
                    <a:lnTo>
                      <a:pt x="4977" y="2153"/>
                    </a:lnTo>
                    <a:lnTo>
                      <a:pt x="4935" y="2134"/>
                    </a:lnTo>
                    <a:lnTo>
                      <a:pt x="4858" y="2098"/>
                    </a:lnTo>
                    <a:lnTo>
                      <a:pt x="4858" y="2500"/>
                    </a:lnTo>
                    <a:lnTo>
                      <a:pt x="4361" y="2500"/>
                    </a:lnTo>
                    <a:lnTo>
                      <a:pt x="4361" y="1660"/>
                    </a:lnTo>
                    <a:lnTo>
                      <a:pt x="3747" y="1660"/>
                    </a:lnTo>
                    <a:lnTo>
                      <a:pt x="3858" y="1370"/>
                    </a:lnTo>
                    <a:lnTo>
                      <a:pt x="3858" y="1167"/>
                    </a:lnTo>
                    <a:lnTo>
                      <a:pt x="3751" y="1224"/>
                    </a:lnTo>
                    <a:lnTo>
                      <a:pt x="3719" y="1242"/>
                    </a:lnTo>
                    <a:lnTo>
                      <a:pt x="3692" y="1258"/>
                    </a:lnTo>
                    <a:lnTo>
                      <a:pt x="3669" y="1276"/>
                    </a:lnTo>
                    <a:lnTo>
                      <a:pt x="3649" y="1294"/>
                    </a:lnTo>
                    <a:lnTo>
                      <a:pt x="3635" y="1312"/>
                    </a:lnTo>
                    <a:lnTo>
                      <a:pt x="3623" y="1331"/>
                    </a:lnTo>
                    <a:lnTo>
                      <a:pt x="3619" y="1342"/>
                    </a:lnTo>
                    <a:lnTo>
                      <a:pt x="3615" y="1354"/>
                    </a:lnTo>
                    <a:lnTo>
                      <a:pt x="3614" y="1365"/>
                    </a:lnTo>
                    <a:lnTo>
                      <a:pt x="3612" y="1377"/>
                    </a:lnTo>
                    <a:lnTo>
                      <a:pt x="3594" y="1660"/>
                    </a:lnTo>
                    <a:lnTo>
                      <a:pt x="3452" y="1660"/>
                    </a:lnTo>
                    <a:lnTo>
                      <a:pt x="3469" y="1369"/>
                    </a:lnTo>
                    <a:lnTo>
                      <a:pt x="3473" y="1344"/>
                    </a:lnTo>
                    <a:lnTo>
                      <a:pt x="3477" y="1319"/>
                    </a:lnTo>
                    <a:lnTo>
                      <a:pt x="3484" y="1296"/>
                    </a:lnTo>
                    <a:lnTo>
                      <a:pt x="3491" y="1276"/>
                    </a:lnTo>
                    <a:lnTo>
                      <a:pt x="3502" y="1255"/>
                    </a:lnTo>
                    <a:lnTo>
                      <a:pt x="3512" y="1237"/>
                    </a:lnTo>
                    <a:lnTo>
                      <a:pt x="3525" y="1219"/>
                    </a:lnTo>
                    <a:lnTo>
                      <a:pt x="3539" y="1203"/>
                    </a:lnTo>
                    <a:lnTo>
                      <a:pt x="3555" y="1187"/>
                    </a:lnTo>
                    <a:lnTo>
                      <a:pt x="3573" y="1173"/>
                    </a:lnTo>
                    <a:lnTo>
                      <a:pt x="3591" y="1159"/>
                    </a:lnTo>
                    <a:lnTo>
                      <a:pt x="3610" y="1146"/>
                    </a:lnTo>
                    <a:lnTo>
                      <a:pt x="3653" y="1119"/>
                    </a:lnTo>
                    <a:lnTo>
                      <a:pt x="3699" y="1095"/>
                    </a:lnTo>
                    <a:lnTo>
                      <a:pt x="3858" y="1014"/>
                    </a:lnTo>
                    <a:lnTo>
                      <a:pt x="3858" y="941"/>
                    </a:lnTo>
                    <a:lnTo>
                      <a:pt x="4032" y="906"/>
                    </a:lnTo>
                    <a:lnTo>
                      <a:pt x="4032" y="1310"/>
                    </a:lnTo>
                    <a:lnTo>
                      <a:pt x="4436" y="1310"/>
                    </a:lnTo>
                    <a:lnTo>
                      <a:pt x="4436" y="906"/>
                    </a:lnTo>
                    <a:lnTo>
                      <a:pt x="4611" y="941"/>
                    </a:lnTo>
                    <a:lnTo>
                      <a:pt x="4611" y="1002"/>
                    </a:lnTo>
                    <a:lnTo>
                      <a:pt x="4792" y="1071"/>
                    </a:lnTo>
                    <a:lnTo>
                      <a:pt x="4835" y="1089"/>
                    </a:lnTo>
                    <a:lnTo>
                      <a:pt x="4876" y="1109"/>
                    </a:lnTo>
                    <a:lnTo>
                      <a:pt x="4915" y="1132"/>
                    </a:lnTo>
                    <a:lnTo>
                      <a:pt x="4951" y="1155"/>
                    </a:lnTo>
                    <a:lnTo>
                      <a:pt x="4984" y="1182"/>
                    </a:lnTo>
                    <a:lnTo>
                      <a:pt x="5015" y="1210"/>
                    </a:lnTo>
                    <a:lnTo>
                      <a:pt x="5040" y="1239"/>
                    </a:lnTo>
                    <a:lnTo>
                      <a:pt x="5052" y="1255"/>
                    </a:lnTo>
                    <a:lnTo>
                      <a:pt x="5061" y="1271"/>
                    </a:lnTo>
                    <a:lnTo>
                      <a:pt x="5258" y="1596"/>
                    </a:lnTo>
                    <a:lnTo>
                      <a:pt x="5267" y="1609"/>
                    </a:lnTo>
                    <a:lnTo>
                      <a:pt x="5276" y="1618"/>
                    </a:lnTo>
                    <a:lnTo>
                      <a:pt x="5285" y="1625"/>
                    </a:lnTo>
                    <a:lnTo>
                      <a:pt x="5294" y="1630"/>
                    </a:lnTo>
                    <a:lnTo>
                      <a:pt x="5307" y="1632"/>
                    </a:lnTo>
                    <a:lnTo>
                      <a:pt x="5319" y="1634"/>
                    </a:lnTo>
                    <a:lnTo>
                      <a:pt x="5349" y="1634"/>
                    </a:lnTo>
                    <a:lnTo>
                      <a:pt x="5615" y="1634"/>
                    </a:lnTo>
                    <a:close/>
                    <a:moveTo>
                      <a:pt x="5609" y="1765"/>
                    </a:moveTo>
                    <a:lnTo>
                      <a:pt x="5611" y="1705"/>
                    </a:lnTo>
                    <a:lnTo>
                      <a:pt x="5485" y="1705"/>
                    </a:lnTo>
                    <a:lnTo>
                      <a:pt x="5485" y="1776"/>
                    </a:lnTo>
                    <a:lnTo>
                      <a:pt x="5349" y="1776"/>
                    </a:lnTo>
                    <a:lnTo>
                      <a:pt x="5323" y="1776"/>
                    </a:lnTo>
                    <a:lnTo>
                      <a:pt x="5299" y="1774"/>
                    </a:lnTo>
                    <a:lnTo>
                      <a:pt x="5278" y="1771"/>
                    </a:lnTo>
                    <a:lnTo>
                      <a:pt x="5258" y="1767"/>
                    </a:lnTo>
                    <a:lnTo>
                      <a:pt x="5241" y="1762"/>
                    </a:lnTo>
                    <a:lnTo>
                      <a:pt x="5225" y="1755"/>
                    </a:lnTo>
                    <a:lnTo>
                      <a:pt x="5210" y="1746"/>
                    </a:lnTo>
                    <a:lnTo>
                      <a:pt x="5196" y="1737"/>
                    </a:lnTo>
                    <a:lnTo>
                      <a:pt x="5184" y="1726"/>
                    </a:lnTo>
                    <a:lnTo>
                      <a:pt x="5171" y="1716"/>
                    </a:lnTo>
                    <a:lnTo>
                      <a:pt x="5161" y="1701"/>
                    </a:lnTo>
                    <a:lnTo>
                      <a:pt x="5150" y="1687"/>
                    </a:lnTo>
                    <a:lnTo>
                      <a:pt x="5129" y="1655"/>
                    </a:lnTo>
                    <a:lnTo>
                      <a:pt x="5105" y="1618"/>
                    </a:lnTo>
                    <a:lnTo>
                      <a:pt x="4972" y="1401"/>
                    </a:lnTo>
                    <a:lnTo>
                      <a:pt x="4947" y="1361"/>
                    </a:lnTo>
                    <a:lnTo>
                      <a:pt x="4924" y="1329"/>
                    </a:lnTo>
                    <a:lnTo>
                      <a:pt x="4901" y="1303"/>
                    </a:lnTo>
                    <a:lnTo>
                      <a:pt x="4878" y="1280"/>
                    </a:lnTo>
                    <a:lnTo>
                      <a:pt x="4853" y="1260"/>
                    </a:lnTo>
                    <a:lnTo>
                      <a:pt x="4824" y="1242"/>
                    </a:lnTo>
                    <a:lnTo>
                      <a:pt x="4794" y="1226"/>
                    </a:lnTo>
                    <a:lnTo>
                      <a:pt x="4758" y="1210"/>
                    </a:lnTo>
                    <a:lnTo>
                      <a:pt x="4611" y="1153"/>
                    </a:lnTo>
                    <a:lnTo>
                      <a:pt x="4611" y="1377"/>
                    </a:lnTo>
                    <a:lnTo>
                      <a:pt x="4796" y="1903"/>
                    </a:lnTo>
                    <a:lnTo>
                      <a:pt x="4888" y="1952"/>
                    </a:lnTo>
                    <a:lnTo>
                      <a:pt x="4933" y="1975"/>
                    </a:lnTo>
                    <a:lnTo>
                      <a:pt x="4970" y="1993"/>
                    </a:lnTo>
                    <a:lnTo>
                      <a:pt x="5038" y="2024"/>
                    </a:lnTo>
                    <a:lnTo>
                      <a:pt x="5098" y="2047"/>
                    </a:lnTo>
                    <a:lnTo>
                      <a:pt x="5127" y="2056"/>
                    </a:lnTo>
                    <a:lnTo>
                      <a:pt x="5152" y="2063"/>
                    </a:lnTo>
                    <a:lnTo>
                      <a:pt x="5173" y="2066"/>
                    </a:lnTo>
                    <a:lnTo>
                      <a:pt x="5191" y="2068"/>
                    </a:lnTo>
                    <a:lnTo>
                      <a:pt x="5565" y="2066"/>
                    </a:lnTo>
                    <a:lnTo>
                      <a:pt x="5588" y="2066"/>
                    </a:lnTo>
                    <a:lnTo>
                      <a:pt x="5609" y="2063"/>
                    </a:lnTo>
                    <a:lnTo>
                      <a:pt x="5631" y="2059"/>
                    </a:lnTo>
                    <a:lnTo>
                      <a:pt x="5648" y="2054"/>
                    </a:lnTo>
                    <a:lnTo>
                      <a:pt x="5666" y="2047"/>
                    </a:lnTo>
                    <a:lnTo>
                      <a:pt x="5682" y="2038"/>
                    </a:lnTo>
                    <a:lnTo>
                      <a:pt x="5696" y="2029"/>
                    </a:lnTo>
                    <a:lnTo>
                      <a:pt x="5709" y="2018"/>
                    </a:lnTo>
                    <a:lnTo>
                      <a:pt x="5721" y="2006"/>
                    </a:lnTo>
                    <a:lnTo>
                      <a:pt x="5732" y="1993"/>
                    </a:lnTo>
                    <a:lnTo>
                      <a:pt x="5741" y="1979"/>
                    </a:lnTo>
                    <a:lnTo>
                      <a:pt x="5748" y="1965"/>
                    </a:lnTo>
                    <a:lnTo>
                      <a:pt x="5755" y="1951"/>
                    </a:lnTo>
                    <a:lnTo>
                      <a:pt x="5760" y="1935"/>
                    </a:lnTo>
                    <a:lnTo>
                      <a:pt x="5764" y="1920"/>
                    </a:lnTo>
                    <a:lnTo>
                      <a:pt x="5768" y="1904"/>
                    </a:lnTo>
                    <a:lnTo>
                      <a:pt x="5803" y="1705"/>
                    </a:lnTo>
                    <a:lnTo>
                      <a:pt x="5714" y="1705"/>
                    </a:lnTo>
                    <a:lnTo>
                      <a:pt x="5718" y="1769"/>
                    </a:lnTo>
                    <a:lnTo>
                      <a:pt x="5718" y="1778"/>
                    </a:lnTo>
                    <a:lnTo>
                      <a:pt x="5714" y="1783"/>
                    </a:lnTo>
                    <a:lnTo>
                      <a:pt x="5709" y="1789"/>
                    </a:lnTo>
                    <a:lnTo>
                      <a:pt x="5702" y="1794"/>
                    </a:lnTo>
                    <a:lnTo>
                      <a:pt x="5695" y="1796"/>
                    </a:lnTo>
                    <a:lnTo>
                      <a:pt x="5684" y="1797"/>
                    </a:lnTo>
                    <a:lnTo>
                      <a:pt x="5664" y="1799"/>
                    </a:lnTo>
                    <a:lnTo>
                      <a:pt x="5643" y="1796"/>
                    </a:lnTo>
                    <a:lnTo>
                      <a:pt x="5634" y="1792"/>
                    </a:lnTo>
                    <a:lnTo>
                      <a:pt x="5625" y="1789"/>
                    </a:lnTo>
                    <a:lnTo>
                      <a:pt x="5618" y="1783"/>
                    </a:lnTo>
                    <a:lnTo>
                      <a:pt x="5613" y="1778"/>
                    </a:lnTo>
                    <a:lnTo>
                      <a:pt x="5609" y="1773"/>
                    </a:lnTo>
                    <a:lnTo>
                      <a:pt x="5609" y="1765"/>
                    </a:lnTo>
                    <a:close/>
                    <a:moveTo>
                      <a:pt x="4069" y="1943"/>
                    </a:moveTo>
                    <a:lnTo>
                      <a:pt x="3505" y="1943"/>
                    </a:lnTo>
                    <a:lnTo>
                      <a:pt x="3505" y="2508"/>
                    </a:lnTo>
                    <a:lnTo>
                      <a:pt x="4069" y="2508"/>
                    </a:lnTo>
                    <a:lnTo>
                      <a:pt x="4069" y="1943"/>
                    </a:lnTo>
                    <a:close/>
                    <a:moveTo>
                      <a:pt x="3363" y="1943"/>
                    </a:moveTo>
                    <a:lnTo>
                      <a:pt x="3363" y="1943"/>
                    </a:lnTo>
                    <a:lnTo>
                      <a:pt x="3350" y="1943"/>
                    </a:lnTo>
                    <a:lnTo>
                      <a:pt x="3338" y="1945"/>
                    </a:lnTo>
                    <a:lnTo>
                      <a:pt x="3325" y="1949"/>
                    </a:lnTo>
                    <a:lnTo>
                      <a:pt x="3313" y="1954"/>
                    </a:lnTo>
                    <a:lnTo>
                      <a:pt x="3302" y="1959"/>
                    </a:lnTo>
                    <a:lnTo>
                      <a:pt x="3291" y="1965"/>
                    </a:lnTo>
                    <a:lnTo>
                      <a:pt x="3283" y="1974"/>
                    </a:lnTo>
                    <a:lnTo>
                      <a:pt x="3274" y="1981"/>
                    </a:lnTo>
                    <a:lnTo>
                      <a:pt x="3267" y="1990"/>
                    </a:lnTo>
                    <a:lnTo>
                      <a:pt x="3258" y="2000"/>
                    </a:lnTo>
                    <a:lnTo>
                      <a:pt x="3252" y="2011"/>
                    </a:lnTo>
                    <a:lnTo>
                      <a:pt x="3247" y="2022"/>
                    </a:lnTo>
                    <a:lnTo>
                      <a:pt x="3243" y="2032"/>
                    </a:lnTo>
                    <a:lnTo>
                      <a:pt x="3240" y="2045"/>
                    </a:lnTo>
                    <a:lnTo>
                      <a:pt x="3238" y="2057"/>
                    </a:lnTo>
                    <a:lnTo>
                      <a:pt x="3238" y="2072"/>
                    </a:lnTo>
                    <a:lnTo>
                      <a:pt x="3238" y="2084"/>
                    </a:lnTo>
                    <a:lnTo>
                      <a:pt x="3240" y="2096"/>
                    </a:lnTo>
                    <a:lnTo>
                      <a:pt x="3243" y="2109"/>
                    </a:lnTo>
                    <a:lnTo>
                      <a:pt x="3247" y="2120"/>
                    </a:lnTo>
                    <a:lnTo>
                      <a:pt x="3252" y="2130"/>
                    </a:lnTo>
                    <a:lnTo>
                      <a:pt x="3259" y="2141"/>
                    </a:lnTo>
                    <a:lnTo>
                      <a:pt x="3267" y="2152"/>
                    </a:lnTo>
                    <a:lnTo>
                      <a:pt x="3274" y="2161"/>
                    </a:lnTo>
                    <a:lnTo>
                      <a:pt x="3283" y="2168"/>
                    </a:lnTo>
                    <a:lnTo>
                      <a:pt x="3293" y="2177"/>
                    </a:lnTo>
                    <a:lnTo>
                      <a:pt x="3302" y="2182"/>
                    </a:lnTo>
                    <a:lnTo>
                      <a:pt x="3313" y="2187"/>
                    </a:lnTo>
                    <a:lnTo>
                      <a:pt x="3325" y="2193"/>
                    </a:lnTo>
                    <a:lnTo>
                      <a:pt x="3338" y="2196"/>
                    </a:lnTo>
                    <a:lnTo>
                      <a:pt x="3350" y="2198"/>
                    </a:lnTo>
                    <a:lnTo>
                      <a:pt x="3363" y="2198"/>
                    </a:lnTo>
                    <a:lnTo>
                      <a:pt x="3363" y="1943"/>
                    </a:lnTo>
                    <a:close/>
                    <a:moveTo>
                      <a:pt x="3363" y="2340"/>
                    </a:moveTo>
                    <a:lnTo>
                      <a:pt x="3363" y="2340"/>
                    </a:lnTo>
                    <a:lnTo>
                      <a:pt x="3336" y="2339"/>
                    </a:lnTo>
                    <a:lnTo>
                      <a:pt x="3309" y="2335"/>
                    </a:lnTo>
                    <a:lnTo>
                      <a:pt x="3283" y="2328"/>
                    </a:lnTo>
                    <a:lnTo>
                      <a:pt x="3258" y="2319"/>
                    </a:lnTo>
                    <a:lnTo>
                      <a:pt x="3234" y="2308"/>
                    </a:lnTo>
                    <a:lnTo>
                      <a:pt x="3213" y="2294"/>
                    </a:lnTo>
                    <a:lnTo>
                      <a:pt x="3192" y="2278"/>
                    </a:lnTo>
                    <a:lnTo>
                      <a:pt x="3174" y="2260"/>
                    </a:lnTo>
                    <a:lnTo>
                      <a:pt x="3156" y="2242"/>
                    </a:lnTo>
                    <a:lnTo>
                      <a:pt x="3140" y="2221"/>
                    </a:lnTo>
                    <a:lnTo>
                      <a:pt x="3128" y="2200"/>
                    </a:lnTo>
                    <a:lnTo>
                      <a:pt x="3115" y="2175"/>
                    </a:lnTo>
                    <a:lnTo>
                      <a:pt x="3106" y="2150"/>
                    </a:lnTo>
                    <a:lnTo>
                      <a:pt x="3101" y="2125"/>
                    </a:lnTo>
                    <a:lnTo>
                      <a:pt x="3096" y="2098"/>
                    </a:lnTo>
                    <a:lnTo>
                      <a:pt x="3096" y="2072"/>
                    </a:lnTo>
                    <a:lnTo>
                      <a:pt x="3096" y="2043"/>
                    </a:lnTo>
                    <a:lnTo>
                      <a:pt x="3101" y="2016"/>
                    </a:lnTo>
                    <a:lnTo>
                      <a:pt x="3106" y="1991"/>
                    </a:lnTo>
                    <a:lnTo>
                      <a:pt x="3115" y="1967"/>
                    </a:lnTo>
                    <a:lnTo>
                      <a:pt x="3128" y="1943"/>
                    </a:lnTo>
                    <a:lnTo>
                      <a:pt x="3140" y="1920"/>
                    </a:lnTo>
                    <a:lnTo>
                      <a:pt x="3156" y="1899"/>
                    </a:lnTo>
                    <a:lnTo>
                      <a:pt x="3174" y="1881"/>
                    </a:lnTo>
                    <a:lnTo>
                      <a:pt x="3192" y="1863"/>
                    </a:lnTo>
                    <a:lnTo>
                      <a:pt x="3213" y="1847"/>
                    </a:lnTo>
                    <a:lnTo>
                      <a:pt x="3234" y="1835"/>
                    </a:lnTo>
                    <a:lnTo>
                      <a:pt x="3258" y="1822"/>
                    </a:lnTo>
                    <a:lnTo>
                      <a:pt x="3283" y="1814"/>
                    </a:lnTo>
                    <a:lnTo>
                      <a:pt x="3309" y="1806"/>
                    </a:lnTo>
                    <a:lnTo>
                      <a:pt x="3336" y="1803"/>
                    </a:lnTo>
                    <a:lnTo>
                      <a:pt x="3363" y="1801"/>
                    </a:lnTo>
                    <a:lnTo>
                      <a:pt x="3364" y="1801"/>
                    </a:lnTo>
                    <a:lnTo>
                      <a:pt x="4212" y="1801"/>
                    </a:lnTo>
                    <a:lnTo>
                      <a:pt x="4212" y="2643"/>
                    </a:lnTo>
                    <a:lnTo>
                      <a:pt x="5695" y="2643"/>
                    </a:lnTo>
                    <a:lnTo>
                      <a:pt x="5734" y="2643"/>
                    </a:lnTo>
                    <a:lnTo>
                      <a:pt x="5771" y="2645"/>
                    </a:lnTo>
                    <a:lnTo>
                      <a:pt x="5810" y="2646"/>
                    </a:lnTo>
                    <a:lnTo>
                      <a:pt x="5849" y="2652"/>
                    </a:lnTo>
                    <a:lnTo>
                      <a:pt x="5887" y="2655"/>
                    </a:lnTo>
                    <a:lnTo>
                      <a:pt x="5924" y="2662"/>
                    </a:lnTo>
                    <a:lnTo>
                      <a:pt x="5999" y="2677"/>
                    </a:lnTo>
                    <a:lnTo>
                      <a:pt x="6070" y="2696"/>
                    </a:lnTo>
                    <a:lnTo>
                      <a:pt x="6141" y="2718"/>
                    </a:lnTo>
                    <a:lnTo>
                      <a:pt x="6211" y="2744"/>
                    </a:lnTo>
                    <a:lnTo>
                      <a:pt x="6279" y="2775"/>
                    </a:lnTo>
                    <a:lnTo>
                      <a:pt x="6344" y="2808"/>
                    </a:lnTo>
                    <a:lnTo>
                      <a:pt x="6407" y="2846"/>
                    </a:lnTo>
                    <a:lnTo>
                      <a:pt x="6467" y="2885"/>
                    </a:lnTo>
                    <a:lnTo>
                      <a:pt x="6526" y="2929"/>
                    </a:lnTo>
                    <a:lnTo>
                      <a:pt x="6583" y="2976"/>
                    </a:lnTo>
                    <a:lnTo>
                      <a:pt x="6636" y="3024"/>
                    </a:lnTo>
                    <a:lnTo>
                      <a:pt x="6688" y="3075"/>
                    </a:lnTo>
                    <a:lnTo>
                      <a:pt x="6736" y="3130"/>
                    </a:lnTo>
                    <a:lnTo>
                      <a:pt x="6533" y="3333"/>
                    </a:lnTo>
                    <a:lnTo>
                      <a:pt x="6494" y="3287"/>
                    </a:lnTo>
                    <a:lnTo>
                      <a:pt x="6455" y="3244"/>
                    </a:lnTo>
                    <a:lnTo>
                      <a:pt x="6412" y="3203"/>
                    </a:lnTo>
                    <a:lnTo>
                      <a:pt x="6368" y="3166"/>
                    </a:lnTo>
                    <a:lnTo>
                      <a:pt x="6319" y="3129"/>
                    </a:lnTo>
                    <a:lnTo>
                      <a:pt x="6271" y="3097"/>
                    </a:lnTo>
                    <a:lnTo>
                      <a:pt x="6220" y="3065"/>
                    </a:lnTo>
                    <a:lnTo>
                      <a:pt x="6168" y="3038"/>
                    </a:lnTo>
                    <a:lnTo>
                      <a:pt x="6113" y="3013"/>
                    </a:lnTo>
                    <a:lnTo>
                      <a:pt x="6058" y="2990"/>
                    </a:lnTo>
                    <a:lnTo>
                      <a:pt x="5999" y="2972"/>
                    </a:lnTo>
                    <a:lnTo>
                      <a:pt x="5940" y="2956"/>
                    </a:lnTo>
                    <a:lnTo>
                      <a:pt x="5882" y="2944"/>
                    </a:lnTo>
                    <a:lnTo>
                      <a:pt x="5819" y="2935"/>
                    </a:lnTo>
                    <a:lnTo>
                      <a:pt x="5757" y="2929"/>
                    </a:lnTo>
                    <a:lnTo>
                      <a:pt x="5695" y="2928"/>
                    </a:lnTo>
                    <a:lnTo>
                      <a:pt x="947" y="2928"/>
                    </a:lnTo>
                    <a:lnTo>
                      <a:pt x="662" y="2643"/>
                    </a:lnTo>
                    <a:lnTo>
                      <a:pt x="3363" y="2643"/>
                    </a:lnTo>
                    <a:lnTo>
                      <a:pt x="3363" y="2340"/>
                    </a:lnTo>
                    <a:close/>
                  </a:path>
                </a:pathLst>
              </a:custGeom>
              <a:solidFill>
                <a:srgbClr val="000000"/>
              </a:solidFill>
              <a:ln w="9525">
                <a:noFill/>
                <a:round/>
                <a:headEnd/>
                <a:tailEnd/>
              </a:ln>
            </p:spPr>
            <p:txBody>
              <a:bodyPr vert="horz" wrap="square" lIns="91440" tIns="45720" rIns="91440" bIns="45720" anchor="t"/>
              <a:lstStyle/>
              <a:p>
                <a:pPr defTabSz="914077"/>
                <a:endParaRPr lang="de-DE">
                  <a:solidFill>
                    <a:srgbClr val="000000"/>
                  </a:solidFill>
                </a:endParaRPr>
              </a:p>
            </p:txBody>
          </p:sp>
        </p:grpSp>
      </p:grpSp>
      <p:grpSp>
        <p:nvGrpSpPr>
          <p:cNvPr id="4" name="Group 3"/>
          <p:cNvGrpSpPr/>
          <p:nvPr/>
        </p:nvGrpSpPr>
        <p:grpSpPr>
          <a:xfrm>
            <a:off x="8663662" y="3070230"/>
            <a:ext cx="2186052" cy="624223"/>
            <a:chOff x="8422480" y="4363435"/>
            <a:chExt cx="2186052" cy="624223"/>
          </a:xfrm>
        </p:grpSpPr>
        <p:sp>
          <p:nvSpPr>
            <p:cNvPr id="70" name="Rectangle 69"/>
            <p:cNvSpPr/>
            <p:nvPr/>
          </p:nvSpPr>
          <p:spPr>
            <a:xfrm>
              <a:off x="8422480" y="4451825"/>
              <a:ext cx="1305291" cy="447443"/>
            </a:xfrm>
            <a:prstGeom prst="rect">
              <a:avLst/>
            </a:prstGeom>
          </p:spPr>
          <p:txBody>
            <a:bodyPr wrap="square" lIns="0" tIns="0" rIns="0" bIns="0">
              <a:spAutoFit/>
            </a:bodyPr>
            <a:lstStyle/>
            <a:p>
              <a:pPr algn="r"/>
              <a:r>
                <a:rPr lang="en-IN" sz="1599" b="1" spc="-30" dirty="0">
                  <a:solidFill>
                    <a:schemeClr val="bg1"/>
                  </a:solidFill>
                  <a:latin typeface="+mj-lt"/>
                </a:rPr>
                <a:t>Culture and talent</a:t>
              </a:r>
            </a:p>
          </p:txBody>
        </p:sp>
        <p:grpSp>
          <p:nvGrpSpPr>
            <p:cNvPr id="89" name="Group 88"/>
            <p:cNvGrpSpPr/>
            <p:nvPr/>
          </p:nvGrpSpPr>
          <p:grpSpPr>
            <a:xfrm>
              <a:off x="9921883" y="4363435"/>
              <a:ext cx="686649" cy="624223"/>
              <a:chOff x="4634169" y="4149630"/>
              <a:chExt cx="913929" cy="913925"/>
            </a:xfrm>
          </p:grpSpPr>
          <p:sp>
            <p:nvSpPr>
              <p:cNvPr id="90" name="Oval 89"/>
              <p:cNvSpPr>
                <a:spLocks noChangeAspect="1"/>
              </p:cNvSpPr>
              <p:nvPr/>
            </p:nvSpPr>
            <p:spPr>
              <a:xfrm>
                <a:off x="4634169" y="4149630"/>
                <a:ext cx="913929" cy="913925"/>
              </a:xfrm>
              <a:prstGeom prst="ellipse">
                <a:avLst/>
              </a:prstGeom>
              <a:solidFill>
                <a:srgbClr val="FFE600"/>
              </a:solidFill>
              <a:ln w="57150" cap="flat" cmpd="sng" algn="ctr">
                <a:solidFill>
                  <a:srgbClr val="FFFFFF"/>
                </a:solidFill>
                <a:prstDash val="solid"/>
              </a:ln>
              <a:effectLst/>
            </p:spPr>
            <p:txBody>
              <a:bodyPr rtlCol="0" anchor="ctr"/>
              <a:lstStyle/>
              <a:p>
                <a:pPr algn="ctr">
                  <a:defRPr/>
                </a:pPr>
                <a:endParaRPr lang="en-US" sz="1599" kern="0" dirty="0">
                  <a:solidFill>
                    <a:srgbClr val="FFFFFF"/>
                  </a:solidFill>
                  <a:latin typeface="Arial"/>
                </a:endParaRPr>
              </a:p>
            </p:txBody>
          </p:sp>
          <p:grpSp>
            <p:nvGrpSpPr>
              <p:cNvPr id="91" name="Group 90"/>
              <p:cNvGrpSpPr>
                <a:grpSpLocks noChangeAspect="1"/>
              </p:cNvGrpSpPr>
              <p:nvPr/>
            </p:nvGrpSpPr>
            <p:grpSpPr>
              <a:xfrm>
                <a:off x="4797674" y="4308425"/>
                <a:ext cx="600232" cy="548641"/>
                <a:chOff x="9486975" y="1595709"/>
                <a:chExt cx="472624" cy="432000"/>
              </a:xfrm>
              <a:solidFill>
                <a:schemeClr val="tx2"/>
              </a:solidFill>
            </p:grpSpPr>
            <p:sp>
              <p:nvSpPr>
                <p:cNvPr id="92" name="Freeform 140"/>
                <p:cNvSpPr>
                  <a:spLocks/>
                </p:cNvSpPr>
                <p:nvPr/>
              </p:nvSpPr>
              <p:spPr bwMode="auto">
                <a:xfrm>
                  <a:off x="9832214" y="1760016"/>
                  <a:ext cx="127385" cy="264001"/>
                </a:xfrm>
                <a:custGeom>
                  <a:avLst/>
                  <a:gdLst>
                    <a:gd name="T0" fmla="*/ 362 w 424"/>
                    <a:gd name="T1" fmla="*/ 0 h 879"/>
                    <a:gd name="T2" fmla="*/ 362 w 424"/>
                    <a:gd name="T3" fmla="*/ 0 h 879"/>
                    <a:gd name="T4" fmla="*/ 362 w 424"/>
                    <a:gd name="T5" fmla="*/ 0 h 879"/>
                    <a:gd name="T6" fmla="*/ 295 w 424"/>
                    <a:gd name="T7" fmla="*/ 0 h 879"/>
                    <a:gd name="T8" fmla="*/ 253 w 424"/>
                    <a:gd name="T9" fmla="*/ 67 h 879"/>
                    <a:gd name="T10" fmla="*/ 212 w 424"/>
                    <a:gd name="T11" fmla="*/ 0 h 879"/>
                    <a:gd name="T12" fmla="*/ 212 w 424"/>
                    <a:gd name="T13" fmla="*/ 0 h 879"/>
                    <a:gd name="T14" fmla="*/ 170 w 424"/>
                    <a:gd name="T15" fmla="*/ 67 h 879"/>
                    <a:gd name="T16" fmla="*/ 128 w 424"/>
                    <a:gd name="T17" fmla="*/ 0 h 879"/>
                    <a:gd name="T18" fmla="*/ 62 w 424"/>
                    <a:gd name="T19" fmla="*/ 0 h 879"/>
                    <a:gd name="T20" fmla="*/ 62 w 424"/>
                    <a:gd name="T21" fmla="*/ 1 h 879"/>
                    <a:gd name="T22" fmla="*/ 62 w 424"/>
                    <a:gd name="T23" fmla="*/ 0 h 879"/>
                    <a:gd name="T24" fmla="*/ 0 w 424"/>
                    <a:gd name="T25" fmla="*/ 62 h 879"/>
                    <a:gd name="T26" fmla="*/ 0 w 424"/>
                    <a:gd name="T27" fmla="*/ 120 h 879"/>
                    <a:gd name="T28" fmla="*/ 0 w 424"/>
                    <a:gd name="T29" fmla="*/ 306 h 879"/>
                    <a:gd name="T30" fmla="*/ 0 w 424"/>
                    <a:gd name="T31" fmla="*/ 363 h 879"/>
                    <a:gd name="T32" fmla="*/ 62 w 424"/>
                    <a:gd name="T33" fmla="*/ 425 h 879"/>
                    <a:gd name="T34" fmla="*/ 62 w 424"/>
                    <a:gd name="T35" fmla="*/ 425 h 879"/>
                    <a:gd name="T36" fmla="*/ 62 w 424"/>
                    <a:gd name="T37" fmla="*/ 425 h 879"/>
                    <a:gd name="T38" fmla="*/ 62 w 424"/>
                    <a:gd name="T39" fmla="*/ 810 h 879"/>
                    <a:gd name="T40" fmla="*/ 131 w 424"/>
                    <a:gd name="T41" fmla="*/ 879 h 879"/>
                    <a:gd name="T42" fmla="*/ 199 w 424"/>
                    <a:gd name="T43" fmla="*/ 810 h 879"/>
                    <a:gd name="T44" fmla="*/ 199 w 424"/>
                    <a:gd name="T45" fmla="*/ 425 h 879"/>
                    <a:gd name="T46" fmla="*/ 224 w 424"/>
                    <a:gd name="T47" fmla="*/ 425 h 879"/>
                    <a:gd name="T48" fmla="*/ 224 w 424"/>
                    <a:gd name="T49" fmla="*/ 811 h 879"/>
                    <a:gd name="T50" fmla="*/ 293 w 424"/>
                    <a:gd name="T51" fmla="*/ 879 h 879"/>
                    <a:gd name="T52" fmla="*/ 362 w 424"/>
                    <a:gd name="T53" fmla="*/ 811 h 879"/>
                    <a:gd name="T54" fmla="*/ 362 w 424"/>
                    <a:gd name="T55" fmla="*/ 425 h 879"/>
                    <a:gd name="T56" fmla="*/ 362 w 424"/>
                    <a:gd name="T57" fmla="*/ 425 h 879"/>
                    <a:gd name="T58" fmla="*/ 362 w 424"/>
                    <a:gd name="T59" fmla="*/ 425 h 879"/>
                    <a:gd name="T60" fmla="*/ 424 w 424"/>
                    <a:gd name="T61" fmla="*/ 363 h 879"/>
                    <a:gd name="T62" fmla="*/ 424 w 424"/>
                    <a:gd name="T63" fmla="*/ 306 h 879"/>
                    <a:gd name="T64" fmla="*/ 424 w 424"/>
                    <a:gd name="T65" fmla="*/ 120 h 879"/>
                    <a:gd name="T66" fmla="*/ 424 w 424"/>
                    <a:gd name="T67" fmla="*/ 62 h 879"/>
                    <a:gd name="T68" fmla="*/ 362 w 424"/>
                    <a:gd name="T69"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4" h="879">
                      <a:moveTo>
                        <a:pt x="362" y="0"/>
                      </a:moveTo>
                      <a:cubicBezTo>
                        <a:pt x="362" y="0"/>
                        <a:pt x="362" y="0"/>
                        <a:pt x="362" y="0"/>
                      </a:cubicBezTo>
                      <a:cubicBezTo>
                        <a:pt x="362" y="0"/>
                        <a:pt x="362" y="0"/>
                        <a:pt x="362" y="0"/>
                      </a:cubicBezTo>
                      <a:cubicBezTo>
                        <a:pt x="295" y="0"/>
                        <a:pt x="295" y="0"/>
                        <a:pt x="295" y="0"/>
                      </a:cubicBezTo>
                      <a:cubicBezTo>
                        <a:pt x="253" y="67"/>
                        <a:pt x="253" y="67"/>
                        <a:pt x="253" y="67"/>
                      </a:cubicBezTo>
                      <a:cubicBezTo>
                        <a:pt x="212" y="0"/>
                        <a:pt x="212" y="0"/>
                        <a:pt x="212" y="0"/>
                      </a:cubicBezTo>
                      <a:cubicBezTo>
                        <a:pt x="212" y="0"/>
                        <a:pt x="212" y="0"/>
                        <a:pt x="212" y="0"/>
                      </a:cubicBezTo>
                      <a:cubicBezTo>
                        <a:pt x="170" y="67"/>
                        <a:pt x="170" y="67"/>
                        <a:pt x="170" y="67"/>
                      </a:cubicBezTo>
                      <a:cubicBezTo>
                        <a:pt x="128" y="0"/>
                        <a:pt x="128" y="0"/>
                        <a:pt x="128" y="0"/>
                      </a:cubicBezTo>
                      <a:cubicBezTo>
                        <a:pt x="62" y="0"/>
                        <a:pt x="62" y="0"/>
                        <a:pt x="62" y="0"/>
                      </a:cubicBezTo>
                      <a:cubicBezTo>
                        <a:pt x="62" y="1"/>
                        <a:pt x="62" y="1"/>
                        <a:pt x="62" y="1"/>
                      </a:cubicBezTo>
                      <a:cubicBezTo>
                        <a:pt x="62" y="1"/>
                        <a:pt x="62" y="0"/>
                        <a:pt x="62" y="0"/>
                      </a:cubicBezTo>
                      <a:cubicBezTo>
                        <a:pt x="27" y="0"/>
                        <a:pt x="0" y="28"/>
                        <a:pt x="0" y="62"/>
                      </a:cubicBezTo>
                      <a:cubicBezTo>
                        <a:pt x="0" y="120"/>
                        <a:pt x="0" y="120"/>
                        <a:pt x="0" y="120"/>
                      </a:cubicBezTo>
                      <a:cubicBezTo>
                        <a:pt x="0" y="306"/>
                        <a:pt x="0" y="306"/>
                        <a:pt x="0" y="306"/>
                      </a:cubicBezTo>
                      <a:cubicBezTo>
                        <a:pt x="0" y="363"/>
                        <a:pt x="0" y="363"/>
                        <a:pt x="0" y="363"/>
                      </a:cubicBezTo>
                      <a:cubicBezTo>
                        <a:pt x="0" y="397"/>
                        <a:pt x="27" y="425"/>
                        <a:pt x="62" y="425"/>
                      </a:cubicBezTo>
                      <a:cubicBezTo>
                        <a:pt x="62" y="425"/>
                        <a:pt x="62" y="425"/>
                        <a:pt x="62" y="425"/>
                      </a:cubicBezTo>
                      <a:cubicBezTo>
                        <a:pt x="62" y="425"/>
                        <a:pt x="62" y="425"/>
                        <a:pt x="62" y="425"/>
                      </a:cubicBezTo>
                      <a:cubicBezTo>
                        <a:pt x="62" y="810"/>
                        <a:pt x="62" y="810"/>
                        <a:pt x="62" y="810"/>
                      </a:cubicBezTo>
                      <a:cubicBezTo>
                        <a:pt x="62" y="848"/>
                        <a:pt x="93" y="879"/>
                        <a:pt x="131" y="879"/>
                      </a:cubicBezTo>
                      <a:cubicBezTo>
                        <a:pt x="169" y="879"/>
                        <a:pt x="199" y="848"/>
                        <a:pt x="199" y="810"/>
                      </a:cubicBezTo>
                      <a:cubicBezTo>
                        <a:pt x="199" y="425"/>
                        <a:pt x="199" y="425"/>
                        <a:pt x="199" y="425"/>
                      </a:cubicBezTo>
                      <a:cubicBezTo>
                        <a:pt x="224" y="425"/>
                        <a:pt x="224" y="425"/>
                        <a:pt x="224" y="425"/>
                      </a:cubicBezTo>
                      <a:cubicBezTo>
                        <a:pt x="224" y="811"/>
                        <a:pt x="224" y="811"/>
                        <a:pt x="224" y="811"/>
                      </a:cubicBezTo>
                      <a:cubicBezTo>
                        <a:pt x="224" y="849"/>
                        <a:pt x="255" y="879"/>
                        <a:pt x="293" y="879"/>
                      </a:cubicBezTo>
                      <a:cubicBezTo>
                        <a:pt x="331" y="879"/>
                        <a:pt x="362" y="849"/>
                        <a:pt x="362" y="811"/>
                      </a:cubicBezTo>
                      <a:cubicBezTo>
                        <a:pt x="362" y="425"/>
                        <a:pt x="362" y="425"/>
                        <a:pt x="362" y="425"/>
                      </a:cubicBezTo>
                      <a:cubicBezTo>
                        <a:pt x="362" y="425"/>
                        <a:pt x="362" y="425"/>
                        <a:pt x="362" y="425"/>
                      </a:cubicBezTo>
                      <a:cubicBezTo>
                        <a:pt x="362" y="425"/>
                        <a:pt x="362" y="425"/>
                        <a:pt x="362" y="425"/>
                      </a:cubicBezTo>
                      <a:cubicBezTo>
                        <a:pt x="396" y="425"/>
                        <a:pt x="424" y="397"/>
                        <a:pt x="424" y="363"/>
                      </a:cubicBezTo>
                      <a:cubicBezTo>
                        <a:pt x="424" y="306"/>
                        <a:pt x="424" y="306"/>
                        <a:pt x="424" y="306"/>
                      </a:cubicBezTo>
                      <a:cubicBezTo>
                        <a:pt x="424" y="120"/>
                        <a:pt x="424" y="120"/>
                        <a:pt x="424" y="120"/>
                      </a:cubicBezTo>
                      <a:cubicBezTo>
                        <a:pt x="424" y="62"/>
                        <a:pt x="424" y="62"/>
                        <a:pt x="424" y="62"/>
                      </a:cubicBezTo>
                      <a:cubicBezTo>
                        <a:pt x="424" y="28"/>
                        <a:pt x="396" y="0"/>
                        <a:pt x="3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368" dirty="0">
                    <a:solidFill>
                      <a:srgbClr val="646464"/>
                    </a:solidFill>
                  </a:endParaRPr>
                </a:p>
              </p:txBody>
            </p:sp>
            <p:sp>
              <p:nvSpPr>
                <p:cNvPr id="93" name="Oval 141"/>
                <p:cNvSpPr>
                  <a:spLocks noChangeArrowheads="1"/>
                </p:cNvSpPr>
                <p:nvPr/>
              </p:nvSpPr>
              <p:spPr bwMode="auto">
                <a:xfrm>
                  <a:off x="9863592" y="1689862"/>
                  <a:ext cx="66462" cy="66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368" dirty="0">
                    <a:solidFill>
                      <a:srgbClr val="646464"/>
                    </a:solidFill>
                  </a:endParaRPr>
                </a:p>
              </p:txBody>
            </p:sp>
            <p:sp>
              <p:nvSpPr>
                <p:cNvPr id="94" name="Freeform 142"/>
                <p:cNvSpPr>
                  <a:spLocks/>
                </p:cNvSpPr>
                <p:nvPr/>
              </p:nvSpPr>
              <p:spPr bwMode="auto">
                <a:xfrm>
                  <a:off x="9486975" y="1760018"/>
                  <a:ext cx="129231" cy="264001"/>
                </a:xfrm>
                <a:custGeom>
                  <a:avLst/>
                  <a:gdLst>
                    <a:gd name="T0" fmla="*/ 362 w 424"/>
                    <a:gd name="T1" fmla="*/ 0 h 879"/>
                    <a:gd name="T2" fmla="*/ 362 w 424"/>
                    <a:gd name="T3" fmla="*/ 0 h 879"/>
                    <a:gd name="T4" fmla="*/ 362 w 424"/>
                    <a:gd name="T5" fmla="*/ 0 h 879"/>
                    <a:gd name="T6" fmla="*/ 295 w 424"/>
                    <a:gd name="T7" fmla="*/ 0 h 879"/>
                    <a:gd name="T8" fmla="*/ 253 w 424"/>
                    <a:gd name="T9" fmla="*/ 67 h 879"/>
                    <a:gd name="T10" fmla="*/ 212 w 424"/>
                    <a:gd name="T11" fmla="*/ 0 h 879"/>
                    <a:gd name="T12" fmla="*/ 211 w 424"/>
                    <a:gd name="T13" fmla="*/ 0 h 879"/>
                    <a:gd name="T14" fmla="*/ 170 w 424"/>
                    <a:gd name="T15" fmla="*/ 67 h 879"/>
                    <a:gd name="T16" fmla="*/ 128 w 424"/>
                    <a:gd name="T17" fmla="*/ 0 h 879"/>
                    <a:gd name="T18" fmla="*/ 62 w 424"/>
                    <a:gd name="T19" fmla="*/ 0 h 879"/>
                    <a:gd name="T20" fmla="*/ 62 w 424"/>
                    <a:gd name="T21" fmla="*/ 1 h 879"/>
                    <a:gd name="T22" fmla="*/ 61 w 424"/>
                    <a:gd name="T23" fmla="*/ 0 h 879"/>
                    <a:gd name="T24" fmla="*/ 0 w 424"/>
                    <a:gd name="T25" fmla="*/ 62 h 879"/>
                    <a:gd name="T26" fmla="*/ 0 w 424"/>
                    <a:gd name="T27" fmla="*/ 120 h 879"/>
                    <a:gd name="T28" fmla="*/ 0 w 424"/>
                    <a:gd name="T29" fmla="*/ 306 h 879"/>
                    <a:gd name="T30" fmla="*/ 0 w 424"/>
                    <a:gd name="T31" fmla="*/ 363 h 879"/>
                    <a:gd name="T32" fmla="*/ 61 w 424"/>
                    <a:gd name="T33" fmla="*/ 425 h 879"/>
                    <a:gd name="T34" fmla="*/ 62 w 424"/>
                    <a:gd name="T35" fmla="*/ 425 h 879"/>
                    <a:gd name="T36" fmla="*/ 62 w 424"/>
                    <a:gd name="T37" fmla="*/ 425 h 879"/>
                    <a:gd name="T38" fmla="*/ 62 w 424"/>
                    <a:gd name="T39" fmla="*/ 810 h 879"/>
                    <a:gd name="T40" fmla="*/ 131 w 424"/>
                    <a:gd name="T41" fmla="*/ 879 h 879"/>
                    <a:gd name="T42" fmla="*/ 199 w 424"/>
                    <a:gd name="T43" fmla="*/ 810 h 879"/>
                    <a:gd name="T44" fmla="*/ 199 w 424"/>
                    <a:gd name="T45" fmla="*/ 425 h 879"/>
                    <a:gd name="T46" fmla="*/ 224 w 424"/>
                    <a:gd name="T47" fmla="*/ 425 h 879"/>
                    <a:gd name="T48" fmla="*/ 224 w 424"/>
                    <a:gd name="T49" fmla="*/ 811 h 879"/>
                    <a:gd name="T50" fmla="*/ 293 w 424"/>
                    <a:gd name="T51" fmla="*/ 879 h 879"/>
                    <a:gd name="T52" fmla="*/ 362 w 424"/>
                    <a:gd name="T53" fmla="*/ 811 h 879"/>
                    <a:gd name="T54" fmla="*/ 362 w 424"/>
                    <a:gd name="T55" fmla="*/ 425 h 879"/>
                    <a:gd name="T56" fmla="*/ 362 w 424"/>
                    <a:gd name="T57" fmla="*/ 425 h 879"/>
                    <a:gd name="T58" fmla="*/ 362 w 424"/>
                    <a:gd name="T59" fmla="*/ 425 h 879"/>
                    <a:gd name="T60" fmla="*/ 424 w 424"/>
                    <a:gd name="T61" fmla="*/ 363 h 879"/>
                    <a:gd name="T62" fmla="*/ 424 w 424"/>
                    <a:gd name="T63" fmla="*/ 306 h 879"/>
                    <a:gd name="T64" fmla="*/ 424 w 424"/>
                    <a:gd name="T65" fmla="*/ 120 h 879"/>
                    <a:gd name="T66" fmla="*/ 424 w 424"/>
                    <a:gd name="T67" fmla="*/ 62 h 879"/>
                    <a:gd name="T68" fmla="*/ 362 w 424"/>
                    <a:gd name="T69"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4" h="879">
                      <a:moveTo>
                        <a:pt x="362" y="0"/>
                      </a:moveTo>
                      <a:cubicBezTo>
                        <a:pt x="362" y="0"/>
                        <a:pt x="362" y="0"/>
                        <a:pt x="362" y="0"/>
                      </a:cubicBezTo>
                      <a:cubicBezTo>
                        <a:pt x="362" y="0"/>
                        <a:pt x="362" y="0"/>
                        <a:pt x="362" y="0"/>
                      </a:cubicBezTo>
                      <a:cubicBezTo>
                        <a:pt x="295" y="0"/>
                        <a:pt x="295" y="0"/>
                        <a:pt x="295" y="0"/>
                      </a:cubicBezTo>
                      <a:cubicBezTo>
                        <a:pt x="253" y="67"/>
                        <a:pt x="253" y="67"/>
                        <a:pt x="253" y="67"/>
                      </a:cubicBezTo>
                      <a:cubicBezTo>
                        <a:pt x="212" y="0"/>
                        <a:pt x="212" y="0"/>
                        <a:pt x="212" y="0"/>
                      </a:cubicBezTo>
                      <a:cubicBezTo>
                        <a:pt x="211" y="0"/>
                        <a:pt x="211" y="0"/>
                        <a:pt x="211" y="0"/>
                      </a:cubicBezTo>
                      <a:cubicBezTo>
                        <a:pt x="170" y="67"/>
                        <a:pt x="170" y="67"/>
                        <a:pt x="170" y="67"/>
                      </a:cubicBezTo>
                      <a:cubicBezTo>
                        <a:pt x="128" y="0"/>
                        <a:pt x="128" y="0"/>
                        <a:pt x="128" y="0"/>
                      </a:cubicBezTo>
                      <a:cubicBezTo>
                        <a:pt x="62" y="0"/>
                        <a:pt x="62" y="0"/>
                        <a:pt x="62" y="0"/>
                      </a:cubicBezTo>
                      <a:cubicBezTo>
                        <a:pt x="62" y="1"/>
                        <a:pt x="62" y="1"/>
                        <a:pt x="62" y="1"/>
                      </a:cubicBezTo>
                      <a:cubicBezTo>
                        <a:pt x="62" y="1"/>
                        <a:pt x="62" y="0"/>
                        <a:pt x="61" y="0"/>
                      </a:cubicBezTo>
                      <a:cubicBezTo>
                        <a:pt x="27" y="0"/>
                        <a:pt x="0" y="28"/>
                        <a:pt x="0" y="62"/>
                      </a:cubicBezTo>
                      <a:cubicBezTo>
                        <a:pt x="0" y="120"/>
                        <a:pt x="0" y="120"/>
                        <a:pt x="0" y="120"/>
                      </a:cubicBezTo>
                      <a:cubicBezTo>
                        <a:pt x="0" y="306"/>
                        <a:pt x="0" y="306"/>
                        <a:pt x="0" y="306"/>
                      </a:cubicBezTo>
                      <a:cubicBezTo>
                        <a:pt x="0" y="363"/>
                        <a:pt x="0" y="363"/>
                        <a:pt x="0" y="363"/>
                      </a:cubicBezTo>
                      <a:cubicBezTo>
                        <a:pt x="0" y="397"/>
                        <a:pt x="27" y="425"/>
                        <a:pt x="61" y="425"/>
                      </a:cubicBezTo>
                      <a:cubicBezTo>
                        <a:pt x="62" y="425"/>
                        <a:pt x="62" y="425"/>
                        <a:pt x="62" y="425"/>
                      </a:cubicBezTo>
                      <a:cubicBezTo>
                        <a:pt x="62" y="425"/>
                        <a:pt x="62" y="425"/>
                        <a:pt x="62" y="425"/>
                      </a:cubicBezTo>
                      <a:cubicBezTo>
                        <a:pt x="62" y="810"/>
                        <a:pt x="62" y="810"/>
                        <a:pt x="62" y="810"/>
                      </a:cubicBezTo>
                      <a:cubicBezTo>
                        <a:pt x="62" y="848"/>
                        <a:pt x="93" y="879"/>
                        <a:pt x="131" y="879"/>
                      </a:cubicBezTo>
                      <a:cubicBezTo>
                        <a:pt x="169" y="879"/>
                        <a:pt x="199" y="848"/>
                        <a:pt x="199" y="810"/>
                      </a:cubicBezTo>
                      <a:cubicBezTo>
                        <a:pt x="199" y="425"/>
                        <a:pt x="199" y="425"/>
                        <a:pt x="199" y="425"/>
                      </a:cubicBezTo>
                      <a:cubicBezTo>
                        <a:pt x="224" y="425"/>
                        <a:pt x="224" y="425"/>
                        <a:pt x="224" y="425"/>
                      </a:cubicBezTo>
                      <a:cubicBezTo>
                        <a:pt x="224" y="811"/>
                        <a:pt x="224" y="811"/>
                        <a:pt x="224" y="811"/>
                      </a:cubicBezTo>
                      <a:cubicBezTo>
                        <a:pt x="224" y="849"/>
                        <a:pt x="255" y="879"/>
                        <a:pt x="293" y="879"/>
                      </a:cubicBezTo>
                      <a:cubicBezTo>
                        <a:pt x="331" y="879"/>
                        <a:pt x="362" y="849"/>
                        <a:pt x="362" y="811"/>
                      </a:cubicBezTo>
                      <a:cubicBezTo>
                        <a:pt x="362" y="425"/>
                        <a:pt x="362" y="425"/>
                        <a:pt x="362" y="425"/>
                      </a:cubicBezTo>
                      <a:cubicBezTo>
                        <a:pt x="362" y="425"/>
                        <a:pt x="362" y="425"/>
                        <a:pt x="362" y="425"/>
                      </a:cubicBezTo>
                      <a:cubicBezTo>
                        <a:pt x="362" y="425"/>
                        <a:pt x="362" y="425"/>
                        <a:pt x="362" y="425"/>
                      </a:cubicBezTo>
                      <a:cubicBezTo>
                        <a:pt x="396" y="425"/>
                        <a:pt x="424" y="397"/>
                        <a:pt x="424" y="363"/>
                      </a:cubicBezTo>
                      <a:cubicBezTo>
                        <a:pt x="424" y="306"/>
                        <a:pt x="424" y="306"/>
                        <a:pt x="424" y="306"/>
                      </a:cubicBezTo>
                      <a:cubicBezTo>
                        <a:pt x="424" y="120"/>
                        <a:pt x="424" y="120"/>
                        <a:pt x="424" y="120"/>
                      </a:cubicBezTo>
                      <a:cubicBezTo>
                        <a:pt x="424" y="62"/>
                        <a:pt x="424" y="62"/>
                        <a:pt x="424" y="62"/>
                      </a:cubicBezTo>
                      <a:cubicBezTo>
                        <a:pt x="424" y="28"/>
                        <a:pt x="396" y="0"/>
                        <a:pt x="3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368" dirty="0">
                    <a:solidFill>
                      <a:srgbClr val="646464"/>
                    </a:solidFill>
                  </a:endParaRPr>
                </a:p>
              </p:txBody>
            </p:sp>
            <p:sp>
              <p:nvSpPr>
                <p:cNvPr id="95" name="Oval 143"/>
                <p:cNvSpPr>
                  <a:spLocks noChangeArrowheads="1"/>
                </p:cNvSpPr>
                <p:nvPr/>
              </p:nvSpPr>
              <p:spPr bwMode="auto">
                <a:xfrm>
                  <a:off x="9518362" y="1689862"/>
                  <a:ext cx="66462" cy="664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368" dirty="0">
                    <a:solidFill>
                      <a:srgbClr val="646464"/>
                    </a:solidFill>
                  </a:endParaRPr>
                </a:p>
              </p:txBody>
            </p:sp>
            <p:sp>
              <p:nvSpPr>
                <p:cNvPr id="96" name="Freeform 144"/>
                <p:cNvSpPr>
                  <a:spLocks/>
                </p:cNvSpPr>
                <p:nvPr/>
              </p:nvSpPr>
              <p:spPr bwMode="auto">
                <a:xfrm>
                  <a:off x="9656829" y="1595709"/>
                  <a:ext cx="190154" cy="432000"/>
                </a:xfrm>
                <a:custGeom>
                  <a:avLst/>
                  <a:gdLst>
                    <a:gd name="T0" fmla="*/ 573 w 631"/>
                    <a:gd name="T1" fmla="*/ 15 h 1435"/>
                    <a:gd name="T2" fmla="*/ 477 w 631"/>
                    <a:gd name="T3" fmla="*/ 58 h 1435"/>
                    <a:gd name="T4" fmla="*/ 452 w 631"/>
                    <a:gd name="T5" fmla="*/ 122 h 1435"/>
                    <a:gd name="T6" fmla="*/ 370 w 631"/>
                    <a:gd name="T7" fmla="*/ 332 h 1435"/>
                    <a:gd name="T8" fmla="*/ 351 w 631"/>
                    <a:gd name="T9" fmla="*/ 381 h 1435"/>
                    <a:gd name="T10" fmla="*/ 306 w 631"/>
                    <a:gd name="T11" fmla="*/ 454 h 1435"/>
                    <a:gd name="T12" fmla="*/ 255 w 631"/>
                    <a:gd name="T13" fmla="*/ 373 h 1435"/>
                    <a:gd name="T14" fmla="*/ 255 w 631"/>
                    <a:gd name="T15" fmla="*/ 373 h 1435"/>
                    <a:gd name="T16" fmla="*/ 205 w 631"/>
                    <a:gd name="T17" fmla="*/ 454 h 1435"/>
                    <a:gd name="T18" fmla="*/ 155 w 631"/>
                    <a:gd name="T19" fmla="*/ 373 h 1435"/>
                    <a:gd name="T20" fmla="*/ 75 w 631"/>
                    <a:gd name="T21" fmla="*/ 373 h 1435"/>
                    <a:gd name="T22" fmla="*/ 75 w 631"/>
                    <a:gd name="T23" fmla="*/ 373 h 1435"/>
                    <a:gd name="T24" fmla="*/ 75 w 631"/>
                    <a:gd name="T25" fmla="*/ 373 h 1435"/>
                    <a:gd name="T26" fmla="*/ 0 w 631"/>
                    <a:gd name="T27" fmla="*/ 448 h 1435"/>
                    <a:gd name="T28" fmla="*/ 0 w 631"/>
                    <a:gd name="T29" fmla="*/ 517 h 1435"/>
                    <a:gd name="T30" fmla="*/ 0 w 631"/>
                    <a:gd name="T31" fmla="*/ 742 h 1435"/>
                    <a:gd name="T32" fmla="*/ 0 w 631"/>
                    <a:gd name="T33" fmla="*/ 811 h 1435"/>
                    <a:gd name="T34" fmla="*/ 75 w 631"/>
                    <a:gd name="T35" fmla="*/ 886 h 1435"/>
                    <a:gd name="T36" fmla="*/ 75 w 631"/>
                    <a:gd name="T37" fmla="*/ 886 h 1435"/>
                    <a:gd name="T38" fmla="*/ 75 w 631"/>
                    <a:gd name="T39" fmla="*/ 1352 h 1435"/>
                    <a:gd name="T40" fmla="*/ 158 w 631"/>
                    <a:gd name="T41" fmla="*/ 1434 h 1435"/>
                    <a:gd name="T42" fmla="*/ 241 w 631"/>
                    <a:gd name="T43" fmla="*/ 1352 h 1435"/>
                    <a:gd name="T44" fmla="*/ 241 w 631"/>
                    <a:gd name="T45" fmla="*/ 886 h 1435"/>
                    <a:gd name="T46" fmla="*/ 271 w 631"/>
                    <a:gd name="T47" fmla="*/ 886 h 1435"/>
                    <a:gd name="T48" fmla="*/ 271 w 631"/>
                    <a:gd name="T49" fmla="*/ 1352 h 1435"/>
                    <a:gd name="T50" fmla="*/ 354 w 631"/>
                    <a:gd name="T51" fmla="*/ 1435 h 1435"/>
                    <a:gd name="T52" fmla="*/ 437 w 631"/>
                    <a:gd name="T53" fmla="*/ 1352 h 1435"/>
                    <a:gd name="T54" fmla="*/ 437 w 631"/>
                    <a:gd name="T55" fmla="*/ 886 h 1435"/>
                    <a:gd name="T56" fmla="*/ 437 w 631"/>
                    <a:gd name="T57" fmla="*/ 795 h 1435"/>
                    <a:gd name="T58" fmla="*/ 437 w 631"/>
                    <a:gd name="T59" fmla="*/ 576 h 1435"/>
                    <a:gd name="T60" fmla="*/ 461 w 631"/>
                    <a:gd name="T61" fmla="*/ 513 h 1435"/>
                    <a:gd name="T62" fmla="*/ 542 w 631"/>
                    <a:gd name="T63" fmla="*/ 303 h 1435"/>
                    <a:gd name="T64" fmla="*/ 567 w 631"/>
                    <a:gd name="T65" fmla="*/ 239 h 1435"/>
                    <a:gd name="T66" fmla="*/ 570 w 631"/>
                    <a:gd name="T67" fmla="*/ 230 h 1435"/>
                    <a:gd name="T68" fmla="*/ 591 w 631"/>
                    <a:gd name="T69" fmla="*/ 177 h 1435"/>
                    <a:gd name="T70" fmla="*/ 616 w 631"/>
                    <a:gd name="T71" fmla="*/ 112 h 1435"/>
                    <a:gd name="T72" fmla="*/ 573 w 631"/>
                    <a:gd name="T73" fmla="*/ 15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31" h="1435">
                      <a:moveTo>
                        <a:pt x="573" y="15"/>
                      </a:moveTo>
                      <a:cubicBezTo>
                        <a:pt x="535" y="0"/>
                        <a:pt x="492" y="20"/>
                        <a:pt x="477" y="58"/>
                      </a:cubicBezTo>
                      <a:cubicBezTo>
                        <a:pt x="452" y="122"/>
                        <a:pt x="452" y="122"/>
                        <a:pt x="452" y="122"/>
                      </a:cubicBezTo>
                      <a:cubicBezTo>
                        <a:pt x="370" y="332"/>
                        <a:pt x="370" y="332"/>
                        <a:pt x="370" y="332"/>
                      </a:cubicBezTo>
                      <a:cubicBezTo>
                        <a:pt x="351" y="381"/>
                        <a:pt x="351" y="381"/>
                        <a:pt x="351" y="381"/>
                      </a:cubicBezTo>
                      <a:cubicBezTo>
                        <a:pt x="306" y="454"/>
                        <a:pt x="306" y="454"/>
                        <a:pt x="306" y="454"/>
                      </a:cubicBezTo>
                      <a:cubicBezTo>
                        <a:pt x="255" y="373"/>
                        <a:pt x="255" y="373"/>
                        <a:pt x="255" y="373"/>
                      </a:cubicBezTo>
                      <a:cubicBezTo>
                        <a:pt x="255" y="373"/>
                        <a:pt x="255" y="373"/>
                        <a:pt x="255" y="373"/>
                      </a:cubicBezTo>
                      <a:cubicBezTo>
                        <a:pt x="205" y="454"/>
                        <a:pt x="205" y="454"/>
                        <a:pt x="205" y="454"/>
                      </a:cubicBezTo>
                      <a:cubicBezTo>
                        <a:pt x="155" y="373"/>
                        <a:pt x="155" y="373"/>
                        <a:pt x="155" y="373"/>
                      </a:cubicBezTo>
                      <a:cubicBezTo>
                        <a:pt x="75" y="373"/>
                        <a:pt x="75" y="373"/>
                        <a:pt x="75" y="373"/>
                      </a:cubicBezTo>
                      <a:cubicBezTo>
                        <a:pt x="75" y="373"/>
                        <a:pt x="75" y="373"/>
                        <a:pt x="75" y="373"/>
                      </a:cubicBezTo>
                      <a:cubicBezTo>
                        <a:pt x="75" y="373"/>
                        <a:pt x="75" y="373"/>
                        <a:pt x="75" y="373"/>
                      </a:cubicBezTo>
                      <a:cubicBezTo>
                        <a:pt x="34" y="373"/>
                        <a:pt x="0" y="407"/>
                        <a:pt x="0" y="448"/>
                      </a:cubicBezTo>
                      <a:cubicBezTo>
                        <a:pt x="0" y="517"/>
                        <a:pt x="0" y="517"/>
                        <a:pt x="0" y="517"/>
                      </a:cubicBezTo>
                      <a:cubicBezTo>
                        <a:pt x="0" y="742"/>
                        <a:pt x="0" y="742"/>
                        <a:pt x="0" y="742"/>
                      </a:cubicBezTo>
                      <a:cubicBezTo>
                        <a:pt x="0" y="811"/>
                        <a:pt x="0" y="811"/>
                        <a:pt x="0" y="811"/>
                      </a:cubicBezTo>
                      <a:cubicBezTo>
                        <a:pt x="0" y="852"/>
                        <a:pt x="34" y="886"/>
                        <a:pt x="75" y="886"/>
                      </a:cubicBezTo>
                      <a:cubicBezTo>
                        <a:pt x="75" y="886"/>
                        <a:pt x="75" y="886"/>
                        <a:pt x="75" y="886"/>
                      </a:cubicBezTo>
                      <a:cubicBezTo>
                        <a:pt x="75" y="1352"/>
                        <a:pt x="75" y="1352"/>
                        <a:pt x="75" y="1352"/>
                      </a:cubicBezTo>
                      <a:cubicBezTo>
                        <a:pt x="75" y="1397"/>
                        <a:pt x="112" y="1434"/>
                        <a:pt x="158" y="1434"/>
                      </a:cubicBezTo>
                      <a:cubicBezTo>
                        <a:pt x="203" y="1434"/>
                        <a:pt x="241" y="1397"/>
                        <a:pt x="241" y="1352"/>
                      </a:cubicBezTo>
                      <a:cubicBezTo>
                        <a:pt x="241" y="886"/>
                        <a:pt x="241" y="886"/>
                        <a:pt x="241" y="886"/>
                      </a:cubicBezTo>
                      <a:cubicBezTo>
                        <a:pt x="271" y="886"/>
                        <a:pt x="271" y="886"/>
                        <a:pt x="271" y="886"/>
                      </a:cubicBezTo>
                      <a:cubicBezTo>
                        <a:pt x="271" y="1352"/>
                        <a:pt x="271" y="1352"/>
                        <a:pt x="271" y="1352"/>
                      </a:cubicBezTo>
                      <a:cubicBezTo>
                        <a:pt x="271" y="1398"/>
                        <a:pt x="308" y="1435"/>
                        <a:pt x="354" y="1435"/>
                      </a:cubicBezTo>
                      <a:cubicBezTo>
                        <a:pt x="400" y="1435"/>
                        <a:pt x="437" y="1398"/>
                        <a:pt x="437" y="1352"/>
                      </a:cubicBezTo>
                      <a:cubicBezTo>
                        <a:pt x="437" y="886"/>
                        <a:pt x="437" y="886"/>
                        <a:pt x="437" y="886"/>
                      </a:cubicBezTo>
                      <a:cubicBezTo>
                        <a:pt x="437" y="795"/>
                        <a:pt x="437" y="795"/>
                        <a:pt x="437" y="795"/>
                      </a:cubicBezTo>
                      <a:cubicBezTo>
                        <a:pt x="437" y="576"/>
                        <a:pt x="437" y="576"/>
                        <a:pt x="437" y="576"/>
                      </a:cubicBezTo>
                      <a:cubicBezTo>
                        <a:pt x="461" y="513"/>
                        <a:pt x="461" y="513"/>
                        <a:pt x="461" y="513"/>
                      </a:cubicBezTo>
                      <a:cubicBezTo>
                        <a:pt x="542" y="303"/>
                        <a:pt x="542" y="303"/>
                        <a:pt x="542" y="303"/>
                      </a:cubicBezTo>
                      <a:cubicBezTo>
                        <a:pt x="567" y="239"/>
                        <a:pt x="567" y="239"/>
                        <a:pt x="567" y="239"/>
                      </a:cubicBezTo>
                      <a:cubicBezTo>
                        <a:pt x="568" y="236"/>
                        <a:pt x="569" y="233"/>
                        <a:pt x="570" y="230"/>
                      </a:cubicBezTo>
                      <a:cubicBezTo>
                        <a:pt x="591" y="177"/>
                        <a:pt x="591" y="177"/>
                        <a:pt x="591" y="177"/>
                      </a:cubicBezTo>
                      <a:cubicBezTo>
                        <a:pt x="616" y="112"/>
                        <a:pt x="616" y="112"/>
                        <a:pt x="616" y="112"/>
                      </a:cubicBezTo>
                      <a:cubicBezTo>
                        <a:pt x="631" y="74"/>
                        <a:pt x="612" y="30"/>
                        <a:pt x="573"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368" dirty="0">
                    <a:solidFill>
                      <a:srgbClr val="646464"/>
                    </a:solidFill>
                  </a:endParaRPr>
                </a:p>
              </p:txBody>
            </p:sp>
            <p:sp>
              <p:nvSpPr>
                <p:cNvPr id="97" name="Oval 145"/>
                <p:cNvSpPr>
                  <a:spLocks noChangeArrowheads="1"/>
                </p:cNvSpPr>
                <p:nvPr/>
              </p:nvSpPr>
              <p:spPr bwMode="auto">
                <a:xfrm>
                  <a:off x="9693746" y="1625247"/>
                  <a:ext cx="81231" cy="793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368" dirty="0">
                    <a:solidFill>
                      <a:srgbClr val="646464"/>
                    </a:solidFill>
                  </a:endParaRPr>
                </a:p>
              </p:txBody>
            </p:sp>
          </p:grpSp>
        </p:grpSp>
      </p:grpSp>
      <p:grpSp>
        <p:nvGrpSpPr>
          <p:cNvPr id="7" name="Group 6"/>
          <p:cNvGrpSpPr/>
          <p:nvPr/>
        </p:nvGrpSpPr>
        <p:grpSpPr>
          <a:xfrm>
            <a:off x="8663662" y="3826913"/>
            <a:ext cx="2273520" cy="624223"/>
            <a:chOff x="8719278" y="4597216"/>
            <a:chExt cx="2273520" cy="624223"/>
          </a:xfrm>
        </p:grpSpPr>
        <p:sp>
          <p:nvSpPr>
            <p:cNvPr id="68" name="Rectangle 67"/>
            <p:cNvSpPr/>
            <p:nvPr/>
          </p:nvSpPr>
          <p:spPr>
            <a:xfrm>
              <a:off x="8719278" y="4685723"/>
              <a:ext cx="1407139" cy="447209"/>
            </a:xfrm>
            <a:prstGeom prst="rect">
              <a:avLst/>
            </a:prstGeom>
          </p:spPr>
          <p:txBody>
            <a:bodyPr wrap="square" lIns="0" tIns="0" rIns="0" bIns="0">
              <a:spAutoFit/>
            </a:bodyPr>
            <a:lstStyle/>
            <a:p>
              <a:pPr algn="r"/>
              <a:r>
                <a:rPr lang="en-IN" sz="1599" b="1" spc="-30" dirty="0">
                  <a:solidFill>
                    <a:schemeClr val="bg1"/>
                  </a:solidFill>
                  <a:latin typeface="+mj-lt"/>
                </a:rPr>
                <a:t>Digital assimilation</a:t>
              </a:r>
            </a:p>
          </p:txBody>
        </p:sp>
        <p:grpSp>
          <p:nvGrpSpPr>
            <p:cNvPr id="98" name="Group 97"/>
            <p:cNvGrpSpPr/>
            <p:nvPr/>
          </p:nvGrpSpPr>
          <p:grpSpPr>
            <a:xfrm>
              <a:off x="10306149" y="4597216"/>
              <a:ext cx="686649" cy="624223"/>
              <a:chOff x="6643696" y="4149630"/>
              <a:chExt cx="913928" cy="913925"/>
            </a:xfrm>
          </p:grpSpPr>
          <p:sp>
            <p:nvSpPr>
              <p:cNvPr id="99" name="Oval 98"/>
              <p:cNvSpPr>
                <a:spLocks noChangeAspect="1"/>
              </p:cNvSpPr>
              <p:nvPr/>
            </p:nvSpPr>
            <p:spPr>
              <a:xfrm>
                <a:off x="6643696" y="4149630"/>
                <a:ext cx="913928" cy="913925"/>
              </a:xfrm>
              <a:prstGeom prst="ellipse">
                <a:avLst/>
              </a:prstGeom>
              <a:solidFill>
                <a:srgbClr val="FFE600"/>
              </a:solidFill>
              <a:ln w="57150" cap="flat" cmpd="sng" algn="ctr">
                <a:solidFill>
                  <a:srgbClr val="FFFFFF"/>
                </a:solidFill>
                <a:prstDash val="solid"/>
              </a:ln>
              <a:effectLst/>
            </p:spPr>
            <p:txBody>
              <a:bodyPr rtlCol="0" anchor="ctr"/>
              <a:lstStyle/>
              <a:p>
                <a:pPr algn="ctr">
                  <a:defRPr/>
                </a:pPr>
                <a:endParaRPr lang="en-US" sz="1599" kern="0" dirty="0">
                  <a:solidFill>
                    <a:srgbClr val="FFFFFF"/>
                  </a:solidFill>
                  <a:latin typeface="Arial"/>
                </a:endParaRPr>
              </a:p>
            </p:txBody>
          </p:sp>
          <p:grpSp>
            <p:nvGrpSpPr>
              <p:cNvPr id="100" name="Gruppieren 227"/>
              <p:cNvGrpSpPr>
                <a:grpSpLocks noChangeAspect="1"/>
              </p:cNvGrpSpPr>
              <p:nvPr/>
            </p:nvGrpSpPr>
            <p:grpSpPr>
              <a:xfrm>
                <a:off x="6818793" y="4283374"/>
                <a:ext cx="548640" cy="548641"/>
                <a:chOff x="5408613" y="2928938"/>
                <a:chExt cx="2695575" cy="2695575"/>
              </a:xfrm>
              <a:solidFill>
                <a:schemeClr val="tx2"/>
              </a:solidFill>
            </p:grpSpPr>
            <p:sp>
              <p:nvSpPr>
                <p:cNvPr id="101" name="Freeform 83"/>
                <p:cNvSpPr>
                  <a:spLocks/>
                </p:cNvSpPr>
                <p:nvPr/>
              </p:nvSpPr>
              <p:spPr bwMode="auto">
                <a:xfrm>
                  <a:off x="6811963" y="3582988"/>
                  <a:ext cx="423863" cy="155575"/>
                </a:xfrm>
                <a:custGeom>
                  <a:avLst/>
                  <a:gdLst>
                    <a:gd name="T0" fmla="*/ 0 w 534"/>
                    <a:gd name="T1" fmla="*/ 80 h 195"/>
                    <a:gd name="T2" fmla="*/ 77 w 534"/>
                    <a:gd name="T3" fmla="*/ 195 h 195"/>
                    <a:gd name="T4" fmla="*/ 77 w 534"/>
                    <a:gd name="T5" fmla="*/ 195 h 195"/>
                    <a:gd name="T6" fmla="*/ 98 w 534"/>
                    <a:gd name="T7" fmla="*/ 181 h 195"/>
                    <a:gd name="T8" fmla="*/ 120 w 534"/>
                    <a:gd name="T9" fmla="*/ 169 h 195"/>
                    <a:gd name="T10" fmla="*/ 144 w 534"/>
                    <a:gd name="T11" fmla="*/ 159 h 195"/>
                    <a:gd name="T12" fmla="*/ 168 w 534"/>
                    <a:gd name="T13" fmla="*/ 152 h 195"/>
                    <a:gd name="T14" fmla="*/ 192 w 534"/>
                    <a:gd name="T15" fmla="*/ 145 h 195"/>
                    <a:gd name="T16" fmla="*/ 216 w 534"/>
                    <a:gd name="T17" fmla="*/ 140 h 195"/>
                    <a:gd name="T18" fmla="*/ 241 w 534"/>
                    <a:gd name="T19" fmla="*/ 138 h 195"/>
                    <a:gd name="T20" fmla="*/ 267 w 534"/>
                    <a:gd name="T21" fmla="*/ 136 h 195"/>
                    <a:gd name="T22" fmla="*/ 267 w 534"/>
                    <a:gd name="T23" fmla="*/ 136 h 195"/>
                    <a:gd name="T24" fmla="*/ 293 w 534"/>
                    <a:gd name="T25" fmla="*/ 138 h 195"/>
                    <a:gd name="T26" fmla="*/ 318 w 534"/>
                    <a:gd name="T27" fmla="*/ 140 h 195"/>
                    <a:gd name="T28" fmla="*/ 342 w 534"/>
                    <a:gd name="T29" fmla="*/ 145 h 195"/>
                    <a:gd name="T30" fmla="*/ 366 w 534"/>
                    <a:gd name="T31" fmla="*/ 152 h 195"/>
                    <a:gd name="T32" fmla="*/ 390 w 534"/>
                    <a:gd name="T33" fmla="*/ 159 h 195"/>
                    <a:gd name="T34" fmla="*/ 414 w 534"/>
                    <a:gd name="T35" fmla="*/ 169 h 195"/>
                    <a:gd name="T36" fmla="*/ 436 w 534"/>
                    <a:gd name="T37" fmla="*/ 181 h 195"/>
                    <a:gd name="T38" fmla="*/ 459 w 534"/>
                    <a:gd name="T39" fmla="*/ 195 h 195"/>
                    <a:gd name="T40" fmla="*/ 534 w 534"/>
                    <a:gd name="T41" fmla="*/ 80 h 195"/>
                    <a:gd name="T42" fmla="*/ 534 w 534"/>
                    <a:gd name="T43" fmla="*/ 80 h 195"/>
                    <a:gd name="T44" fmla="*/ 503 w 534"/>
                    <a:gd name="T45" fmla="*/ 61 h 195"/>
                    <a:gd name="T46" fmla="*/ 472 w 534"/>
                    <a:gd name="T47" fmla="*/ 46 h 195"/>
                    <a:gd name="T48" fmla="*/ 440 w 534"/>
                    <a:gd name="T49" fmla="*/ 32 h 195"/>
                    <a:gd name="T50" fmla="*/ 407 w 534"/>
                    <a:gd name="T51" fmla="*/ 20 h 195"/>
                    <a:gd name="T52" fmla="*/ 373 w 534"/>
                    <a:gd name="T53" fmla="*/ 12 h 195"/>
                    <a:gd name="T54" fmla="*/ 337 w 534"/>
                    <a:gd name="T55" fmla="*/ 5 h 195"/>
                    <a:gd name="T56" fmla="*/ 303 w 534"/>
                    <a:gd name="T57" fmla="*/ 1 h 195"/>
                    <a:gd name="T58" fmla="*/ 267 w 534"/>
                    <a:gd name="T59" fmla="*/ 0 h 195"/>
                    <a:gd name="T60" fmla="*/ 267 w 534"/>
                    <a:gd name="T61" fmla="*/ 0 h 195"/>
                    <a:gd name="T62" fmla="*/ 231 w 534"/>
                    <a:gd name="T63" fmla="*/ 1 h 195"/>
                    <a:gd name="T64" fmla="*/ 197 w 534"/>
                    <a:gd name="T65" fmla="*/ 5 h 195"/>
                    <a:gd name="T66" fmla="*/ 161 w 534"/>
                    <a:gd name="T67" fmla="*/ 12 h 195"/>
                    <a:gd name="T68" fmla="*/ 128 w 534"/>
                    <a:gd name="T69" fmla="*/ 20 h 195"/>
                    <a:gd name="T70" fmla="*/ 94 w 534"/>
                    <a:gd name="T71" fmla="*/ 32 h 195"/>
                    <a:gd name="T72" fmla="*/ 62 w 534"/>
                    <a:gd name="T73" fmla="*/ 46 h 195"/>
                    <a:gd name="T74" fmla="*/ 31 w 534"/>
                    <a:gd name="T75" fmla="*/ 61 h 195"/>
                    <a:gd name="T76" fmla="*/ 0 w 534"/>
                    <a:gd name="T77" fmla="*/ 80 h 195"/>
                    <a:gd name="T78" fmla="*/ 0 w 534"/>
                    <a:gd name="T79" fmla="*/ 8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4" h="195">
                      <a:moveTo>
                        <a:pt x="0" y="80"/>
                      </a:moveTo>
                      <a:lnTo>
                        <a:pt x="77" y="195"/>
                      </a:lnTo>
                      <a:lnTo>
                        <a:pt x="77" y="195"/>
                      </a:lnTo>
                      <a:lnTo>
                        <a:pt x="98" y="181"/>
                      </a:lnTo>
                      <a:lnTo>
                        <a:pt x="120" y="169"/>
                      </a:lnTo>
                      <a:lnTo>
                        <a:pt x="144" y="159"/>
                      </a:lnTo>
                      <a:lnTo>
                        <a:pt x="168" y="152"/>
                      </a:lnTo>
                      <a:lnTo>
                        <a:pt x="192" y="145"/>
                      </a:lnTo>
                      <a:lnTo>
                        <a:pt x="216" y="140"/>
                      </a:lnTo>
                      <a:lnTo>
                        <a:pt x="241" y="138"/>
                      </a:lnTo>
                      <a:lnTo>
                        <a:pt x="267" y="136"/>
                      </a:lnTo>
                      <a:lnTo>
                        <a:pt x="267" y="136"/>
                      </a:lnTo>
                      <a:lnTo>
                        <a:pt x="293" y="138"/>
                      </a:lnTo>
                      <a:lnTo>
                        <a:pt x="318" y="140"/>
                      </a:lnTo>
                      <a:lnTo>
                        <a:pt x="342" y="145"/>
                      </a:lnTo>
                      <a:lnTo>
                        <a:pt x="366" y="152"/>
                      </a:lnTo>
                      <a:lnTo>
                        <a:pt x="390" y="159"/>
                      </a:lnTo>
                      <a:lnTo>
                        <a:pt x="414" y="169"/>
                      </a:lnTo>
                      <a:lnTo>
                        <a:pt x="436" y="181"/>
                      </a:lnTo>
                      <a:lnTo>
                        <a:pt x="459" y="195"/>
                      </a:lnTo>
                      <a:lnTo>
                        <a:pt x="534" y="80"/>
                      </a:lnTo>
                      <a:lnTo>
                        <a:pt x="534" y="80"/>
                      </a:lnTo>
                      <a:lnTo>
                        <a:pt x="503" y="61"/>
                      </a:lnTo>
                      <a:lnTo>
                        <a:pt x="472" y="46"/>
                      </a:lnTo>
                      <a:lnTo>
                        <a:pt x="440" y="32"/>
                      </a:lnTo>
                      <a:lnTo>
                        <a:pt x="407" y="20"/>
                      </a:lnTo>
                      <a:lnTo>
                        <a:pt x="373" y="12"/>
                      </a:lnTo>
                      <a:lnTo>
                        <a:pt x="337" y="5"/>
                      </a:lnTo>
                      <a:lnTo>
                        <a:pt x="303" y="1"/>
                      </a:lnTo>
                      <a:lnTo>
                        <a:pt x="267" y="0"/>
                      </a:lnTo>
                      <a:lnTo>
                        <a:pt x="267" y="0"/>
                      </a:lnTo>
                      <a:lnTo>
                        <a:pt x="231" y="1"/>
                      </a:lnTo>
                      <a:lnTo>
                        <a:pt x="197" y="5"/>
                      </a:lnTo>
                      <a:lnTo>
                        <a:pt x="161" y="12"/>
                      </a:lnTo>
                      <a:lnTo>
                        <a:pt x="128" y="20"/>
                      </a:lnTo>
                      <a:lnTo>
                        <a:pt x="94" y="32"/>
                      </a:lnTo>
                      <a:lnTo>
                        <a:pt x="62" y="46"/>
                      </a:lnTo>
                      <a:lnTo>
                        <a:pt x="31" y="61"/>
                      </a:lnTo>
                      <a:lnTo>
                        <a:pt x="0" y="80"/>
                      </a:lnTo>
                      <a:lnTo>
                        <a:pt x="0"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sp>
              <p:nvSpPr>
                <p:cNvPr id="102" name="Freeform 84"/>
                <p:cNvSpPr>
                  <a:spLocks/>
                </p:cNvSpPr>
                <p:nvPr/>
              </p:nvSpPr>
              <p:spPr bwMode="auto">
                <a:xfrm>
                  <a:off x="6581776" y="3255963"/>
                  <a:ext cx="885825" cy="241300"/>
                </a:xfrm>
                <a:custGeom>
                  <a:avLst/>
                  <a:gdLst>
                    <a:gd name="T0" fmla="*/ 1116 w 1116"/>
                    <a:gd name="T1" fmla="*/ 195 h 303"/>
                    <a:gd name="T2" fmla="*/ 1056 w 1116"/>
                    <a:gd name="T3" fmla="*/ 151 h 303"/>
                    <a:gd name="T4" fmla="*/ 991 w 1116"/>
                    <a:gd name="T5" fmla="*/ 112 h 303"/>
                    <a:gd name="T6" fmla="*/ 924 w 1116"/>
                    <a:gd name="T7" fmla="*/ 79 h 303"/>
                    <a:gd name="T8" fmla="*/ 854 w 1116"/>
                    <a:gd name="T9" fmla="*/ 50 h 303"/>
                    <a:gd name="T10" fmla="*/ 782 w 1116"/>
                    <a:gd name="T11" fmla="*/ 29 h 303"/>
                    <a:gd name="T12" fmla="*/ 708 w 1116"/>
                    <a:gd name="T13" fmla="*/ 12 h 303"/>
                    <a:gd name="T14" fmla="*/ 633 w 1116"/>
                    <a:gd name="T15" fmla="*/ 4 h 303"/>
                    <a:gd name="T16" fmla="*/ 558 w 1116"/>
                    <a:gd name="T17" fmla="*/ 0 h 303"/>
                    <a:gd name="T18" fmla="*/ 520 w 1116"/>
                    <a:gd name="T19" fmla="*/ 0 h 303"/>
                    <a:gd name="T20" fmla="*/ 445 w 1116"/>
                    <a:gd name="T21" fmla="*/ 7 h 303"/>
                    <a:gd name="T22" fmla="*/ 371 w 1116"/>
                    <a:gd name="T23" fmla="*/ 19 h 303"/>
                    <a:gd name="T24" fmla="*/ 298 w 1116"/>
                    <a:gd name="T25" fmla="*/ 38 h 303"/>
                    <a:gd name="T26" fmla="*/ 228 w 1116"/>
                    <a:gd name="T27" fmla="*/ 64 h 303"/>
                    <a:gd name="T28" fmla="*/ 159 w 1116"/>
                    <a:gd name="T29" fmla="*/ 94 h 303"/>
                    <a:gd name="T30" fmla="*/ 93 w 1116"/>
                    <a:gd name="T31" fmla="*/ 130 h 303"/>
                    <a:gd name="T32" fmla="*/ 29 w 1116"/>
                    <a:gd name="T33" fmla="*/ 173 h 303"/>
                    <a:gd name="T34" fmla="*/ 86 w 1116"/>
                    <a:gd name="T35" fmla="*/ 303 h 303"/>
                    <a:gd name="T36" fmla="*/ 111 w 1116"/>
                    <a:gd name="T37" fmla="*/ 283 h 303"/>
                    <a:gd name="T38" fmla="*/ 164 w 1116"/>
                    <a:gd name="T39" fmla="*/ 247 h 303"/>
                    <a:gd name="T40" fmla="*/ 221 w 1116"/>
                    <a:gd name="T41" fmla="*/ 216 h 303"/>
                    <a:gd name="T42" fmla="*/ 277 w 1116"/>
                    <a:gd name="T43" fmla="*/ 190 h 303"/>
                    <a:gd name="T44" fmla="*/ 337 w 1116"/>
                    <a:gd name="T45" fmla="*/ 170 h 303"/>
                    <a:gd name="T46" fmla="*/ 399 w 1116"/>
                    <a:gd name="T47" fmla="*/ 154 h 303"/>
                    <a:gd name="T48" fmla="*/ 462 w 1116"/>
                    <a:gd name="T49" fmla="*/ 142 h 303"/>
                    <a:gd name="T50" fmla="*/ 525 w 1116"/>
                    <a:gd name="T51" fmla="*/ 137 h 303"/>
                    <a:gd name="T52" fmla="*/ 558 w 1116"/>
                    <a:gd name="T53" fmla="*/ 137 h 303"/>
                    <a:gd name="T54" fmla="*/ 623 w 1116"/>
                    <a:gd name="T55" fmla="*/ 139 h 303"/>
                    <a:gd name="T56" fmla="*/ 686 w 1116"/>
                    <a:gd name="T57" fmla="*/ 147 h 303"/>
                    <a:gd name="T58" fmla="*/ 748 w 1116"/>
                    <a:gd name="T59" fmla="*/ 161 h 303"/>
                    <a:gd name="T60" fmla="*/ 809 w 1116"/>
                    <a:gd name="T61" fmla="*/ 178 h 303"/>
                    <a:gd name="T62" fmla="*/ 868 w 1116"/>
                    <a:gd name="T63" fmla="*/ 202 h 303"/>
                    <a:gd name="T64" fmla="*/ 924 w 1116"/>
                    <a:gd name="T65" fmla="*/ 231 h 303"/>
                    <a:gd name="T66" fmla="*/ 979 w 1116"/>
                    <a:gd name="T67" fmla="*/ 264 h 303"/>
                    <a:gd name="T68" fmla="*/ 1030 w 1116"/>
                    <a:gd name="T69"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16" h="303">
                      <a:moveTo>
                        <a:pt x="1116" y="195"/>
                      </a:moveTo>
                      <a:lnTo>
                        <a:pt x="1116" y="195"/>
                      </a:lnTo>
                      <a:lnTo>
                        <a:pt x="1087" y="173"/>
                      </a:lnTo>
                      <a:lnTo>
                        <a:pt x="1056" y="151"/>
                      </a:lnTo>
                      <a:lnTo>
                        <a:pt x="1023" y="130"/>
                      </a:lnTo>
                      <a:lnTo>
                        <a:pt x="991" y="112"/>
                      </a:lnTo>
                      <a:lnTo>
                        <a:pt x="958" y="94"/>
                      </a:lnTo>
                      <a:lnTo>
                        <a:pt x="924" y="79"/>
                      </a:lnTo>
                      <a:lnTo>
                        <a:pt x="890" y="64"/>
                      </a:lnTo>
                      <a:lnTo>
                        <a:pt x="854" y="50"/>
                      </a:lnTo>
                      <a:lnTo>
                        <a:pt x="818" y="38"/>
                      </a:lnTo>
                      <a:lnTo>
                        <a:pt x="782" y="29"/>
                      </a:lnTo>
                      <a:lnTo>
                        <a:pt x="746" y="19"/>
                      </a:lnTo>
                      <a:lnTo>
                        <a:pt x="708" y="12"/>
                      </a:lnTo>
                      <a:lnTo>
                        <a:pt x="671" y="7"/>
                      </a:lnTo>
                      <a:lnTo>
                        <a:pt x="633" y="4"/>
                      </a:lnTo>
                      <a:lnTo>
                        <a:pt x="596" y="0"/>
                      </a:lnTo>
                      <a:lnTo>
                        <a:pt x="558" y="0"/>
                      </a:lnTo>
                      <a:lnTo>
                        <a:pt x="558" y="0"/>
                      </a:lnTo>
                      <a:lnTo>
                        <a:pt x="520" y="0"/>
                      </a:lnTo>
                      <a:lnTo>
                        <a:pt x="483" y="4"/>
                      </a:lnTo>
                      <a:lnTo>
                        <a:pt x="445" y="7"/>
                      </a:lnTo>
                      <a:lnTo>
                        <a:pt x="407" y="12"/>
                      </a:lnTo>
                      <a:lnTo>
                        <a:pt x="371" y="19"/>
                      </a:lnTo>
                      <a:lnTo>
                        <a:pt x="334" y="29"/>
                      </a:lnTo>
                      <a:lnTo>
                        <a:pt x="298" y="38"/>
                      </a:lnTo>
                      <a:lnTo>
                        <a:pt x="262" y="50"/>
                      </a:lnTo>
                      <a:lnTo>
                        <a:pt x="228" y="64"/>
                      </a:lnTo>
                      <a:lnTo>
                        <a:pt x="192" y="79"/>
                      </a:lnTo>
                      <a:lnTo>
                        <a:pt x="159" y="94"/>
                      </a:lnTo>
                      <a:lnTo>
                        <a:pt x="125" y="112"/>
                      </a:lnTo>
                      <a:lnTo>
                        <a:pt x="93" y="130"/>
                      </a:lnTo>
                      <a:lnTo>
                        <a:pt x="62" y="151"/>
                      </a:lnTo>
                      <a:lnTo>
                        <a:pt x="29" y="173"/>
                      </a:lnTo>
                      <a:lnTo>
                        <a:pt x="0" y="195"/>
                      </a:lnTo>
                      <a:lnTo>
                        <a:pt x="86" y="303"/>
                      </a:lnTo>
                      <a:lnTo>
                        <a:pt x="86" y="303"/>
                      </a:lnTo>
                      <a:lnTo>
                        <a:pt x="111" y="283"/>
                      </a:lnTo>
                      <a:lnTo>
                        <a:pt x="137" y="264"/>
                      </a:lnTo>
                      <a:lnTo>
                        <a:pt x="164" y="247"/>
                      </a:lnTo>
                      <a:lnTo>
                        <a:pt x="192" y="231"/>
                      </a:lnTo>
                      <a:lnTo>
                        <a:pt x="221" y="216"/>
                      </a:lnTo>
                      <a:lnTo>
                        <a:pt x="248" y="202"/>
                      </a:lnTo>
                      <a:lnTo>
                        <a:pt x="277" y="190"/>
                      </a:lnTo>
                      <a:lnTo>
                        <a:pt x="308" y="178"/>
                      </a:lnTo>
                      <a:lnTo>
                        <a:pt x="337" y="170"/>
                      </a:lnTo>
                      <a:lnTo>
                        <a:pt x="368" y="161"/>
                      </a:lnTo>
                      <a:lnTo>
                        <a:pt x="399" y="154"/>
                      </a:lnTo>
                      <a:lnTo>
                        <a:pt x="430" y="147"/>
                      </a:lnTo>
                      <a:lnTo>
                        <a:pt x="462" y="142"/>
                      </a:lnTo>
                      <a:lnTo>
                        <a:pt x="493" y="139"/>
                      </a:lnTo>
                      <a:lnTo>
                        <a:pt x="525" y="137"/>
                      </a:lnTo>
                      <a:lnTo>
                        <a:pt x="558" y="137"/>
                      </a:lnTo>
                      <a:lnTo>
                        <a:pt x="558" y="137"/>
                      </a:lnTo>
                      <a:lnTo>
                        <a:pt x="590" y="137"/>
                      </a:lnTo>
                      <a:lnTo>
                        <a:pt x="623" y="139"/>
                      </a:lnTo>
                      <a:lnTo>
                        <a:pt x="655" y="142"/>
                      </a:lnTo>
                      <a:lnTo>
                        <a:pt x="686" y="147"/>
                      </a:lnTo>
                      <a:lnTo>
                        <a:pt x="717" y="154"/>
                      </a:lnTo>
                      <a:lnTo>
                        <a:pt x="748" y="161"/>
                      </a:lnTo>
                      <a:lnTo>
                        <a:pt x="779" y="170"/>
                      </a:lnTo>
                      <a:lnTo>
                        <a:pt x="809" y="178"/>
                      </a:lnTo>
                      <a:lnTo>
                        <a:pt x="838" y="190"/>
                      </a:lnTo>
                      <a:lnTo>
                        <a:pt x="868" y="202"/>
                      </a:lnTo>
                      <a:lnTo>
                        <a:pt x="897" y="216"/>
                      </a:lnTo>
                      <a:lnTo>
                        <a:pt x="924" y="231"/>
                      </a:lnTo>
                      <a:lnTo>
                        <a:pt x="951" y="247"/>
                      </a:lnTo>
                      <a:lnTo>
                        <a:pt x="979" y="264"/>
                      </a:lnTo>
                      <a:lnTo>
                        <a:pt x="1004" y="283"/>
                      </a:lnTo>
                      <a:lnTo>
                        <a:pt x="1030" y="303"/>
                      </a:lnTo>
                      <a:lnTo>
                        <a:pt x="1116"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sp>
              <p:nvSpPr>
                <p:cNvPr id="103" name="Freeform 85"/>
                <p:cNvSpPr>
                  <a:spLocks/>
                </p:cNvSpPr>
                <p:nvPr/>
              </p:nvSpPr>
              <p:spPr bwMode="auto">
                <a:xfrm>
                  <a:off x="6351588" y="2928938"/>
                  <a:ext cx="1347788" cy="331788"/>
                </a:xfrm>
                <a:custGeom>
                  <a:avLst/>
                  <a:gdLst>
                    <a:gd name="T0" fmla="*/ 849 w 1699"/>
                    <a:gd name="T1" fmla="*/ 137 h 417"/>
                    <a:gd name="T2" fmla="*/ 953 w 1699"/>
                    <a:gd name="T3" fmla="*/ 140 h 417"/>
                    <a:gd name="T4" fmla="*/ 1056 w 1699"/>
                    <a:gd name="T5" fmla="*/ 154 h 417"/>
                    <a:gd name="T6" fmla="*/ 1157 w 1699"/>
                    <a:gd name="T7" fmla="*/ 178 h 417"/>
                    <a:gd name="T8" fmla="*/ 1254 w 1699"/>
                    <a:gd name="T9" fmla="*/ 209 h 417"/>
                    <a:gd name="T10" fmla="*/ 1350 w 1699"/>
                    <a:gd name="T11" fmla="*/ 248 h 417"/>
                    <a:gd name="T12" fmla="*/ 1441 w 1699"/>
                    <a:gd name="T13" fmla="*/ 296 h 417"/>
                    <a:gd name="T14" fmla="*/ 1528 w 1699"/>
                    <a:gd name="T15" fmla="*/ 352 h 417"/>
                    <a:gd name="T16" fmla="*/ 1610 w 1699"/>
                    <a:gd name="T17" fmla="*/ 417 h 417"/>
                    <a:gd name="T18" fmla="*/ 1699 w 1699"/>
                    <a:gd name="T19" fmla="*/ 313 h 417"/>
                    <a:gd name="T20" fmla="*/ 1607 w 1699"/>
                    <a:gd name="T21" fmla="*/ 241 h 417"/>
                    <a:gd name="T22" fmla="*/ 1509 w 1699"/>
                    <a:gd name="T23" fmla="*/ 178 h 417"/>
                    <a:gd name="T24" fmla="*/ 1408 w 1699"/>
                    <a:gd name="T25" fmla="*/ 125 h 417"/>
                    <a:gd name="T26" fmla="*/ 1302 w 1699"/>
                    <a:gd name="T27" fmla="*/ 80 h 417"/>
                    <a:gd name="T28" fmla="*/ 1193 w 1699"/>
                    <a:gd name="T29" fmla="*/ 44 h 417"/>
                    <a:gd name="T30" fmla="*/ 1080 w 1699"/>
                    <a:gd name="T31" fmla="*/ 21 h 417"/>
                    <a:gd name="T32" fmla="*/ 965 w 1699"/>
                    <a:gd name="T33" fmla="*/ 5 h 417"/>
                    <a:gd name="T34" fmla="*/ 849 w 1699"/>
                    <a:gd name="T35" fmla="*/ 0 h 417"/>
                    <a:gd name="T36" fmla="*/ 791 w 1699"/>
                    <a:gd name="T37" fmla="*/ 0 h 417"/>
                    <a:gd name="T38" fmla="*/ 674 w 1699"/>
                    <a:gd name="T39" fmla="*/ 10 h 417"/>
                    <a:gd name="T40" fmla="*/ 561 w 1699"/>
                    <a:gd name="T41" fmla="*/ 31 h 417"/>
                    <a:gd name="T42" fmla="*/ 450 w 1699"/>
                    <a:gd name="T43" fmla="*/ 62 h 417"/>
                    <a:gd name="T44" fmla="*/ 342 w 1699"/>
                    <a:gd name="T45" fmla="*/ 101 h 417"/>
                    <a:gd name="T46" fmla="*/ 238 w 1699"/>
                    <a:gd name="T47" fmla="*/ 151 h 417"/>
                    <a:gd name="T48" fmla="*/ 139 w 1699"/>
                    <a:gd name="T49" fmla="*/ 209 h 417"/>
                    <a:gd name="T50" fmla="*/ 45 w 1699"/>
                    <a:gd name="T51" fmla="*/ 275 h 417"/>
                    <a:gd name="T52" fmla="*/ 89 w 1699"/>
                    <a:gd name="T53" fmla="*/ 417 h 417"/>
                    <a:gd name="T54" fmla="*/ 129 w 1699"/>
                    <a:gd name="T55" fmla="*/ 383 h 417"/>
                    <a:gd name="T56" fmla="*/ 214 w 1699"/>
                    <a:gd name="T57" fmla="*/ 323 h 417"/>
                    <a:gd name="T58" fmla="*/ 303 w 1699"/>
                    <a:gd name="T59" fmla="*/ 272 h 417"/>
                    <a:gd name="T60" fmla="*/ 396 w 1699"/>
                    <a:gd name="T61" fmla="*/ 228 h 417"/>
                    <a:gd name="T62" fmla="*/ 493 w 1699"/>
                    <a:gd name="T63" fmla="*/ 192 h 417"/>
                    <a:gd name="T64" fmla="*/ 592 w 1699"/>
                    <a:gd name="T65" fmla="*/ 164 h 417"/>
                    <a:gd name="T66" fmla="*/ 693 w 1699"/>
                    <a:gd name="T67" fmla="*/ 147 h 417"/>
                    <a:gd name="T68" fmla="*/ 798 w 1699"/>
                    <a:gd name="T69" fmla="*/ 137 h 417"/>
                    <a:gd name="T70" fmla="*/ 849 w 1699"/>
                    <a:gd name="T71" fmla="*/ 13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9" h="417">
                      <a:moveTo>
                        <a:pt x="849" y="137"/>
                      </a:moveTo>
                      <a:lnTo>
                        <a:pt x="849" y="137"/>
                      </a:lnTo>
                      <a:lnTo>
                        <a:pt x="902" y="137"/>
                      </a:lnTo>
                      <a:lnTo>
                        <a:pt x="953" y="140"/>
                      </a:lnTo>
                      <a:lnTo>
                        <a:pt x="1005" y="147"/>
                      </a:lnTo>
                      <a:lnTo>
                        <a:pt x="1056" y="154"/>
                      </a:lnTo>
                      <a:lnTo>
                        <a:pt x="1106" y="164"/>
                      </a:lnTo>
                      <a:lnTo>
                        <a:pt x="1157" y="178"/>
                      </a:lnTo>
                      <a:lnTo>
                        <a:pt x="1206" y="192"/>
                      </a:lnTo>
                      <a:lnTo>
                        <a:pt x="1254" y="209"/>
                      </a:lnTo>
                      <a:lnTo>
                        <a:pt x="1302" y="228"/>
                      </a:lnTo>
                      <a:lnTo>
                        <a:pt x="1350" y="248"/>
                      </a:lnTo>
                      <a:lnTo>
                        <a:pt x="1396" y="272"/>
                      </a:lnTo>
                      <a:lnTo>
                        <a:pt x="1441" y="296"/>
                      </a:lnTo>
                      <a:lnTo>
                        <a:pt x="1485" y="323"/>
                      </a:lnTo>
                      <a:lnTo>
                        <a:pt x="1528" y="352"/>
                      </a:lnTo>
                      <a:lnTo>
                        <a:pt x="1569" y="383"/>
                      </a:lnTo>
                      <a:lnTo>
                        <a:pt x="1610" y="417"/>
                      </a:lnTo>
                      <a:lnTo>
                        <a:pt x="1699" y="313"/>
                      </a:lnTo>
                      <a:lnTo>
                        <a:pt x="1699" y="313"/>
                      </a:lnTo>
                      <a:lnTo>
                        <a:pt x="1653" y="275"/>
                      </a:lnTo>
                      <a:lnTo>
                        <a:pt x="1607" y="241"/>
                      </a:lnTo>
                      <a:lnTo>
                        <a:pt x="1559" y="209"/>
                      </a:lnTo>
                      <a:lnTo>
                        <a:pt x="1509" y="178"/>
                      </a:lnTo>
                      <a:lnTo>
                        <a:pt x="1460" y="151"/>
                      </a:lnTo>
                      <a:lnTo>
                        <a:pt x="1408" y="125"/>
                      </a:lnTo>
                      <a:lnTo>
                        <a:pt x="1355" y="101"/>
                      </a:lnTo>
                      <a:lnTo>
                        <a:pt x="1302" y="80"/>
                      </a:lnTo>
                      <a:lnTo>
                        <a:pt x="1248" y="62"/>
                      </a:lnTo>
                      <a:lnTo>
                        <a:pt x="1193" y="44"/>
                      </a:lnTo>
                      <a:lnTo>
                        <a:pt x="1136" y="31"/>
                      </a:lnTo>
                      <a:lnTo>
                        <a:pt x="1080" y="21"/>
                      </a:lnTo>
                      <a:lnTo>
                        <a:pt x="1023" y="10"/>
                      </a:lnTo>
                      <a:lnTo>
                        <a:pt x="965" y="5"/>
                      </a:lnTo>
                      <a:lnTo>
                        <a:pt x="907" y="0"/>
                      </a:lnTo>
                      <a:lnTo>
                        <a:pt x="849" y="0"/>
                      </a:lnTo>
                      <a:lnTo>
                        <a:pt x="849" y="0"/>
                      </a:lnTo>
                      <a:lnTo>
                        <a:pt x="791" y="0"/>
                      </a:lnTo>
                      <a:lnTo>
                        <a:pt x="733" y="5"/>
                      </a:lnTo>
                      <a:lnTo>
                        <a:pt x="674" y="10"/>
                      </a:lnTo>
                      <a:lnTo>
                        <a:pt x="618" y="21"/>
                      </a:lnTo>
                      <a:lnTo>
                        <a:pt x="561" y="31"/>
                      </a:lnTo>
                      <a:lnTo>
                        <a:pt x="505" y="44"/>
                      </a:lnTo>
                      <a:lnTo>
                        <a:pt x="450" y="62"/>
                      </a:lnTo>
                      <a:lnTo>
                        <a:pt x="396" y="80"/>
                      </a:lnTo>
                      <a:lnTo>
                        <a:pt x="342" y="101"/>
                      </a:lnTo>
                      <a:lnTo>
                        <a:pt x="289" y="125"/>
                      </a:lnTo>
                      <a:lnTo>
                        <a:pt x="238" y="151"/>
                      </a:lnTo>
                      <a:lnTo>
                        <a:pt x="189" y="178"/>
                      </a:lnTo>
                      <a:lnTo>
                        <a:pt x="139" y="209"/>
                      </a:lnTo>
                      <a:lnTo>
                        <a:pt x="91" y="241"/>
                      </a:lnTo>
                      <a:lnTo>
                        <a:pt x="45" y="275"/>
                      </a:lnTo>
                      <a:lnTo>
                        <a:pt x="0" y="313"/>
                      </a:lnTo>
                      <a:lnTo>
                        <a:pt x="89" y="417"/>
                      </a:lnTo>
                      <a:lnTo>
                        <a:pt x="89" y="417"/>
                      </a:lnTo>
                      <a:lnTo>
                        <a:pt x="129" y="383"/>
                      </a:lnTo>
                      <a:lnTo>
                        <a:pt x="171" y="352"/>
                      </a:lnTo>
                      <a:lnTo>
                        <a:pt x="214" y="323"/>
                      </a:lnTo>
                      <a:lnTo>
                        <a:pt x="257" y="296"/>
                      </a:lnTo>
                      <a:lnTo>
                        <a:pt x="303" y="272"/>
                      </a:lnTo>
                      <a:lnTo>
                        <a:pt x="349" y="248"/>
                      </a:lnTo>
                      <a:lnTo>
                        <a:pt x="396" y="228"/>
                      </a:lnTo>
                      <a:lnTo>
                        <a:pt x="443" y="209"/>
                      </a:lnTo>
                      <a:lnTo>
                        <a:pt x="493" y="192"/>
                      </a:lnTo>
                      <a:lnTo>
                        <a:pt x="541" y="178"/>
                      </a:lnTo>
                      <a:lnTo>
                        <a:pt x="592" y="164"/>
                      </a:lnTo>
                      <a:lnTo>
                        <a:pt x="642" y="154"/>
                      </a:lnTo>
                      <a:lnTo>
                        <a:pt x="693" y="147"/>
                      </a:lnTo>
                      <a:lnTo>
                        <a:pt x="745" y="140"/>
                      </a:lnTo>
                      <a:lnTo>
                        <a:pt x="798" y="137"/>
                      </a:lnTo>
                      <a:lnTo>
                        <a:pt x="849" y="137"/>
                      </a:lnTo>
                      <a:lnTo>
                        <a:pt x="849"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sp>
              <p:nvSpPr>
                <p:cNvPr id="104" name="Freeform 86"/>
                <p:cNvSpPr>
                  <a:spLocks/>
                </p:cNvSpPr>
                <p:nvPr/>
              </p:nvSpPr>
              <p:spPr bwMode="auto">
                <a:xfrm>
                  <a:off x="6992938" y="4540251"/>
                  <a:ext cx="63500" cy="61913"/>
                </a:xfrm>
                <a:custGeom>
                  <a:avLst/>
                  <a:gdLst>
                    <a:gd name="T0" fmla="*/ 0 w 78"/>
                    <a:gd name="T1" fmla="*/ 39 h 79"/>
                    <a:gd name="T2" fmla="*/ 0 w 78"/>
                    <a:gd name="T3" fmla="*/ 39 h 79"/>
                    <a:gd name="T4" fmla="*/ 1 w 78"/>
                    <a:gd name="T5" fmla="*/ 46 h 79"/>
                    <a:gd name="T6" fmla="*/ 3 w 78"/>
                    <a:gd name="T7" fmla="*/ 55 h 79"/>
                    <a:gd name="T8" fmla="*/ 6 w 78"/>
                    <a:gd name="T9" fmla="*/ 62 h 79"/>
                    <a:gd name="T10" fmla="*/ 12 w 78"/>
                    <a:gd name="T11" fmla="*/ 67 h 79"/>
                    <a:gd name="T12" fmla="*/ 18 w 78"/>
                    <a:gd name="T13" fmla="*/ 72 h 79"/>
                    <a:gd name="T14" fmla="*/ 23 w 78"/>
                    <a:gd name="T15" fmla="*/ 75 h 79"/>
                    <a:gd name="T16" fmla="*/ 32 w 78"/>
                    <a:gd name="T17" fmla="*/ 77 h 79"/>
                    <a:gd name="T18" fmla="*/ 39 w 78"/>
                    <a:gd name="T19" fmla="*/ 79 h 79"/>
                    <a:gd name="T20" fmla="*/ 39 w 78"/>
                    <a:gd name="T21" fmla="*/ 79 h 79"/>
                    <a:gd name="T22" fmla="*/ 47 w 78"/>
                    <a:gd name="T23" fmla="*/ 77 h 79"/>
                    <a:gd name="T24" fmla="*/ 54 w 78"/>
                    <a:gd name="T25" fmla="*/ 75 h 79"/>
                    <a:gd name="T26" fmla="*/ 61 w 78"/>
                    <a:gd name="T27" fmla="*/ 72 h 79"/>
                    <a:gd name="T28" fmla="*/ 68 w 78"/>
                    <a:gd name="T29" fmla="*/ 67 h 79"/>
                    <a:gd name="T30" fmla="*/ 71 w 78"/>
                    <a:gd name="T31" fmla="*/ 62 h 79"/>
                    <a:gd name="T32" fmla="*/ 77 w 78"/>
                    <a:gd name="T33" fmla="*/ 55 h 79"/>
                    <a:gd name="T34" fmla="*/ 78 w 78"/>
                    <a:gd name="T35" fmla="*/ 46 h 79"/>
                    <a:gd name="T36" fmla="*/ 78 w 78"/>
                    <a:gd name="T37" fmla="*/ 39 h 79"/>
                    <a:gd name="T38" fmla="*/ 78 w 78"/>
                    <a:gd name="T39" fmla="*/ 39 h 79"/>
                    <a:gd name="T40" fmla="*/ 78 w 78"/>
                    <a:gd name="T41" fmla="*/ 31 h 79"/>
                    <a:gd name="T42" fmla="*/ 77 w 78"/>
                    <a:gd name="T43" fmla="*/ 24 h 79"/>
                    <a:gd name="T44" fmla="*/ 71 w 78"/>
                    <a:gd name="T45" fmla="*/ 17 h 79"/>
                    <a:gd name="T46" fmla="*/ 68 w 78"/>
                    <a:gd name="T47" fmla="*/ 10 h 79"/>
                    <a:gd name="T48" fmla="*/ 61 w 78"/>
                    <a:gd name="T49" fmla="*/ 7 h 79"/>
                    <a:gd name="T50" fmla="*/ 54 w 78"/>
                    <a:gd name="T51" fmla="*/ 3 h 79"/>
                    <a:gd name="T52" fmla="*/ 47 w 78"/>
                    <a:gd name="T53" fmla="*/ 0 h 79"/>
                    <a:gd name="T54" fmla="*/ 39 w 78"/>
                    <a:gd name="T55" fmla="*/ 0 h 79"/>
                    <a:gd name="T56" fmla="*/ 39 w 78"/>
                    <a:gd name="T57" fmla="*/ 0 h 79"/>
                    <a:gd name="T58" fmla="*/ 32 w 78"/>
                    <a:gd name="T59" fmla="*/ 0 h 79"/>
                    <a:gd name="T60" fmla="*/ 23 w 78"/>
                    <a:gd name="T61" fmla="*/ 3 h 79"/>
                    <a:gd name="T62" fmla="*/ 18 w 78"/>
                    <a:gd name="T63" fmla="*/ 7 h 79"/>
                    <a:gd name="T64" fmla="*/ 12 w 78"/>
                    <a:gd name="T65" fmla="*/ 10 h 79"/>
                    <a:gd name="T66" fmla="*/ 6 w 78"/>
                    <a:gd name="T67" fmla="*/ 17 h 79"/>
                    <a:gd name="T68" fmla="*/ 3 w 78"/>
                    <a:gd name="T69" fmla="*/ 24 h 79"/>
                    <a:gd name="T70" fmla="*/ 1 w 78"/>
                    <a:gd name="T71" fmla="*/ 31 h 79"/>
                    <a:gd name="T72" fmla="*/ 0 w 78"/>
                    <a:gd name="T73" fmla="*/ 39 h 79"/>
                    <a:gd name="T74" fmla="*/ 0 w 78"/>
                    <a:gd name="T75" fmla="*/ 3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9">
                      <a:moveTo>
                        <a:pt x="0" y="39"/>
                      </a:moveTo>
                      <a:lnTo>
                        <a:pt x="0" y="39"/>
                      </a:lnTo>
                      <a:lnTo>
                        <a:pt x="1" y="46"/>
                      </a:lnTo>
                      <a:lnTo>
                        <a:pt x="3" y="55"/>
                      </a:lnTo>
                      <a:lnTo>
                        <a:pt x="6" y="62"/>
                      </a:lnTo>
                      <a:lnTo>
                        <a:pt x="12" y="67"/>
                      </a:lnTo>
                      <a:lnTo>
                        <a:pt x="18" y="72"/>
                      </a:lnTo>
                      <a:lnTo>
                        <a:pt x="23" y="75"/>
                      </a:lnTo>
                      <a:lnTo>
                        <a:pt x="32" y="77"/>
                      </a:lnTo>
                      <a:lnTo>
                        <a:pt x="39" y="79"/>
                      </a:lnTo>
                      <a:lnTo>
                        <a:pt x="39" y="79"/>
                      </a:lnTo>
                      <a:lnTo>
                        <a:pt x="47" y="77"/>
                      </a:lnTo>
                      <a:lnTo>
                        <a:pt x="54" y="75"/>
                      </a:lnTo>
                      <a:lnTo>
                        <a:pt x="61" y="72"/>
                      </a:lnTo>
                      <a:lnTo>
                        <a:pt x="68" y="67"/>
                      </a:lnTo>
                      <a:lnTo>
                        <a:pt x="71" y="62"/>
                      </a:lnTo>
                      <a:lnTo>
                        <a:pt x="77" y="55"/>
                      </a:lnTo>
                      <a:lnTo>
                        <a:pt x="78" y="46"/>
                      </a:lnTo>
                      <a:lnTo>
                        <a:pt x="78" y="39"/>
                      </a:lnTo>
                      <a:lnTo>
                        <a:pt x="78" y="39"/>
                      </a:lnTo>
                      <a:lnTo>
                        <a:pt x="78" y="31"/>
                      </a:lnTo>
                      <a:lnTo>
                        <a:pt x="77" y="24"/>
                      </a:lnTo>
                      <a:lnTo>
                        <a:pt x="71" y="17"/>
                      </a:lnTo>
                      <a:lnTo>
                        <a:pt x="68" y="10"/>
                      </a:lnTo>
                      <a:lnTo>
                        <a:pt x="61" y="7"/>
                      </a:lnTo>
                      <a:lnTo>
                        <a:pt x="54" y="3"/>
                      </a:lnTo>
                      <a:lnTo>
                        <a:pt x="47" y="0"/>
                      </a:lnTo>
                      <a:lnTo>
                        <a:pt x="39" y="0"/>
                      </a:lnTo>
                      <a:lnTo>
                        <a:pt x="39" y="0"/>
                      </a:lnTo>
                      <a:lnTo>
                        <a:pt x="32" y="0"/>
                      </a:lnTo>
                      <a:lnTo>
                        <a:pt x="23" y="3"/>
                      </a:lnTo>
                      <a:lnTo>
                        <a:pt x="18" y="7"/>
                      </a:lnTo>
                      <a:lnTo>
                        <a:pt x="12" y="10"/>
                      </a:lnTo>
                      <a:lnTo>
                        <a:pt x="6" y="17"/>
                      </a:lnTo>
                      <a:lnTo>
                        <a:pt x="3" y="24"/>
                      </a:lnTo>
                      <a:lnTo>
                        <a:pt x="1" y="31"/>
                      </a:lnTo>
                      <a:lnTo>
                        <a:pt x="0" y="39"/>
                      </a:lnTo>
                      <a:lnTo>
                        <a:pt x="0" y="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sp>
              <p:nvSpPr>
                <p:cNvPr id="105" name="Freeform 87"/>
                <p:cNvSpPr>
                  <a:spLocks/>
                </p:cNvSpPr>
                <p:nvPr/>
              </p:nvSpPr>
              <p:spPr bwMode="auto">
                <a:xfrm>
                  <a:off x="6943726" y="3919538"/>
                  <a:ext cx="161925" cy="161925"/>
                </a:xfrm>
                <a:custGeom>
                  <a:avLst/>
                  <a:gdLst>
                    <a:gd name="T0" fmla="*/ 101 w 204"/>
                    <a:gd name="T1" fmla="*/ 203 h 203"/>
                    <a:gd name="T2" fmla="*/ 101 w 204"/>
                    <a:gd name="T3" fmla="*/ 203 h 203"/>
                    <a:gd name="T4" fmla="*/ 111 w 204"/>
                    <a:gd name="T5" fmla="*/ 202 h 203"/>
                    <a:gd name="T6" fmla="*/ 121 w 204"/>
                    <a:gd name="T7" fmla="*/ 202 h 203"/>
                    <a:gd name="T8" fmla="*/ 140 w 204"/>
                    <a:gd name="T9" fmla="*/ 195 h 203"/>
                    <a:gd name="T10" fmla="*/ 157 w 204"/>
                    <a:gd name="T11" fmla="*/ 186 h 203"/>
                    <a:gd name="T12" fmla="*/ 173 w 204"/>
                    <a:gd name="T13" fmla="*/ 173 h 203"/>
                    <a:gd name="T14" fmla="*/ 185 w 204"/>
                    <a:gd name="T15" fmla="*/ 159 h 203"/>
                    <a:gd name="T16" fmla="*/ 195 w 204"/>
                    <a:gd name="T17" fmla="*/ 142 h 203"/>
                    <a:gd name="T18" fmla="*/ 200 w 204"/>
                    <a:gd name="T19" fmla="*/ 121 h 203"/>
                    <a:gd name="T20" fmla="*/ 202 w 204"/>
                    <a:gd name="T21" fmla="*/ 113 h 203"/>
                    <a:gd name="T22" fmla="*/ 204 w 204"/>
                    <a:gd name="T23" fmla="*/ 103 h 203"/>
                    <a:gd name="T24" fmla="*/ 204 w 204"/>
                    <a:gd name="T25" fmla="*/ 103 h 203"/>
                    <a:gd name="T26" fmla="*/ 202 w 204"/>
                    <a:gd name="T27" fmla="*/ 91 h 203"/>
                    <a:gd name="T28" fmla="*/ 200 w 204"/>
                    <a:gd name="T29" fmla="*/ 82 h 203"/>
                    <a:gd name="T30" fmla="*/ 195 w 204"/>
                    <a:gd name="T31" fmla="*/ 61 h 203"/>
                    <a:gd name="T32" fmla="*/ 185 w 204"/>
                    <a:gd name="T33" fmla="*/ 44 h 203"/>
                    <a:gd name="T34" fmla="*/ 173 w 204"/>
                    <a:gd name="T35" fmla="*/ 31 h 203"/>
                    <a:gd name="T36" fmla="*/ 157 w 204"/>
                    <a:gd name="T37" fmla="*/ 17 h 203"/>
                    <a:gd name="T38" fmla="*/ 140 w 204"/>
                    <a:gd name="T39" fmla="*/ 8 h 203"/>
                    <a:gd name="T40" fmla="*/ 121 w 204"/>
                    <a:gd name="T41" fmla="*/ 2 h 203"/>
                    <a:gd name="T42" fmla="*/ 111 w 204"/>
                    <a:gd name="T43" fmla="*/ 2 h 203"/>
                    <a:gd name="T44" fmla="*/ 101 w 204"/>
                    <a:gd name="T45" fmla="*/ 0 h 203"/>
                    <a:gd name="T46" fmla="*/ 101 w 204"/>
                    <a:gd name="T47" fmla="*/ 0 h 203"/>
                    <a:gd name="T48" fmla="*/ 91 w 204"/>
                    <a:gd name="T49" fmla="*/ 2 h 203"/>
                    <a:gd name="T50" fmla="*/ 80 w 204"/>
                    <a:gd name="T51" fmla="*/ 2 h 203"/>
                    <a:gd name="T52" fmla="*/ 62 w 204"/>
                    <a:gd name="T53" fmla="*/ 8 h 203"/>
                    <a:gd name="T54" fmla="*/ 44 w 204"/>
                    <a:gd name="T55" fmla="*/ 17 h 203"/>
                    <a:gd name="T56" fmla="*/ 29 w 204"/>
                    <a:gd name="T57" fmla="*/ 31 h 203"/>
                    <a:gd name="T58" fmla="*/ 17 w 204"/>
                    <a:gd name="T59" fmla="*/ 44 h 203"/>
                    <a:gd name="T60" fmla="*/ 9 w 204"/>
                    <a:gd name="T61" fmla="*/ 61 h 203"/>
                    <a:gd name="T62" fmla="*/ 2 w 204"/>
                    <a:gd name="T63" fmla="*/ 82 h 203"/>
                    <a:gd name="T64" fmla="*/ 0 w 204"/>
                    <a:gd name="T65" fmla="*/ 91 h 203"/>
                    <a:gd name="T66" fmla="*/ 0 w 204"/>
                    <a:gd name="T67" fmla="*/ 103 h 203"/>
                    <a:gd name="T68" fmla="*/ 0 w 204"/>
                    <a:gd name="T69" fmla="*/ 103 h 203"/>
                    <a:gd name="T70" fmla="*/ 0 w 204"/>
                    <a:gd name="T71" fmla="*/ 113 h 203"/>
                    <a:gd name="T72" fmla="*/ 2 w 204"/>
                    <a:gd name="T73" fmla="*/ 121 h 203"/>
                    <a:gd name="T74" fmla="*/ 9 w 204"/>
                    <a:gd name="T75" fmla="*/ 142 h 203"/>
                    <a:gd name="T76" fmla="*/ 17 w 204"/>
                    <a:gd name="T77" fmla="*/ 159 h 203"/>
                    <a:gd name="T78" fmla="*/ 29 w 204"/>
                    <a:gd name="T79" fmla="*/ 173 h 203"/>
                    <a:gd name="T80" fmla="*/ 44 w 204"/>
                    <a:gd name="T81" fmla="*/ 186 h 203"/>
                    <a:gd name="T82" fmla="*/ 62 w 204"/>
                    <a:gd name="T83" fmla="*/ 195 h 203"/>
                    <a:gd name="T84" fmla="*/ 80 w 204"/>
                    <a:gd name="T85" fmla="*/ 202 h 203"/>
                    <a:gd name="T86" fmla="*/ 91 w 204"/>
                    <a:gd name="T87" fmla="*/ 202 h 203"/>
                    <a:gd name="T88" fmla="*/ 101 w 204"/>
                    <a:gd name="T89" fmla="*/ 203 h 203"/>
                    <a:gd name="T90" fmla="*/ 101 w 204"/>
                    <a:gd name="T91"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4" h="203">
                      <a:moveTo>
                        <a:pt x="101" y="203"/>
                      </a:moveTo>
                      <a:lnTo>
                        <a:pt x="101" y="203"/>
                      </a:lnTo>
                      <a:lnTo>
                        <a:pt x="111" y="202"/>
                      </a:lnTo>
                      <a:lnTo>
                        <a:pt x="121" y="202"/>
                      </a:lnTo>
                      <a:lnTo>
                        <a:pt x="140" y="195"/>
                      </a:lnTo>
                      <a:lnTo>
                        <a:pt x="157" y="186"/>
                      </a:lnTo>
                      <a:lnTo>
                        <a:pt x="173" y="173"/>
                      </a:lnTo>
                      <a:lnTo>
                        <a:pt x="185" y="159"/>
                      </a:lnTo>
                      <a:lnTo>
                        <a:pt x="195" y="142"/>
                      </a:lnTo>
                      <a:lnTo>
                        <a:pt x="200" y="121"/>
                      </a:lnTo>
                      <a:lnTo>
                        <a:pt x="202" y="113"/>
                      </a:lnTo>
                      <a:lnTo>
                        <a:pt x="204" y="103"/>
                      </a:lnTo>
                      <a:lnTo>
                        <a:pt x="204" y="103"/>
                      </a:lnTo>
                      <a:lnTo>
                        <a:pt x="202" y="91"/>
                      </a:lnTo>
                      <a:lnTo>
                        <a:pt x="200" y="82"/>
                      </a:lnTo>
                      <a:lnTo>
                        <a:pt x="195" y="61"/>
                      </a:lnTo>
                      <a:lnTo>
                        <a:pt x="185" y="44"/>
                      </a:lnTo>
                      <a:lnTo>
                        <a:pt x="173" y="31"/>
                      </a:lnTo>
                      <a:lnTo>
                        <a:pt x="157" y="17"/>
                      </a:lnTo>
                      <a:lnTo>
                        <a:pt x="140" y="8"/>
                      </a:lnTo>
                      <a:lnTo>
                        <a:pt x="121" y="2"/>
                      </a:lnTo>
                      <a:lnTo>
                        <a:pt x="111" y="2"/>
                      </a:lnTo>
                      <a:lnTo>
                        <a:pt x="101" y="0"/>
                      </a:lnTo>
                      <a:lnTo>
                        <a:pt x="101" y="0"/>
                      </a:lnTo>
                      <a:lnTo>
                        <a:pt x="91" y="2"/>
                      </a:lnTo>
                      <a:lnTo>
                        <a:pt x="80" y="2"/>
                      </a:lnTo>
                      <a:lnTo>
                        <a:pt x="62" y="8"/>
                      </a:lnTo>
                      <a:lnTo>
                        <a:pt x="44" y="17"/>
                      </a:lnTo>
                      <a:lnTo>
                        <a:pt x="29" y="31"/>
                      </a:lnTo>
                      <a:lnTo>
                        <a:pt x="17" y="44"/>
                      </a:lnTo>
                      <a:lnTo>
                        <a:pt x="9" y="61"/>
                      </a:lnTo>
                      <a:lnTo>
                        <a:pt x="2" y="82"/>
                      </a:lnTo>
                      <a:lnTo>
                        <a:pt x="0" y="91"/>
                      </a:lnTo>
                      <a:lnTo>
                        <a:pt x="0" y="103"/>
                      </a:lnTo>
                      <a:lnTo>
                        <a:pt x="0" y="103"/>
                      </a:lnTo>
                      <a:lnTo>
                        <a:pt x="0" y="113"/>
                      </a:lnTo>
                      <a:lnTo>
                        <a:pt x="2" y="121"/>
                      </a:lnTo>
                      <a:lnTo>
                        <a:pt x="9" y="142"/>
                      </a:lnTo>
                      <a:lnTo>
                        <a:pt x="17" y="159"/>
                      </a:lnTo>
                      <a:lnTo>
                        <a:pt x="29" y="173"/>
                      </a:lnTo>
                      <a:lnTo>
                        <a:pt x="44" y="186"/>
                      </a:lnTo>
                      <a:lnTo>
                        <a:pt x="62" y="195"/>
                      </a:lnTo>
                      <a:lnTo>
                        <a:pt x="80" y="202"/>
                      </a:lnTo>
                      <a:lnTo>
                        <a:pt x="91" y="202"/>
                      </a:lnTo>
                      <a:lnTo>
                        <a:pt x="101" y="203"/>
                      </a:lnTo>
                      <a:lnTo>
                        <a:pt x="101"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sp>
              <p:nvSpPr>
                <p:cNvPr id="106" name="Freeform 88"/>
                <p:cNvSpPr>
                  <a:spLocks/>
                </p:cNvSpPr>
                <p:nvPr/>
              </p:nvSpPr>
              <p:spPr bwMode="auto">
                <a:xfrm>
                  <a:off x="5930901" y="4284663"/>
                  <a:ext cx="271463" cy="271463"/>
                </a:xfrm>
                <a:custGeom>
                  <a:avLst/>
                  <a:gdLst>
                    <a:gd name="T0" fmla="*/ 171 w 342"/>
                    <a:gd name="T1" fmla="*/ 0 h 343"/>
                    <a:gd name="T2" fmla="*/ 135 w 342"/>
                    <a:gd name="T3" fmla="*/ 4 h 343"/>
                    <a:gd name="T4" fmla="*/ 104 w 342"/>
                    <a:gd name="T5" fmla="*/ 14 h 343"/>
                    <a:gd name="T6" fmla="*/ 75 w 342"/>
                    <a:gd name="T7" fmla="*/ 31 h 343"/>
                    <a:gd name="T8" fmla="*/ 49 w 342"/>
                    <a:gd name="T9" fmla="*/ 52 h 343"/>
                    <a:gd name="T10" fmla="*/ 29 w 342"/>
                    <a:gd name="T11" fmla="*/ 77 h 343"/>
                    <a:gd name="T12" fmla="*/ 12 w 342"/>
                    <a:gd name="T13" fmla="*/ 106 h 343"/>
                    <a:gd name="T14" fmla="*/ 3 w 342"/>
                    <a:gd name="T15" fmla="*/ 137 h 343"/>
                    <a:gd name="T16" fmla="*/ 0 w 342"/>
                    <a:gd name="T17" fmla="*/ 171 h 343"/>
                    <a:gd name="T18" fmla="*/ 0 w 342"/>
                    <a:gd name="T19" fmla="*/ 190 h 343"/>
                    <a:gd name="T20" fmla="*/ 7 w 342"/>
                    <a:gd name="T21" fmla="*/ 223 h 343"/>
                    <a:gd name="T22" fmla="*/ 20 w 342"/>
                    <a:gd name="T23" fmla="*/ 254 h 343"/>
                    <a:gd name="T24" fmla="*/ 37 w 342"/>
                    <a:gd name="T25" fmla="*/ 281 h 343"/>
                    <a:gd name="T26" fmla="*/ 61 w 342"/>
                    <a:gd name="T27" fmla="*/ 305 h 343"/>
                    <a:gd name="T28" fmla="*/ 89 w 342"/>
                    <a:gd name="T29" fmla="*/ 322 h 343"/>
                    <a:gd name="T30" fmla="*/ 119 w 342"/>
                    <a:gd name="T31" fmla="*/ 336 h 343"/>
                    <a:gd name="T32" fmla="*/ 152 w 342"/>
                    <a:gd name="T33" fmla="*/ 343 h 343"/>
                    <a:gd name="T34" fmla="*/ 171 w 342"/>
                    <a:gd name="T35" fmla="*/ 343 h 343"/>
                    <a:gd name="T36" fmla="*/ 205 w 342"/>
                    <a:gd name="T37" fmla="*/ 339 h 343"/>
                    <a:gd name="T38" fmla="*/ 236 w 342"/>
                    <a:gd name="T39" fmla="*/ 331 h 343"/>
                    <a:gd name="T40" fmla="*/ 265 w 342"/>
                    <a:gd name="T41" fmla="*/ 313 h 343"/>
                    <a:gd name="T42" fmla="*/ 291 w 342"/>
                    <a:gd name="T43" fmla="*/ 293 h 343"/>
                    <a:gd name="T44" fmla="*/ 311 w 342"/>
                    <a:gd name="T45" fmla="*/ 267 h 343"/>
                    <a:gd name="T46" fmla="*/ 328 w 342"/>
                    <a:gd name="T47" fmla="*/ 238 h 343"/>
                    <a:gd name="T48" fmla="*/ 338 w 342"/>
                    <a:gd name="T49" fmla="*/ 207 h 343"/>
                    <a:gd name="T50" fmla="*/ 342 w 342"/>
                    <a:gd name="T51" fmla="*/ 171 h 343"/>
                    <a:gd name="T52" fmla="*/ 340 w 342"/>
                    <a:gd name="T53" fmla="*/ 154 h 343"/>
                    <a:gd name="T54" fmla="*/ 333 w 342"/>
                    <a:gd name="T55" fmla="*/ 122 h 343"/>
                    <a:gd name="T56" fmla="*/ 320 w 342"/>
                    <a:gd name="T57" fmla="*/ 91 h 343"/>
                    <a:gd name="T58" fmla="*/ 302 w 342"/>
                    <a:gd name="T59" fmla="*/ 64 h 343"/>
                    <a:gd name="T60" fmla="*/ 279 w 342"/>
                    <a:gd name="T61" fmla="*/ 40 h 343"/>
                    <a:gd name="T62" fmla="*/ 251 w 342"/>
                    <a:gd name="T63" fmla="*/ 23 h 343"/>
                    <a:gd name="T64" fmla="*/ 220 w 342"/>
                    <a:gd name="T65" fmla="*/ 9 h 343"/>
                    <a:gd name="T66" fmla="*/ 188 w 342"/>
                    <a:gd name="T67" fmla="*/ 2 h 343"/>
                    <a:gd name="T68" fmla="*/ 171 w 342"/>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 h="343">
                      <a:moveTo>
                        <a:pt x="171" y="0"/>
                      </a:moveTo>
                      <a:lnTo>
                        <a:pt x="171" y="0"/>
                      </a:lnTo>
                      <a:lnTo>
                        <a:pt x="152" y="2"/>
                      </a:lnTo>
                      <a:lnTo>
                        <a:pt x="135" y="4"/>
                      </a:lnTo>
                      <a:lnTo>
                        <a:pt x="119" y="9"/>
                      </a:lnTo>
                      <a:lnTo>
                        <a:pt x="104" y="14"/>
                      </a:lnTo>
                      <a:lnTo>
                        <a:pt x="89" y="23"/>
                      </a:lnTo>
                      <a:lnTo>
                        <a:pt x="75" y="31"/>
                      </a:lnTo>
                      <a:lnTo>
                        <a:pt x="61" y="40"/>
                      </a:lnTo>
                      <a:lnTo>
                        <a:pt x="49" y="52"/>
                      </a:lnTo>
                      <a:lnTo>
                        <a:pt x="37" y="64"/>
                      </a:lnTo>
                      <a:lnTo>
                        <a:pt x="29" y="77"/>
                      </a:lnTo>
                      <a:lnTo>
                        <a:pt x="20" y="91"/>
                      </a:lnTo>
                      <a:lnTo>
                        <a:pt x="12" y="106"/>
                      </a:lnTo>
                      <a:lnTo>
                        <a:pt x="7" y="122"/>
                      </a:lnTo>
                      <a:lnTo>
                        <a:pt x="3" y="137"/>
                      </a:lnTo>
                      <a:lnTo>
                        <a:pt x="0" y="154"/>
                      </a:lnTo>
                      <a:lnTo>
                        <a:pt x="0" y="171"/>
                      </a:lnTo>
                      <a:lnTo>
                        <a:pt x="0" y="171"/>
                      </a:lnTo>
                      <a:lnTo>
                        <a:pt x="0" y="190"/>
                      </a:lnTo>
                      <a:lnTo>
                        <a:pt x="3" y="207"/>
                      </a:lnTo>
                      <a:lnTo>
                        <a:pt x="7" y="223"/>
                      </a:lnTo>
                      <a:lnTo>
                        <a:pt x="12" y="238"/>
                      </a:lnTo>
                      <a:lnTo>
                        <a:pt x="20" y="254"/>
                      </a:lnTo>
                      <a:lnTo>
                        <a:pt x="29" y="267"/>
                      </a:lnTo>
                      <a:lnTo>
                        <a:pt x="37" y="281"/>
                      </a:lnTo>
                      <a:lnTo>
                        <a:pt x="49" y="293"/>
                      </a:lnTo>
                      <a:lnTo>
                        <a:pt x="61" y="305"/>
                      </a:lnTo>
                      <a:lnTo>
                        <a:pt x="75" y="313"/>
                      </a:lnTo>
                      <a:lnTo>
                        <a:pt x="89" y="322"/>
                      </a:lnTo>
                      <a:lnTo>
                        <a:pt x="104" y="331"/>
                      </a:lnTo>
                      <a:lnTo>
                        <a:pt x="119" y="336"/>
                      </a:lnTo>
                      <a:lnTo>
                        <a:pt x="135" y="339"/>
                      </a:lnTo>
                      <a:lnTo>
                        <a:pt x="152" y="343"/>
                      </a:lnTo>
                      <a:lnTo>
                        <a:pt x="171" y="343"/>
                      </a:lnTo>
                      <a:lnTo>
                        <a:pt x="171" y="343"/>
                      </a:lnTo>
                      <a:lnTo>
                        <a:pt x="188" y="343"/>
                      </a:lnTo>
                      <a:lnTo>
                        <a:pt x="205" y="339"/>
                      </a:lnTo>
                      <a:lnTo>
                        <a:pt x="220" y="336"/>
                      </a:lnTo>
                      <a:lnTo>
                        <a:pt x="236" y="331"/>
                      </a:lnTo>
                      <a:lnTo>
                        <a:pt x="251" y="322"/>
                      </a:lnTo>
                      <a:lnTo>
                        <a:pt x="265" y="313"/>
                      </a:lnTo>
                      <a:lnTo>
                        <a:pt x="279" y="305"/>
                      </a:lnTo>
                      <a:lnTo>
                        <a:pt x="291" y="293"/>
                      </a:lnTo>
                      <a:lnTo>
                        <a:pt x="302" y="281"/>
                      </a:lnTo>
                      <a:lnTo>
                        <a:pt x="311" y="267"/>
                      </a:lnTo>
                      <a:lnTo>
                        <a:pt x="320" y="254"/>
                      </a:lnTo>
                      <a:lnTo>
                        <a:pt x="328" y="238"/>
                      </a:lnTo>
                      <a:lnTo>
                        <a:pt x="333" y="223"/>
                      </a:lnTo>
                      <a:lnTo>
                        <a:pt x="338" y="207"/>
                      </a:lnTo>
                      <a:lnTo>
                        <a:pt x="340" y="190"/>
                      </a:lnTo>
                      <a:lnTo>
                        <a:pt x="342" y="171"/>
                      </a:lnTo>
                      <a:lnTo>
                        <a:pt x="342" y="171"/>
                      </a:lnTo>
                      <a:lnTo>
                        <a:pt x="340" y="154"/>
                      </a:lnTo>
                      <a:lnTo>
                        <a:pt x="338" y="137"/>
                      </a:lnTo>
                      <a:lnTo>
                        <a:pt x="333" y="122"/>
                      </a:lnTo>
                      <a:lnTo>
                        <a:pt x="328" y="106"/>
                      </a:lnTo>
                      <a:lnTo>
                        <a:pt x="320" y="91"/>
                      </a:lnTo>
                      <a:lnTo>
                        <a:pt x="311" y="77"/>
                      </a:lnTo>
                      <a:lnTo>
                        <a:pt x="302" y="64"/>
                      </a:lnTo>
                      <a:lnTo>
                        <a:pt x="291" y="52"/>
                      </a:lnTo>
                      <a:lnTo>
                        <a:pt x="279" y="40"/>
                      </a:lnTo>
                      <a:lnTo>
                        <a:pt x="265" y="31"/>
                      </a:lnTo>
                      <a:lnTo>
                        <a:pt x="251" y="23"/>
                      </a:lnTo>
                      <a:lnTo>
                        <a:pt x="236" y="14"/>
                      </a:lnTo>
                      <a:lnTo>
                        <a:pt x="220" y="9"/>
                      </a:lnTo>
                      <a:lnTo>
                        <a:pt x="205" y="4"/>
                      </a:lnTo>
                      <a:lnTo>
                        <a:pt x="188" y="2"/>
                      </a:lnTo>
                      <a:lnTo>
                        <a:pt x="171" y="0"/>
                      </a:lnTo>
                      <a:lnTo>
                        <a:pt x="17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sp>
              <p:nvSpPr>
                <p:cNvPr id="107" name="Freeform 89"/>
                <p:cNvSpPr>
                  <a:spLocks/>
                </p:cNvSpPr>
                <p:nvPr/>
              </p:nvSpPr>
              <p:spPr bwMode="auto">
                <a:xfrm>
                  <a:off x="5703888" y="4719638"/>
                  <a:ext cx="254000" cy="741363"/>
                </a:xfrm>
                <a:custGeom>
                  <a:avLst/>
                  <a:gdLst>
                    <a:gd name="T0" fmla="*/ 322 w 322"/>
                    <a:gd name="T1" fmla="*/ 934 h 934"/>
                    <a:gd name="T2" fmla="*/ 322 w 322"/>
                    <a:gd name="T3" fmla="*/ 0 h 934"/>
                    <a:gd name="T4" fmla="*/ 0 w 322"/>
                    <a:gd name="T5" fmla="*/ 934 h 934"/>
                    <a:gd name="T6" fmla="*/ 322 w 322"/>
                    <a:gd name="T7" fmla="*/ 934 h 934"/>
                  </a:gdLst>
                  <a:ahLst/>
                  <a:cxnLst>
                    <a:cxn ang="0">
                      <a:pos x="T0" y="T1"/>
                    </a:cxn>
                    <a:cxn ang="0">
                      <a:pos x="T2" y="T3"/>
                    </a:cxn>
                    <a:cxn ang="0">
                      <a:pos x="T4" y="T5"/>
                    </a:cxn>
                    <a:cxn ang="0">
                      <a:pos x="T6" y="T7"/>
                    </a:cxn>
                  </a:cxnLst>
                  <a:rect l="0" t="0" r="r" b="b"/>
                  <a:pathLst>
                    <a:path w="322" h="934">
                      <a:moveTo>
                        <a:pt x="322" y="934"/>
                      </a:moveTo>
                      <a:lnTo>
                        <a:pt x="322" y="0"/>
                      </a:lnTo>
                      <a:lnTo>
                        <a:pt x="0" y="934"/>
                      </a:lnTo>
                      <a:lnTo>
                        <a:pt x="322" y="9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sp>
              <p:nvSpPr>
                <p:cNvPr id="108" name="Freeform 90"/>
                <p:cNvSpPr>
                  <a:spLocks noEditPoints="1"/>
                </p:cNvSpPr>
                <p:nvPr/>
              </p:nvSpPr>
              <p:spPr bwMode="auto">
                <a:xfrm>
                  <a:off x="5408613" y="3811588"/>
                  <a:ext cx="2695575" cy="1812925"/>
                </a:xfrm>
                <a:custGeom>
                  <a:avLst/>
                  <a:gdLst>
                    <a:gd name="T0" fmla="*/ 1112 w 3396"/>
                    <a:gd name="T1" fmla="*/ 888 h 2284"/>
                    <a:gd name="T2" fmla="*/ 1642 w 3396"/>
                    <a:gd name="T3" fmla="*/ 1167 h 2284"/>
                    <a:gd name="T4" fmla="*/ 1938 w 3396"/>
                    <a:gd name="T5" fmla="*/ 1382 h 2284"/>
                    <a:gd name="T6" fmla="*/ 2036 w 3396"/>
                    <a:gd name="T7" fmla="*/ 1283 h 2284"/>
                    <a:gd name="T8" fmla="*/ 2132 w 3396"/>
                    <a:gd name="T9" fmla="*/ 1362 h 2284"/>
                    <a:gd name="T10" fmla="*/ 2429 w 3396"/>
                    <a:gd name="T11" fmla="*/ 1167 h 2284"/>
                    <a:gd name="T12" fmla="*/ 2250 w 3396"/>
                    <a:gd name="T13" fmla="*/ 344 h 2284"/>
                    <a:gd name="T14" fmla="*/ 2269 w 3396"/>
                    <a:gd name="T15" fmla="*/ 192 h 2284"/>
                    <a:gd name="T16" fmla="*/ 2169 w 3396"/>
                    <a:gd name="T17" fmla="*/ 41 h 2284"/>
                    <a:gd name="T18" fmla="*/ 2015 w 3396"/>
                    <a:gd name="T19" fmla="*/ 2 h 2284"/>
                    <a:gd name="T20" fmla="*/ 1878 w 3396"/>
                    <a:gd name="T21" fmla="*/ 62 h 2284"/>
                    <a:gd name="T22" fmla="*/ 1018 w 3396"/>
                    <a:gd name="T23" fmla="*/ 524 h 2284"/>
                    <a:gd name="T24" fmla="*/ 855 w 3396"/>
                    <a:gd name="T25" fmla="*/ 460 h 2284"/>
                    <a:gd name="T26" fmla="*/ 657 w 3396"/>
                    <a:gd name="T27" fmla="*/ 512 h 2284"/>
                    <a:gd name="T28" fmla="*/ 527 w 3396"/>
                    <a:gd name="T29" fmla="*/ 705 h 2284"/>
                    <a:gd name="T30" fmla="*/ 556 w 3396"/>
                    <a:gd name="T31" fmla="*/ 908 h 2284"/>
                    <a:gd name="T32" fmla="*/ 3396 w 3396"/>
                    <a:gd name="T33" fmla="*/ 2147 h 2284"/>
                    <a:gd name="T34" fmla="*/ 2200 w 3396"/>
                    <a:gd name="T35" fmla="*/ 1348 h 2284"/>
                    <a:gd name="T36" fmla="*/ 2130 w 3396"/>
                    <a:gd name="T37" fmla="*/ 1244 h 2284"/>
                    <a:gd name="T38" fmla="*/ 2019 w 3396"/>
                    <a:gd name="T39" fmla="*/ 1216 h 2284"/>
                    <a:gd name="T40" fmla="*/ 1908 w 3396"/>
                    <a:gd name="T41" fmla="*/ 1276 h 2284"/>
                    <a:gd name="T42" fmla="*/ 1870 w 3396"/>
                    <a:gd name="T43" fmla="*/ 1608 h 2284"/>
                    <a:gd name="T44" fmla="*/ 1949 w 3396"/>
                    <a:gd name="T45" fmla="*/ 1109 h 2284"/>
                    <a:gd name="T46" fmla="*/ 2074 w 3396"/>
                    <a:gd name="T47" fmla="*/ 1127 h 2284"/>
                    <a:gd name="T48" fmla="*/ 2363 w 3396"/>
                    <a:gd name="T49" fmla="*/ 1157 h 2284"/>
                    <a:gd name="T50" fmla="*/ 1950 w 3396"/>
                    <a:gd name="T51" fmla="*/ 802 h 2284"/>
                    <a:gd name="T52" fmla="*/ 2009 w 3396"/>
                    <a:gd name="T53" fmla="*/ 476 h 2284"/>
                    <a:gd name="T54" fmla="*/ 2145 w 3396"/>
                    <a:gd name="T55" fmla="*/ 820 h 2284"/>
                    <a:gd name="T56" fmla="*/ 2036 w 3396"/>
                    <a:gd name="T57" fmla="*/ 780 h 2284"/>
                    <a:gd name="T58" fmla="*/ 2125 w 3396"/>
                    <a:gd name="T59" fmla="*/ 1016 h 2284"/>
                    <a:gd name="T60" fmla="*/ 2036 w 3396"/>
                    <a:gd name="T61" fmla="*/ 1062 h 2284"/>
                    <a:gd name="T62" fmla="*/ 1937 w 3396"/>
                    <a:gd name="T63" fmla="*/ 997 h 2284"/>
                    <a:gd name="T64" fmla="*/ 1933 w 3396"/>
                    <a:gd name="T65" fmla="*/ 924 h 2284"/>
                    <a:gd name="T66" fmla="*/ 2026 w 3396"/>
                    <a:gd name="T67" fmla="*/ 849 h 2284"/>
                    <a:gd name="T68" fmla="*/ 2111 w 3396"/>
                    <a:gd name="T69" fmla="*/ 879 h 2284"/>
                    <a:gd name="T70" fmla="*/ 2036 w 3396"/>
                    <a:gd name="T71" fmla="*/ 68 h 2284"/>
                    <a:gd name="T72" fmla="*/ 2144 w 3396"/>
                    <a:gd name="T73" fmla="*/ 108 h 2284"/>
                    <a:gd name="T74" fmla="*/ 2205 w 3396"/>
                    <a:gd name="T75" fmla="*/ 221 h 2284"/>
                    <a:gd name="T76" fmla="*/ 2176 w 3396"/>
                    <a:gd name="T77" fmla="*/ 334 h 2284"/>
                    <a:gd name="T78" fmla="*/ 2070 w 3396"/>
                    <a:gd name="T79" fmla="*/ 406 h 2284"/>
                    <a:gd name="T80" fmla="*/ 1955 w 3396"/>
                    <a:gd name="T81" fmla="*/ 388 h 2284"/>
                    <a:gd name="T82" fmla="*/ 1875 w 3396"/>
                    <a:gd name="T83" fmla="*/ 289 h 2284"/>
                    <a:gd name="T84" fmla="*/ 1880 w 3396"/>
                    <a:gd name="T85" fmla="*/ 173 h 2284"/>
                    <a:gd name="T86" fmla="*/ 1971 w 3396"/>
                    <a:gd name="T87" fmla="*/ 82 h 2284"/>
                    <a:gd name="T88" fmla="*/ 1800 w 3396"/>
                    <a:gd name="T89" fmla="*/ 270 h 2284"/>
                    <a:gd name="T90" fmla="*/ 1858 w 3396"/>
                    <a:gd name="T91" fmla="*/ 412 h 2284"/>
                    <a:gd name="T92" fmla="*/ 1095 w 3396"/>
                    <a:gd name="T93" fmla="*/ 611 h 2284"/>
                    <a:gd name="T94" fmla="*/ 679 w 3396"/>
                    <a:gd name="T95" fmla="*/ 1037 h 2284"/>
                    <a:gd name="T96" fmla="*/ 830 w 3396"/>
                    <a:gd name="T97" fmla="*/ 1074 h 2284"/>
                    <a:gd name="T98" fmla="*/ 970 w 3396"/>
                    <a:gd name="T99" fmla="*/ 1042 h 2284"/>
                    <a:gd name="T100" fmla="*/ 715 w 3396"/>
                    <a:gd name="T101" fmla="*/ 979 h 2284"/>
                    <a:gd name="T102" fmla="*/ 601 w 3396"/>
                    <a:gd name="T103" fmla="*/ 838 h 2284"/>
                    <a:gd name="T104" fmla="*/ 609 w 3396"/>
                    <a:gd name="T105" fmla="*/ 674 h 2284"/>
                    <a:gd name="T106" fmla="*/ 736 w 3396"/>
                    <a:gd name="T107" fmla="*/ 546 h 2284"/>
                    <a:gd name="T108" fmla="*/ 900 w 3396"/>
                    <a:gd name="T109" fmla="*/ 539 h 2284"/>
                    <a:gd name="T110" fmla="*/ 1040 w 3396"/>
                    <a:gd name="T111" fmla="*/ 654 h 2284"/>
                    <a:gd name="T112" fmla="*/ 1064 w 3396"/>
                    <a:gd name="T113" fmla="*/ 816 h 2284"/>
                    <a:gd name="T114" fmla="*/ 963 w 3396"/>
                    <a:gd name="T115" fmla="*/ 967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96" h="2284">
                      <a:moveTo>
                        <a:pt x="1038" y="2147"/>
                      </a:moveTo>
                      <a:lnTo>
                        <a:pt x="1038" y="994"/>
                      </a:lnTo>
                      <a:lnTo>
                        <a:pt x="1038" y="994"/>
                      </a:lnTo>
                      <a:lnTo>
                        <a:pt x="1056" y="975"/>
                      </a:lnTo>
                      <a:lnTo>
                        <a:pt x="1073" y="955"/>
                      </a:lnTo>
                      <a:lnTo>
                        <a:pt x="1088" y="934"/>
                      </a:lnTo>
                      <a:lnTo>
                        <a:pt x="1100" y="912"/>
                      </a:lnTo>
                      <a:lnTo>
                        <a:pt x="1112" y="888"/>
                      </a:lnTo>
                      <a:lnTo>
                        <a:pt x="1121" y="864"/>
                      </a:lnTo>
                      <a:lnTo>
                        <a:pt x="1129" y="838"/>
                      </a:lnTo>
                      <a:lnTo>
                        <a:pt x="1134" y="813"/>
                      </a:lnTo>
                      <a:lnTo>
                        <a:pt x="1858" y="488"/>
                      </a:lnTo>
                      <a:lnTo>
                        <a:pt x="1858" y="1021"/>
                      </a:lnTo>
                      <a:lnTo>
                        <a:pt x="1683" y="1093"/>
                      </a:lnTo>
                      <a:lnTo>
                        <a:pt x="1634" y="1114"/>
                      </a:lnTo>
                      <a:lnTo>
                        <a:pt x="1642" y="1167"/>
                      </a:lnTo>
                      <a:lnTo>
                        <a:pt x="1719" y="1618"/>
                      </a:lnTo>
                      <a:lnTo>
                        <a:pt x="1730" y="1677"/>
                      </a:lnTo>
                      <a:lnTo>
                        <a:pt x="1788" y="1677"/>
                      </a:lnTo>
                      <a:lnTo>
                        <a:pt x="1870" y="1677"/>
                      </a:lnTo>
                      <a:lnTo>
                        <a:pt x="1938" y="1677"/>
                      </a:lnTo>
                      <a:lnTo>
                        <a:pt x="1938" y="1608"/>
                      </a:lnTo>
                      <a:lnTo>
                        <a:pt x="1938" y="1382"/>
                      </a:lnTo>
                      <a:lnTo>
                        <a:pt x="1938" y="1382"/>
                      </a:lnTo>
                      <a:lnTo>
                        <a:pt x="1940" y="1362"/>
                      </a:lnTo>
                      <a:lnTo>
                        <a:pt x="1945" y="1343"/>
                      </a:lnTo>
                      <a:lnTo>
                        <a:pt x="1955" y="1328"/>
                      </a:lnTo>
                      <a:lnTo>
                        <a:pt x="1967" y="1312"/>
                      </a:lnTo>
                      <a:lnTo>
                        <a:pt x="1981" y="1300"/>
                      </a:lnTo>
                      <a:lnTo>
                        <a:pt x="1998" y="1292"/>
                      </a:lnTo>
                      <a:lnTo>
                        <a:pt x="2017" y="1285"/>
                      </a:lnTo>
                      <a:lnTo>
                        <a:pt x="2036" y="1283"/>
                      </a:lnTo>
                      <a:lnTo>
                        <a:pt x="2036" y="1283"/>
                      </a:lnTo>
                      <a:lnTo>
                        <a:pt x="2056" y="1285"/>
                      </a:lnTo>
                      <a:lnTo>
                        <a:pt x="2074" y="1292"/>
                      </a:lnTo>
                      <a:lnTo>
                        <a:pt x="2091" y="1300"/>
                      </a:lnTo>
                      <a:lnTo>
                        <a:pt x="2106" y="1312"/>
                      </a:lnTo>
                      <a:lnTo>
                        <a:pt x="2118" y="1328"/>
                      </a:lnTo>
                      <a:lnTo>
                        <a:pt x="2127" y="1343"/>
                      </a:lnTo>
                      <a:lnTo>
                        <a:pt x="2132" y="1362"/>
                      </a:lnTo>
                      <a:lnTo>
                        <a:pt x="2133" y="1382"/>
                      </a:lnTo>
                      <a:lnTo>
                        <a:pt x="2133" y="1608"/>
                      </a:lnTo>
                      <a:lnTo>
                        <a:pt x="2133" y="1677"/>
                      </a:lnTo>
                      <a:lnTo>
                        <a:pt x="2202" y="1677"/>
                      </a:lnTo>
                      <a:lnTo>
                        <a:pt x="2286" y="1677"/>
                      </a:lnTo>
                      <a:lnTo>
                        <a:pt x="2342" y="1677"/>
                      </a:lnTo>
                      <a:lnTo>
                        <a:pt x="2352" y="1618"/>
                      </a:lnTo>
                      <a:lnTo>
                        <a:pt x="2429" y="1167"/>
                      </a:lnTo>
                      <a:lnTo>
                        <a:pt x="2438" y="1114"/>
                      </a:lnTo>
                      <a:lnTo>
                        <a:pt x="2388" y="1093"/>
                      </a:lnTo>
                      <a:lnTo>
                        <a:pt x="2214" y="1021"/>
                      </a:lnTo>
                      <a:lnTo>
                        <a:pt x="2214" y="395"/>
                      </a:lnTo>
                      <a:lnTo>
                        <a:pt x="2214" y="395"/>
                      </a:lnTo>
                      <a:lnTo>
                        <a:pt x="2228" y="380"/>
                      </a:lnTo>
                      <a:lnTo>
                        <a:pt x="2239" y="361"/>
                      </a:lnTo>
                      <a:lnTo>
                        <a:pt x="2250" y="344"/>
                      </a:lnTo>
                      <a:lnTo>
                        <a:pt x="2258" y="323"/>
                      </a:lnTo>
                      <a:lnTo>
                        <a:pt x="2265" y="303"/>
                      </a:lnTo>
                      <a:lnTo>
                        <a:pt x="2270" y="282"/>
                      </a:lnTo>
                      <a:lnTo>
                        <a:pt x="2274" y="262"/>
                      </a:lnTo>
                      <a:lnTo>
                        <a:pt x="2274" y="240"/>
                      </a:lnTo>
                      <a:lnTo>
                        <a:pt x="2274" y="240"/>
                      </a:lnTo>
                      <a:lnTo>
                        <a:pt x="2272" y="214"/>
                      </a:lnTo>
                      <a:lnTo>
                        <a:pt x="2269" y="192"/>
                      </a:lnTo>
                      <a:lnTo>
                        <a:pt x="2263" y="168"/>
                      </a:lnTo>
                      <a:lnTo>
                        <a:pt x="2255" y="145"/>
                      </a:lnTo>
                      <a:lnTo>
                        <a:pt x="2245" y="125"/>
                      </a:lnTo>
                      <a:lnTo>
                        <a:pt x="2233" y="106"/>
                      </a:lnTo>
                      <a:lnTo>
                        <a:pt x="2219" y="87"/>
                      </a:lnTo>
                      <a:lnTo>
                        <a:pt x="2204" y="70"/>
                      </a:lnTo>
                      <a:lnTo>
                        <a:pt x="2186" y="55"/>
                      </a:lnTo>
                      <a:lnTo>
                        <a:pt x="2169" y="41"/>
                      </a:lnTo>
                      <a:lnTo>
                        <a:pt x="2149" y="29"/>
                      </a:lnTo>
                      <a:lnTo>
                        <a:pt x="2128" y="19"/>
                      </a:lnTo>
                      <a:lnTo>
                        <a:pt x="2106" y="12"/>
                      </a:lnTo>
                      <a:lnTo>
                        <a:pt x="2084" y="5"/>
                      </a:lnTo>
                      <a:lnTo>
                        <a:pt x="2060" y="2"/>
                      </a:lnTo>
                      <a:lnTo>
                        <a:pt x="2036" y="0"/>
                      </a:lnTo>
                      <a:lnTo>
                        <a:pt x="2036" y="0"/>
                      </a:lnTo>
                      <a:lnTo>
                        <a:pt x="2015" y="2"/>
                      </a:lnTo>
                      <a:lnTo>
                        <a:pt x="1997" y="3"/>
                      </a:lnTo>
                      <a:lnTo>
                        <a:pt x="1978" y="9"/>
                      </a:lnTo>
                      <a:lnTo>
                        <a:pt x="1959" y="14"/>
                      </a:lnTo>
                      <a:lnTo>
                        <a:pt x="1942" y="21"/>
                      </a:lnTo>
                      <a:lnTo>
                        <a:pt x="1925" y="29"/>
                      </a:lnTo>
                      <a:lnTo>
                        <a:pt x="1908" y="38"/>
                      </a:lnTo>
                      <a:lnTo>
                        <a:pt x="1892" y="50"/>
                      </a:lnTo>
                      <a:lnTo>
                        <a:pt x="1878" y="62"/>
                      </a:lnTo>
                      <a:lnTo>
                        <a:pt x="1865" y="74"/>
                      </a:lnTo>
                      <a:lnTo>
                        <a:pt x="1853" y="87"/>
                      </a:lnTo>
                      <a:lnTo>
                        <a:pt x="1841" y="103"/>
                      </a:lnTo>
                      <a:lnTo>
                        <a:pt x="1831" y="118"/>
                      </a:lnTo>
                      <a:lnTo>
                        <a:pt x="1822" y="135"/>
                      </a:lnTo>
                      <a:lnTo>
                        <a:pt x="1813" y="152"/>
                      </a:lnTo>
                      <a:lnTo>
                        <a:pt x="1808" y="171"/>
                      </a:lnTo>
                      <a:lnTo>
                        <a:pt x="1018" y="524"/>
                      </a:lnTo>
                      <a:lnTo>
                        <a:pt x="1018" y="524"/>
                      </a:lnTo>
                      <a:lnTo>
                        <a:pt x="997" y="510"/>
                      </a:lnTo>
                      <a:lnTo>
                        <a:pt x="977" y="496"/>
                      </a:lnTo>
                      <a:lnTo>
                        <a:pt x="955" y="486"/>
                      </a:lnTo>
                      <a:lnTo>
                        <a:pt x="931" y="477"/>
                      </a:lnTo>
                      <a:lnTo>
                        <a:pt x="907" y="469"/>
                      </a:lnTo>
                      <a:lnTo>
                        <a:pt x="881" y="464"/>
                      </a:lnTo>
                      <a:lnTo>
                        <a:pt x="855" y="460"/>
                      </a:lnTo>
                      <a:lnTo>
                        <a:pt x="830" y="459"/>
                      </a:lnTo>
                      <a:lnTo>
                        <a:pt x="830" y="459"/>
                      </a:lnTo>
                      <a:lnTo>
                        <a:pt x="797" y="460"/>
                      </a:lnTo>
                      <a:lnTo>
                        <a:pt x="766" y="465"/>
                      </a:lnTo>
                      <a:lnTo>
                        <a:pt x="737" y="474"/>
                      </a:lnTo>
                      <a:lnTo>
                        <a:pt x="710" y="484"/>
                      </a:lnTo>
                      <a:lnTo>
                        <a:pt x="683" y="496"/>
                      </a:lnTo>
                      <a:lnTo>
                        <a:pt x="657" y="512"/>
                      </a:lnTo>
                      <a:lnTo>
                        <a:pt x="633" y="530"/>
                      </a:lnTo>
                      <a:lnTo>
                        <a:pt x="611" y="549"/>
                      </a:lnTo>
                      <a:lnTo>
                        <a:pt x="592" y="571"/>
                      </a:lnTo>
                      <a:lnTo>
                        <a:pt x="573" y="595"/>
                      </a:lnTo>
                      <a:lnTo>
                        <a:pt x="558" y="621"/>
                      </a:lnTo>
                      <a:lnTo>
                        <a:pt x="546" y="647"/>
                      </a:lnTo>
                      <a:lnTo>
                        <a:pt x="535" y="676"/>
                      </a:lnTo>
                      <a:lnTo>
                        <a:pt x="527" y="705"/>
                      </a:lnTo>
                      <a:lnTo>
                        <a:pt x="522" y="736"/>
                      </a:lnTo>
                      <a:lnTo>
                        <a:pt x="522" y="766"/>
                      </a:lnTo>
                      <a:lnTo>
                        <a:pt x="522" y="766"/>
                      </a:lnTo>
                      <a:lnTo>
                        <a:pt x="522" y="797"/>
                      </a:lnTo>
                      <a:lnTo>
                        <a:pt x="527" y="826"/>
                      </a:lnTo>
                      <a:lnTo>
                        <a:pt x="534" y="855"/>
                      </a:lnTo>
                      <a:lnTo>
                        <a:pt x="544" y="883"/>
                      </a:lnTo>
                      <a:lnTo>
                        <a:pt x="556" y="908"/>
                      </a:lnTo>
                      <a:lnTo>
                        <a:pt x="570" y="932"/>
                      </a:lnTo>
                      <a:lnTo>
                        <a:pt x="587" y="956"/>
                      </a:lnTo>
                      <a:lnTo>
                        <a:pt x="604" y="979"/>
                      </a:lnTo>
                      <a:lnTo>
                        <a:pt x="202" y="2147"/>
                      </a:lnTo>
                      <a:lnTo>
                        <a:pt x="0" y="2147"/>
                      </a:lnTo>
                      <a:lnTo>
                        <a:pt x="0" y="2284"/>
                      </a:lnTo>
                      <a:lnTo>
                        <a:pt x="3396" y="2284"/>
                      </a:lnTo>
                      <a:lnTo>
                        <a:pt x="3396" y="2147"/>
                      </a:lnTo>
                      <a:lnTo>
                        <a:pt x="1038" y="2147"/>
                      </a:lnTo>
                      <a:close/>
                      <a:moveTo>
                        <a:pt x="2363" y="1157"/>
                      </a:moveTo>
                      <a:lnTo>
                        <a:pt x="2286" y="1608"/>
                      </a:lnTo>
                      <a:lnTo>
                        <a:pt x="2202" y="1608"/>
                      </a:lnTo>
                      <a:lnTo>
                        <a:pt x="2202" y="1382"/>
                      </a:lnTo>
                      <a:lnTo>
                        <a:pt x="2202" y="1382"/>
                      </a:lnTo>
                      <a:lnTo>
                        <a:pt x="2202" y="1365"/>
                      </a:lnTo>
                      <a:lnTo>
                        <a:pt x="2200" y="1348"/>
                      </a:lnTo>
                      <a:lnTo>
                        <a:pt x="2195" y="1333"/>
                      </a:lnTo>
                      <a:lnTo>
                        <a:pt x="2190" y="1317"/>
                      </a:lnTo>
                      <a:lnTo>
                        <a:pt x="2183" y="1302"/>
                      </a:lnTo>
                      <a:lnTo>
                        <a:pt x="2174" y="1288"/>
                      </a:lnTo>
                      <a:lnTo>
                        <a:pt x="2164" y="1276"/>
                      </a:lnTo>
                      <a:lnTo>
                        <a:pt x="2154" y="1264"/>
                      </a:lnTo>
                      <a:lnTo>
                        <a:pt x="2142" y="1252"/>
                      </a:lnTo>
                      <a:lnTo>
                        <a:pt x="2130" y="1244"/>
                      </a:lnTo>
                      <a:lnTo>
                        <a:pt x="2116" y="1235"/>
                      </a:lnTo>
                      <a:lnTo>
                        <a:pt x="2101" y="1228"/>
                      </a:lnTo>
                      <a:lnTo>
                        <a:pt x="2086" y="1223"/>
                      </a:lnTo>
                      <a:lnTo>
                        <a:pt x="2070" y="1218"/>
                      </a:lnTo>
                      <a:lnTo>
                        <a:pt x="2053" y="1216"/>
                      </a:lnTo>
                      <a:lnTo>
                        <a:pt x="2036" y="1215"/>
                      </a:lnTo>
                      <a:lnTo>
                        <a:pt x="2036" y="1215"/>
                      </a:lnTo>
                      <a:lnTo>
                        <a:pt x="2019" y="1216"/>
                      </a:lnTo>
                      <a:lnTo>
                        <a:pt x="2002" y="1218"/>
                      </a:lnTo>
                      <a:lnTo>
                        <a:pt x="1986" y="1223"/>
                      </a:lnTo>
                      <a:lnTo>
                        <a:pt x="1971" y="1228"/>
                      </a:lnTo>
                      <a:lnTo>
                        <a:pt x="1957" y="1235"/>
                      </a:lnTo>
                      <a:lnTo>
                        <a:pt x="1944" y="1244"/>
                      </a:lnTo>
                      <a:lnTo>
                        <a:pt x="1930" y="1252"/>
                      </a:lnTo>
                      <a:lnTo>
                        <a:pt x="1918" y="1264"/>
                      </a:lnTo>
                      <a:lnTo>
                        <a:pt x="1908" y="1276"/>
                      </a:lnTo>
                      <a:lnTo>
                        <a:pt x="1897" y="1288"/>
                      </a:lnTo>
                      <a:lnTo>
                        <a:pt x="1889" y="1302"/>
                      </a:lnTo>
                      <a:lnTo>
                        <a:pt x="1882" y="1317"/>
                      </a:lnTo>
                      <a:lnTo>
                        <a:pt x="1877" y="1333"/>
                      </a:lnTo>
                      <a:lnTo>
                        <a:pt x="1873" y="1348"/>
                      </a:lnTo>
                      <a:lnTo>
                        <a:pt x="1870" y="1365"/>
                      </a:lnTo>
                      <a:lnTo>
                        <a:pt x="1870" y="1382"/>
                      </a:lnTo>
                      <a:lnTo>
                        <a:pt x="1870" y="1608"/>
                      </a:lnTo>
                      <a:lnTo>
                        <a:pt x="1788" y="1608"/>
                      </a:lnTo>
                      <a:lnTo>
                        <a:pt x="1711" y="1157"/>
                      </a:lnTo>
                      <a:lnTo>
                        <a:pt x="1908" y="1074"/>
                      </a:lnTo>
                      <a:lnTo>
                        <a:pt x="1908" y="1074"/>
                      </a:lnTo>
                      <a:lnTo>
                        <a:pt x="1908" y="1074"/>
                      </a:lnTo>
                      <a:lnTo>
                        <a:pt x="1920" y="1088"/>
                      </a:lnTo>
                      <a:lnTo>
                        <a:pt x="1933" y="1098"/>
                      </a:lnTo>
                      <a:lnTo>
                        <a:pt x="1949" y="1109"/>
                      </a:lnTo>
                      <a:lnTo>
                        <a:pt x="1964" y="1117"/>
                      </a:lnTo>
                      <a:lnTo>
                        <a:pt x="1981" y="1122"/>
                      </a:lnTo>
                      <a:lnTo>
                        <a:pt x="1998" y="1127"/>
                      </a:lnTo>
                      <a:lnTo>
                        <a:pt x="2017" y="1131"/>
                      </a:lnTo>
                      <a:lnTo>
                        <a:pt x="2036" y="1131"/>
                      </a:lnTo>
                      <a:lnTo>
                        <a:pt x="2036" y="1131"/>
                      </a:lnTo>
                      <a:lnTo>
                        <a:pt x="2055" y="1131"/>
                      </a:lnTo>
                      <a:lnTo>
                        <a:pt x="2074" y="1127"/>
                      </a:lnTo>
                      <a:lnTo>
                        <a:pt x="2091" y="1122"/>
                      </a:lnTo>
                      <a:lnTo>
                        <a:pt x="2108" y="1117"/>
                      </a:lnTo>
                      <a:lnTo>
                        <a:pt x="2123" y="1109"/>
                      </a:lnTo>
                      <a:lnTo>
                        <a:pt x="2139" y="1098"/>
                      </a:lnTo>
                      <a:lnTo>
                        <a:pt x="2152" y="1088"/>
                      </a:lnTo>
                      <a:lnTo>
                        <a:pt x="2164" y="1074"/>
                      </a:lnTo>
                      <a:lnTo>
                        <a:pt x="2164" y="1074"/>
                      </a:lnTo>
                      <a:lnTo>
                        <a:pt x="2363" y="1157"/>
                      </a:lnTo>
                      <a:close/>
                      <a:moveTo>
                        <a:pt x="2036" y="780"/>
                      </a:moveTo>
                      <a:lnTo>
                        <a:pt x="2036" y="780"/>
                      </a:lnTo>
                      <a:lnTo>
                        <a:pt x="2020" y="780"/>
                      </a:lnTo>
                      <a:lnTo>
                        <a:pt x="2005" y="782"/>
                      </a:lnTo>
                      <a:lnTo>
                        <a:pt x="1991" y="785"/>
                      </a:lnTo>
                      <a:lnTo>
                        <a:pt x="1978" y="790"/>
                      </a:lnTo>
                      <a:lnTo>
                        <a:pt x="1964" y="796"/>
                      </a:lnTo>
                      <a:lnTo>
                        <a:pt x="1950" y="802"/>
                      </a:lnTo>
                      <a:lnTo>
                        <a:pt x="1938" y="809"/>
                      </a:lnTo>
                      <a:lnTo>
                        <a:pt x="1926" y="818"/>
                      </a:lnTo>
                      <a:lnTo>
                        <a:pt x="1926" y="457"/>
                      </a:lnTo>
                      <a:lnTo>
                        <a:pt x="1935" y="453"/>
                      </a:lnTo>
                      <a:lnTo>
                        <a:pt x="1935" y="453"/>
                      </a:lnTo>
                      <a:lnTo>
                        <a:pt x="1959" y="464"/>
                      </a:lnTo>
                      <a:lnTo>
                        <a:pt x="1983" y="471"/>
                      </a:lnTo>
                      <a:lnTo>
                        <a:pt x="2009" y="476"/>
                      </a:lnTo>
                      <a:lnTo>
                        <a:pt x="2036" y="477"/>
                      </a:lnTo>
                      <a:lnTo>
                        <a:pt x="2036" y="477"/>
                      </a:lnTo>
                      <a:lnTo>
                        <a:pt x="2065" y="476"/>
                      </a:lnTo>
                      <a:lnTo>
                        <a:pt x="2094" y="469"/>
                      </a:lnTo>
                      <a:lnTo>
                        <a:pt x="2121" y="460"/>
                      </a:lnTo>
                      <a:lnTo>
                        <a:pt x="2145" y="450"/>
                      </a:lnTo>
                      <a:lnTo>
                        <a:pt x="2145" y="820"/>
                      </a:lnTo>
                      <a:lnTo>
                        <a:pt x="2145" y="820"/>
                      </a:lnTo>
                      <a:lnTo>
                        <a:pt x="2135" y="811"/>
                      </a:lnTo>
                      <a:lnTo>
                        <a:pt x="2121" y="802"/>
                      </a:lnTo>
                      <a:lnTo>
                        <a:pt x="2109" y="796"/>
                      </a:lnTo>
                      <a:lnTo>
                        <a:pt x="2096" y="790"/>
                      </a:lnTo>
                      <a:lnTo>
                        <a:pt x="2082" y="785"/>
                      </a:lnTo>
                      <a:lnTo>
                        <a:pt x="2067" y="784"/>
                      </a:lnTo>
                      <a:lnTo>
                        <a:pt x="2051" y="780"/>
                      </a:lnTo>
                      <a:lnTo>
                        <a:pt x="2036" y="780"/>
                      </a:lnTo>
                      <a:lnTo>
                        <a:pt x="2036" y="780"/>
                      </a:lnTo>
                      <a:close/>
                      <a:moveTo>
                        <a:pt x="2144" y="956"/>
                      </a:moveTo>
                      <a:lnTo>
                        <a:pt x="2144" y="956"/>
                      </a:lnTo>
                      <a:lnTo>
                        <a:pt x="2142" y="967"/>
                      </a:lnTo>
                      <a:lnTo>
                        <a:pt x="2142" y="977"/>
                      </a:lnTo>
                      <a:lnTo>
                        <a:pt x="2139" y="987"/>
                      </a:lnTo>
                      <a:lnTo>
                        <a:pt x="2135" y="997"/>
                      </a:lnTo>
                      <a:lnTo>
                        <a:pt x="2125" y="1016"/>
                      </a:lnTo>
                      <a:lnTo>
                        <a:pt x="2111" y="1032"/>
                      </a:lnTo>
                      <a:lnTo>
                        <a:pt x="2096" y="1045"/>
                      </a:lnTo>
                      <a:lnTo>
                        <a:pt x="2077" y="1054"/>
                      </a:lnTo>
                      <a:lnTo>
                        <a:pt x="2068" y="1059"/>
                      </a:lnTo>
                      <a:lnTo>
                        <a:pt x="2058" y="1061"/>
                      </a:lnTo>
                      <a:lnTo>
                        <a:pt x="2046" y="1062"/>
                      </a:lnTo>
                      <a:lnTo>
                        <a:pt x="2036" y="1062"/>
                      </a:lnTo>
                      <a:lnTo>
                        <a:pt x="2036" y="1062"/>
                      </a:lnTo>
                      <a:lnTo>
                        <a:pt x="2026" y="1062"/>
                      </a:lnTo>
                      <a:lnTo>
                        <a:pt x="2014" y="1061"/>
                      </a:lnTo>
                      <a:lnTo>
                        <a:pt x="2003" y="1059"/>
                      </a:lnTo>
                      <a:lnTo>
                        <a:pt x="1995" y="1054"/>
                      </a:lnTo>
                      <a:lnTo>
                        <a:pt x="1976" y="1045"/>
                      </a:lnTo>
                      <a:lnTo>
                        <a:pt x="1961" y="1032"/>
                      </a:lnTo>
                      <a:lnTo>
                        <a:pt x="1947" y="1016"/>
                      </a:lnTo>
                      <a:lnTo>
                        <a:pt x="1937" y="997"/>
                      </a:lnTo>
                      <a:lnTo>
                        <a:pt x="1933" y="987"/>
                      </a:lnTo>
                      <a:lnTo>
                        <a:pt x="1932" y="977"/>
                      </a:lnTo>
                      <a:lnTo>
                        <a:pt x="1930" y="967"/>
                      </a:lnTo>
                      <a:lnTo>
                        <a:pt x="1928" y="956"/>
                      </a:lnTo>
                      <a:lnTo>
                        <a:pt x="1928" y="956"/>
                      </a:lnTo>
                      <a:lnTo>
                        <a:pt x="1930" y="944"/>
                      </a:lnTo>
                      <a:lnTo>
                        <a:pt x="1932" y="934"/>
                      </a:lnTo>
                      <a:lnTo>
                        <a:pt x="1933" y="924"/>
                      </a:lnTo>
                      <a:lnTo>
                        <a:pt x="1937" y="914"/>
                      </a:lnTo>
                      <a:lnTo>
                        <a:pt x="1947" y="897"/>
                      </a:lnTo>
                      <a:lnTo>
                        <a:pt x="1961" y="879"/>
                      </a:lnTo>
                      <a:lnTo>
                        <a:pt x="1976" y="867"/>
                      </a:lnTo>
                      <a:lnTo>
                        <a:pt x="1995" y="857"/>
                      </a:lnTo>
                      <a:lnTo>
                        <a:pt x="2003" y="854"/>
                      </a:lnTo>
                      <a:lnTo>
                        <a:pt x="2014" y="850"/>
                      </a:lnTo>
                      <a:lnTo>
                        <a:pt x="2026" y="849"/>
                      </a:lnTo>
                      <a:lnTo>
                        <a:pt x="2036" y="849"/>
                      </a:lnTo>
                      <a:lnTo>
                        <a:pt x="2036" y="849"/>
                      </a:lnTo>
                      <a:lnTo>
                        <a:pt x="2046" y="849"/>
                      </a:lnTo>
                      <a:lnTo>
                        <a:pt x="2058" y="850"/>
                      </a:lnTo>
                      <a:lnTo>
                        <a:pt x="2068" y="854"/>
                      </a:lnTo>
                      <a:lnTo>
                        <a:pt x="2077" y="857"/>
                      </a:lnTo>
                      <a:lnTo>
                        <a:pt x="2096" y="867"/>
                      </a:lnTo>
                      <a:lnTo>
                        <a:pt x="2111" y="879"/>
                      </a:lnTo>
                      <a:lnTo>
                        <a:pt x="2125" y="897"/>
                      </a:lnTo>
                      <a:lnTo>
                        <a:pt x="2135" y="914"/>
                      </a:lnTo>
                      <a:lnTo>
                        <a:pt x="2139" y="924"/>
                      </a:lnTo>
                      <a:lnTo>
                        <a:pt x="2142" y="934"/>
                      </a:lnTo>
                      <a:lnTo>
                        <a:pt x="2142" y="944"/>
                      </a:lnTo>
                      <a:lnTo>
                        <a:pt x="2144" y="956"/>
                      </a:lnTo>
                      <a:lnTo>
                        <a:pt x="2144" y="956"/>
                      </a:lnTo>
                      <a:close/>
                      <a:moveTo>
                        <a:pt x="2036" y="68"/>
                      </a:moveTo>
                      <a:lnTo>
                        <a:pt x="2036" y="68"/>
                      </a:lnTo>
                      <a:lnTo>
                        <a:pt x="2053" y="70"/>
                      </a:lnTo>
                      <a:lnTo>
                        <a:pt x="2070" y="74"/>
                      </a:lnTo>
                      <a:lnTo>
                        <a:pt x="2087" y="77"/>
                      </a:lnTo>
                      <a:lnTo>
                        <a:pt x="2103" y="82"/>
                      </a:lnTo>
                      <a:lnTo>
                        <a:pt x="2116" y="89"/>
                      </a:lnTo>
                      <a:lnTo>
                        <a:pt x="2130" y="98"/>
                      </a:lnTo>
                      <a:lnTo>
                        <a:pt x="2144" y="108"/>
                      </a:lnTo>
                      <a:lnTo>
                        <a:pt x="2156" y="120"/>
                      </a:lnTo>
                      <a:lnTo>
                        <a:pt x="2166" y="132"/>
                      </a:lnTo>
                      <a:lnTo>
                        <a:pt x="2176" y="144"/>
                      </a:lnTo>
                      <a:lnTo>
                        <a:pt x="2185" y="157"/>
                      </a:lnTo>
                      <a:lnTo>
                        <a:pt x="2192" y="173"/>
                      </a:lnTo>
                      <a:lnTo>
                        <a:pt x="2198" y="188"/>
                      </a:lnTo>
                      <a:lnTo>
                        <a:pt x="2202" y="205"/>
                      </a:lnTo>
                      <a:lnTo>
                        <a:pt x="2205" y="221"/>
                      </a:lnTo>
                      <a:lnTo>
                        <a:pt x="2205" y="240"/>
                      </a:lnTo>
                      <a:lnTo>
                        <a:pt x="2205" y="240"/>
                      </a:lnTo>
                      <a:lnTo>
                        <a:pt x="2205" y="257"/>
                      </a:lnTo>
                      <a:lnTo>
                        <a:pt x="2202" y="272"/>
                      </a:lnTo>
                      <a:lnTo>
                        <a:pt x="2198" y="289"/>
                      </a:lnTo>
                      <a:lnTo>
                        <a:pt x="2192" y="305"/>
                      </a:lnTo>
                      <a:lnTo>
                        <a:pt x="2185" y="320"/>
                      </a:lnTo>
                      <a:lnTo>
                        <a:pt x="2176" y="334"/>
                      </a:lnTo>
                      <a:lnTo>
                        <a:pt x="2166" y="346"/>
                      </a:lnTo>
                      <a:lnTo>
                        <a:pt x="2156" y="359"/>
                      </a:lnTo>
                      <a:lnTo>
                        <a:pt x="2144" y="370"/>
                      </a:lnTo>
                      <a:lnTo>
                        <a:pt x="2130" y="380"/>
                      </a:lnTo>
                      <a:lnTo>
                        <a:pt x="2116" y="388"/>
                      </a:lnTo>
                      <a:lnTo>
                        <a:pt x="2103" y="395"/>
                      </a:lnTo>
                      <a:lnTo>
                        <a:pt x="2087" y="400"/>
                      </a:lnTo>
                      <a:lnTo>
                        <a:pt x="2070" y="406"/>
                      </a:lnTo>
                      <a:lnTo>
                        <a:pt x="2053" y="407"/>
                      </a:lnTo>
                      <a:lnTo>
                        <a:pt x="2036" y="409"/>
                      </a:lnTo>
                      <a:lnTo>
                        <a:pt x="2036" y="409"/>
                      </a:lnTo>
                      <a:lnTo>
                        <a:pt x="2019" y="407"/>
                      </a:lnTo>
                      <a:lnTo>
                        <a:pt x="2002" y="406"/>
                      </a:lnTo>
                      <a:lnTo>
                        <a:pt x="1986" y="400"/>
                      </a:lnTo>
                      <a:lnTo>
                        <a:pt x="1971" y="395"/>
                      </a:lnTo>
                      <a:lnTo>
                        <a:pt x="1955" y="388"/>
                      </a:lnTo>
                      <a:lnTo>
                        <a:pt x="1942" y="380"/>
                      </a:lnTo>
                      <a:lnTo>
                        <a:pt x="1928" y="370"/>
                      </a:lnTo>
                      <a:lnTo>
                        <a:pt x="1916" y="359"/>
                      </a:lnTo>
                      <a:lnTo>
                        <a:pt x="1906" y="346"/>
                      </a:lnTo>
                      <a:lnTo>
                        <a:pt x="1896" y="334"/>
                      </a:lnTo>
                      <a:lnTo>
                        <a:pt x="1887" y="320"/>
                      </a:lnTo>
                      <a:lnTo>
                        <a:pt x="1880" y="305"/>
                      </a:lnTo>
                      <a:lnTo>
                        <a:pt x="1875" y="289"/>
                      </a:lnTo>
                      <a:lnTo>
                        <a:pt x="1870" y="272"/>
                      </a:lnTo>
                      <a:lnTo>
                        <a:pt x="1868" y="257"/>
                      </a:lnTo>
                      <a:lnTo>
                        <a:pt x="1867" y="240"/>
                      </a:lnTo>
                      <a:lnTo>
                        <a:pt x="1867" y="240"/>
                      </a:lnTo>
                      <a:lnTo>
                        <a:pt x="1868" y="221"/>
                      </a:lnTo>
                      <a:lnTo>
                        <a:pt x="1870" y="205"/>
                      </a:lnTo>
                      <a:lnTo>
                        <a:pt x="1875" y="188"/>
                      </a:lnTo>
                      <a:lnTo>
                        <a:pt x="1880" y="173"/>
                      </a:lnTo>
                      <a:lnTo>
                        <a:pt x="1887" y="157"/>
                      </a:lnTo>
                      <a:lnTo>
                        <a:pt x="1896" y="144"/>
                      </a:lnTo>
                      <a:lnTo>
                        <a:pt x="1906" y="132"/>
                      </a:lnTo>
                      <a:lnTo>
                        <a:pt x="1916" y="120"/>
                      </a:lnTo>
                      <a:lnTo>
                        <a:pt x="1928" y="108"/>
                      </a:lnTo>
                      <a:lnTo>
                        <a:pt x="1942" y="98"/>
                      </a:lnTo>
                      <a:lnTo>
                        <a:pt x="1955" y="89"/>
                      </a:lnTo>
                      <a:lnTo>
                        <a:pt x="1971" y="82"/>
                      </a:lnTo>
                      <a:lnTo>
                        <a:pt x="1986" y="77"/>
                      </a:lnTo>
                      <a:lnTo>
                        <a:pt x="2002" y="74"/>
                      </a:lnTo>
                      <a:lnTo>
                        <a:pt x="2019" y="70"/>
                      </a:lnTo>
                      <a:lnTo>
                        <a:pt x="2036" y="68"/>
                      </a:lnTo>
                      <a:lnTo>
                        <a:pt x="2036" y="68"/>
                      </a:lnTo>
                      <a:close/>
                      <a:moveTo>
                        <a:pt x="1798" y="250"/>
                      </a:moveTo>
                      <a:lnTo>
                        <a:pt x="1798" y="250"/>
                      </a:lnTo>
                      <a:lnTo>
                        <a:pt x="1800" y="270"/>
                      </a:lnTo>
                      <a:lnTo>
                        <a:pt x="1803" y="291"/>
                      </a:lnTo>
                      <a:lnTo>
                        <a:pt x="1810" y="311"/>
                      </a:lnTo>
                      <a:lnTo>
                        <a:pt x="1817" y="330"/>
                      </a:lnTo>
                      <a:lnTo>
                        <a:pt x="1825" y="347"/>
                      </a:lnTo>
                      <a:lnTo>
                        <a:pt x="1834" y="364"/>
                      </a:lnTo>
                      <a:lnTo>
                        <a:pt x="1846" y="382"/>
                      </a:lnTo>
                      <a:lnTo>
                        <a:pt x="1858" y="397"/>
                      </a:lnTo>
                      <a:lnTo>
                        <a:pt x="1858" y="412"/>
                      </a:lnTo>
                      <a:lnTo>
                        <a:pt x="1136" y="736"/>
                      </a:lnTo>
                      <a:lnTo>
                        <a:pt x="1136" y="736"/>
                      </a:lnTo>
                      <a:lnTo>
                        <a:pt x="1133" y="713"/>
                      </a:lnTo>
                      <a:lnTo>
                        <a:pt x="1127" y="691"/>
                      </a:lnTo>
                      <a:lnTo>
                        <a:pt x="1121" y="671"/>
                      </a:lnTo>
                      <a:lnTo>
                        <a:pt x="1114" y="650"/>
                      </a:lnTo>
                      <a:lnTo>
                        <a:pt x="1105" y="630"/>
                      </a:lnTo>
                      <a:lnTo>
                        <a:pt x="1095" y="611"/>
                      </a:lnTo>
                      <a:lnTo>
                        <a:pt x="1083" y="594"/>
                      </a:lnTo>
                      <a:lnTo>
                        <a:pt x="1069" y="577"/>
                      </a:lnTo>
                      <a:lnTo>
                        <a:pt x="1798" y="250"/>
                      </a:lnTo>
                      <a:close/>
                      <a:moveTo>
                        <a:pt x="970" y="2147"/>
                      </a:moveTo>
                      <a:lnTo>
                        <a:pt x="274" y="2147"/>
                      </a:lnTo>
                      <a:lnTo>
                        <a:pt x="660" y="1025"/>
                      </a:lnTo>
                      <a:lnTo>
                        <a:pt x="660" y="1025"/>
                      </a:lnTo>
                      <a:lnTo>
                        <a:pt x="679" y="1037"/>
                      </a:lnTo>
                      <a:lnTo>
                        <a:pt x="698" y="1047"/>
                      </a:lnTo>
                      <a:lnTo>
                        <a:pt x="719" y="1056"/>
                      </a:lnTo>
                      <a:lnTo>
                        <a:pt x="739" y="1062"/>
                      </a:lnTo>
                      <a:lnTo>
                        <a:pt x="761" y="1068"/>
                      </a:lnTo>
                      <a:lnTo>
                        <a:pt x="784" y="1071"/>
                      </a:lnTo>
                      <a:lnTo>
                        <a:pt x="806" y="1074"/>
                      </a:lnTo>
                      <a:lnTo>
                        <a:pt x="830" y="1074"/>
                      </a:lnTo>
                      <a:lnTo>
                        <a:pt x="830" y="1074"/>
                      </a:lnTo>
                      <a:lnTo>
                        <a:pt x="849" y="1074"/>
                      </a:lnTo>
                      <a:lnTo>
                        <a:pt x="866" y="1073"/>
                      </a:lnTo>
                      <a:lnTo>
                        <a:pt x="884" y="1071"/>
                      </a:lnTo>
                      <a:lnTo>
                        <a:pt x="902" y="1066"/>
                      </a:lnTo>
                      <a:lnTo>
                        <a:pt x="920" y="1061"/>
                      </a:lnTo>
                      <a:lnTo>
                        <a:pt x="938" y="1056"/>
                      </a:lnTo>
                      <a:lnTo>
                        <a:pt x="953" y="1049"/>
                      </a:lnTo>
                      <a:lnTo>
                        <a:pt x="970" y="1042"/>
                      </a:lnTo>
                      <a:lnTo>
                        <a:pt x="970" y="2147"/>
                      </a:lnTo>
                      <a:close/>
                      <a:moveTo>
                        <a:pt x="830" y="1006"/>
                      </a:moveTo>
                      <a:lnTo>
                        <a:pt x="830" y="1006"/>
                      </a:lnTo>
                      <a:lnTo>
                        <a:pt x="804" y="1006"/>
                      </a:lnTo>
                      <a:lnTo>
                        <a:pt x="780" y="1003"/>
                      </a:lnTo>
                      <a:lnTo>
                        <a:pt x="758" y="996"/>
                      </a:lnTo>
                      <a:lnTo>
                        <a:pt x="736" y="987"/>
                      </a:lnTo>
                      <a:lnTo>
                        <a:pt x="715" y="979"/>
                      </a:lnTo>
                      <a:lnTo>
                        <a:pt x="695" y="967"/>
                      </a:lnTo>
                      <a:lnTo>
                        <a:pt x="677" y="951"/>
                      </a:lnTo>
                      <a:lnTo>
                        <a:pt x="660" y="936"/>
                      </a:lnTo>
                      <a:lnTo>
                        <a:pt x="645" y="919"/>
                      </a:lnTo>
                      <a:lnTo>
                        <a:pt x="630" y="902"/>
                      </a:lnTo>
                      <a:lnTo>
                        <a:pt x="618" y="881"/>
                      </a:lnTo>
                      <a:lnTo>
                        <a:pt x="609" y="861"/>
                      </a:lnTo>
                      <a:lnTo>
                        <a:pt x="601" y="838"/>
                      </a:lnTo>
                      <a:lnTo>
                        <a:pt x="594" y="816"/>
                      </a:lnTo>
                      <a:lnTo>
                        <a:pt x="590" y="792"/>
                      </a:lnTo>
                      <a:lnTo>
                        <a:pt x="590" y="766"/>
                      </a:lnTo>
                      <a:lnTo>
                        <a:pt x="590" y="766"/>
                      </a:lnTo>
                      <a:lnTo>
                        <a:pt x="590" y="743"/>
                      </a:lnTo>
                      <a:lnTo>
                        <a:pt x="594" y="719"/>
                      </a:lnTo>
                      <a:lnTo>
                        <a:pt x="601" y="696"/>
                      </a:lnTo>
                      <a:lnTo>
                        <a:pt x="609" y="674"/>
                      </a:lnTo>
                      <a:lnTo>
                        <a:pt x="618" y="654"/>
                      </a:lnTo>
                      <a:lnTo>
                        <a:pt x="630" y="633"/>
                      </a:lnTo>
                      <a:lnTo>
                        <a:pt x="645" y="614"/>
                      </a:lnTo>
                      <a:lnTo>
                        <a:pt x="660" y="599"/>
                      </a:lnTo>
                      <a:lnTo>
                        <a:pt x="677" y="582"/>
                      </a:lnTo>
                      <a:lnTo>
                        <a:pt x="695" y="568"/>
                      </a:lnTo>
                      <a:lnTo>
                        <a:pt x="715" y="556"/>
                      </a:lnTo>
                      <a:lnTo>
                        <a:pt x="736" y="546"/>
                      </a:lnTo>
                      <a:lnTo>
                        <a:pt x="758" y="539"/>
                      </a:lnTo>
                      <a:lnTo>
                        <a:pt x="780" y="532"/>
                      </a:lnTo>
                      <a:lnTo>
                        <a:pt x="804" y="529"/>
                      </a:lnTo>
                      <a:lnTo>
                        <a:pt x="830" y="527"/>
                      </a:lnTo>
                      <a:lnTo>
                        <a:pt x="830" y="527"/>
                      </a:lnTo>
                      <a:lnTo>
                        <a:pt x="854" y="529"/>
                      </a:lnTo>
                      <a:lnTo>
                        <a:pt x="878" y="532"/>
                      </a:lnTo>
                      <a:lnTo>
                        <a:pt x="900" y="539"/>
                      </a:lnTo>
                      <a:lnTo>
                        <a:pt x="922" y="546"/>
                      </a:lnTo>
                      <a:lnTo>
                        <a:pt x="943" y="556"/>
                      </a:lnTo>
                      <a:lnTo>
                        <a:pt x="963" y="568"/>
                      </a:lnTo>
                      <a:lnTo>
                        <a:pt x="982" y="582"/>
                      </a:lnTo>
                      <a:lnTo>
                        <a:pt x="997" y="599"/>
                      </a:lnTo>
                      <a:lnTo>
                        <a:pt x="1015" y="614"/>
                      </a:lnTo>
                      <a:lnTo>
                        <a:pt x="1028" y="633"/>
                      </a:lnTo>
                      <a:lnTo>
                        <a:pt x="1040" y="654"/>
                      </a:lnTo>
                      <a:lnTo>
                        <a:pt x="1050" y="674"/>
                      </a:lnTo>
                      <a:lnTo>
                        <a:pt x="1057" y="696"/>
                      </a:lnTo>
                      <a:lnTo>
                        <a:pt x="1064" y="719"/>
                      </a:lnTo>
                      <a:lnTo>
                        <a:pt x="1068" y="743"/>
                      </a:lnTo>
                      <a:lnTo>
                        <a:pt x="1069" y="766"/>
                      </a:lnTo>
                      <a:lnTo>
                        <a:pt x="1069" y="766"/>
                      </a:lnTo>
                      <a:lnTo>
                        <a:pt x="1068" y="792"/>
                      </a:lnTo>
                      <a:lnTo>
                        <a:pt x="1064" y="816"/>
                      </a:lnTo>
                      <a:lnTo>
                        <a:pt x="1057" y="838"/>
                      </a:lnTo>
                      <a:lnTo>
                        <a:pt x="1050" y="861"/>
                      </a:lnTo>
                      <a:lnTo>
                        <a:pt x="1040" y="881"/>
                      </a:lnTo>
                      <a:lnTo>
                        <a:pt x="1028" y="902"/>
                      </a:lnTo>
                      <a:lnTo>
                        <a:pt x="1015" y="919"/>
                      </a:lnTo>
                      <a:lnTo>
                        <a:pt x="997" y="936"/>
                      </a:lnTo>
                      <a:lnTo>
                        <a:pt x="982" y="951"/>
                      </a:lnTo>
                      <a:lnTo>
                        <a:pt x="963" y="967"/>
                      </a:lnTo>
                      <a:lnTo>
                        <a:pt x="943" y="979"/>
                      </a:lnTo>
                      <a:lnTo>
                        <a:pt x="922" y="987"/>
                      </a:lnTo>
                      <a:lnTo>
                        <a:pt x="900" y="996"/>
                      </a:lnTo>
                      <a:lnTo>
                        <a:pt x="878" y="1003"/>
                      </a:lnTo>
                      <a:lnTo>
                        <a:pt x="854" y="1006"/>
                      </a:lnTo>
                      <a:lnTo>
                        <a:pt x="830" y="1006"/>
                      </a:lnTo>
                      <a:lnTo>
                        <a:pt x="830" y="10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solidFill>
                      <a:schemeClr val="bg1"/>
                    </a:solidFill>
                    <a:latin typeface="EYInterstate Light" panose="02000506000000020004" pitchFamily="2" charset="0"/>
                  </a:endParaRPr>
                </a:p>
              </p:txBody>
            </p:sp>
          </p:grpSp>
        </p:grpSp>
      </p:grpSp>
      <p:sp>
        <p:nvSpPr>
          <p:cNvPr id="109" name="Freeform 108"/>
          <p:cNvSpPr/>
          <p:nvPr/>
        </p:nvSpPr>
        <p:spPr>
          <a:xfrm rot="10800000">
            <a:off x="11075946" y="2773630"/>
            <a:ext cx="494006" cy="2169779"/>
          </a:xfrm>
          <a:custGeom>
            <a:avLst/>
            <a:gdLst>
              <a:gd name="connsiteX0" fmla="*/ 2891103 w 4333875"/>
              <a:gd name="connsiteY0" fmla="*/ 236529 h 8228011"/>
              <a:gd name="connsiteX1" fmla="*/ 4333856 w 4333875"/>
              <a:gd name="connsiteY1" fmla="*/ 4131480 h 8228011"/>
              <a:gd name="connsiteX2" fmla="*/ 2832939 w 4333875"/>
              <a:gd name="connsiteY2" fmla="*/ 8028884 h 8228011"/>
              <a:gd name="connsiteX3" fmla="*/ 2166938 w 4333875"/>
              <a:gd name="connsiteY3" fmla="*/ 4114006 h 8228011"/>
              <a:gd name="connsiteX4" fmla="*/ 2891103 w 4333875"/>
              <a:gd name="connsiteY4" fmla="*/ 236529 h 8228011"/>
              <a:gd name="connsiteX0" fmla="*/ 2891103 w 4333875"/>
              <a:gd name="connsiteY0" fmla="*/ 236529 h 8228011"/>
              <a:gd name="connsiteX1" fmla="*/ 4333856 w 4333875"/>
              <a:gd name="connsiteY1" fmla="*/ 4131480 h 8228011"/>
              <a:gd name="connsiteX2" fmla="*/ 2832939 w 4333875"/>
              <a:gd name="connsiteY2" fmla="*/ 8028884 h 8228011"/>
              <a:gd name="connsiteX0" fmla="*/ 59003 w 1505668"/>
              <a:gd name="connsiteY0" fmla="*/ 0 h 7792355"/>
              <a:gd name="connsiteX1" fmla="*/ 1501756 w 1505668"/>
              <a:gd name="connsiteY1" fmla="*/ 3894951 h 7792355"/>
              <a:gd name="connsiteX2" fmla="*/ 839 w 1505668"/>
              <a:gd name="connsiteY2" fmla="*/ 7792355 h 7792355"/>
              <a:gd name="connsiteX3" fmla="*/ 0 w 1505668"/>
              <a:gd name="connsiteY3" fmla="*/ 3887002 h 7792355"/>
              <a:gd name="connsiteX4" fmla="*/ 59003 w 1505668"/>
              <a:gd name="connsiteY4" fmla="*/ 0 h 7792355"/>
              <a:gd name="connsiteX0" fmla="*/ 59003 w 1505668"/>
              <a:gd name="connsiteY0" fmla="*/ 0 h 7792355"/>
              <a:gd name="connsiteX1" fmla="*/ 1501756 w 1505668"/>
              <a:gd name="connsiteY1" fmla="*/ 3894951 h 7792355"/>
              <a:gd name="connsiteX2" fmla="*/ 839 w 1505668"/>
              <a:gd name="connsiteY2" fmla="*/ 7792355 h 7792355"/>
              <a:gd name="connsiteX0" fmla="*/ 59003 w 1505668"/>
              <a:gd name="connsiteY0" fmla="*/ 0 h 7792355"/>
              <a:gd name="connsiteX1" fmla="*/ 1501756 w 1505668"/>
              <a:gd name="connsiteY1" fmla="*/ 3894951 h 7792355"/>
              <a:gd name="connsiteX2" fmla="*/ 839 w 1505668"/>
              <a:gd name="connsiteY2" fmla="*/ 7792355 h 7792355"/>
              <a:gd name="connsiteX3" fmla="*/ 0 w 1505668"/>
              <a:gd name="connsiteY3" fmla="*/ 3887002 h 7792355"/>
              <a:gd name="connsiteX4" fmla="*/ 59003 w 1505668"/>
              <a:gd name="connsiteY4" fmla="*/ 0 h 7792355"/>
              <a:gd name="connsiteX0" fmla="*/ 0 w 1505668"/>
              <a:gd name="connsiteY0" fmla="*/ 2 h 7792355"/>
              <a:gd name="connsiteX1" fmla="*/ 1501756 w 1505668"/>
              <a:gd name="connsiteY1" fmla="*/ 3894951 h 7792355"/>
              <a:gd name="connsiteX2" fmla="*/ 839 w 1505668"/>
              <a:gd name="connsiteY2" fmla="*/ 7792355 h 7792355"/>
              <a:gd name="connsiteX0" fmla="*/ 0 w 1505668"/>
              <a:gd name="connsiteY0" fmla="*/ 0 h 7792355"/>
              <a:gd name="connsiteX1" fmla="*/ 1501756 w 1505668"/>
              <a:gd name="connsiteY1" fmla="*/ 3894951 h 7792355"/>
              <a:gd name="connsiteX2" fmla="*/ 839 w 1505668"/>
              <a:gd name="connsiteY2" fmla="*/ 7792355 h 7792355"/>
              <a:gd name="connsiteX3" fmla="*/ 0 w 1505668"/>
              <a:gd name="connsiteY3" fmla="*/ 3887002 h 7792355"/>
              <a:gd name="connsiteX4" fmla="*/ 0 w 1505668"/>
              <a:gd name="connsiteY4" fmla="*/ 0 h 7792355"/>
              <a:gd name="connsiteX0" fmla="*/ 0 w 1505668"/>
              <a:gd name="connsiteY0" fmla="*/ 2 h 7792355"/>
              <a:gd name="connsiteX1" fmla="*/ 1501756 w 1505668"/>
              <a:gd name="connsiteY1" fmla="*/ 3894951 h 7792355"/>
              <a:gd name="connsiteX2" fmla="*/ 839 w 1505668"/>
              <a:gd name="connsiteY2" fmla="*/ 7792355 h 7792355"/>
            </a:gdLst>
            <a:ahLst/>
            <a:cxnLst>
              <a:cxn ang="0">
                <a:pos x="connsiteX0" y="connsiteY0"/>
              </a:cxn>
              <a:cxn ang="0">
                <a:pos x="connsiteX1" y="connsiteY1"/>
              </a:cxn>
              <a:cxn ang="0">
                <a:pos x="connsiteX2" y="connsiteY2"/>
              </a:cxn>
            </a:cxnLst>
            <a:rect l="l" t="t" r="r" b="b"/>
            <a:pathLst>
              <a:path w="1505668" h="7792355" stroke="0" extrusionOk="0">
                <a:moveTo>
                  <a:pt x="0" y="0"/>
                </a:moveTo>
                <a:cubicBezTo>
                  <a:pt x="868019" y="584325"/>
                  <a:pt x="1505668" y="2146476"/>
                  <a:pt x="1501756" y="3894951"/>
                </a:cubicBezTo>
                <a:cubicBezTo>
                  <a:pt x="1497777" y="5673453"/>
                  <a:pt x="892282" y="7245733"/>
                  <a:pt x="839" y="7792355"/>
                </a:cubicBezTo>
                <a:cubicBezTo>
                  <a:pt x="559" y="6490571"/>
                  <a:pt x="280" y="5188786"/>
                  <a:pt x="0" y="3887002"/>
                </a:cubicBezTo>
                <a:lnTo>
                  <a:pt x="0" y="0"/>
                </a:lnTo>
                <a:close/>
              </a:path>
              <a:path w="1505668" h="7792355" fill="none">
                <a:moveTo>
                  <a:pt x="0" y="2"/>
                </a:moveTo>
                <a:cubicBezTo>
                  <a:pt x="868019" y="584327"/>
                  <a:pt x="1505668" y="2146476"/>
                  <a:pt x="1501756" y="3894951"/>
                </a:cubicBezTo>
                <a:cubicBezTo>
                  <a:pt x="1497777" y="5673453"/>
                  <a:pt x="892282" y="7245733"/>
                  <a:pt x="839" y="7792355"/>
                </a:cubicBezTo>
              </a:path>
            </a:pathLst>
          </a:custGeom>
          <a:solidFill>
            <a:srgbClr val="FFE600"/>
          </a:solidFill>
          <a:ln w="25400" cap="flat" cmpd="sng" algn="ctr">
            <a:noFill/>
            <a:prstDash val="solid"/>
          </a:ln>
          <a:effectLst/>
        </p:spPr>
        <p:txBody>
          <a:bodyPr rtlCol="0" anchor="ctr"/>
          <a:lstStyle/>
          <a:p>
            <a:pPr algn="ctr">
              <a:defRPr/>
            </a:pPr>
            <a:endParaRPr lang="en-US" sz="1599" kern="0" dirty="0">
              <a:solidFill>
                <a:srgbClr val="646464"/>
              </a:solidFill>
              <a:latin typeface="Arial"/>
            </a:endParaRPr>
          </a:p>
        </p:txBody>
      </p:sp>
      <p:sp>
        <p:nvSpPr>
          <p:cNvPr id="110" name="Rectangle 109"/>
          <p:cNvSpPr/>
          <p:nvPr/>
        </p:nvSpPr>
        <p:spPr>
          <a:xfrm rot="16200000">
            <a:off x="10876490" y="3681548"/>
            <a:ext cx="1072846" cy="353943"/>
          </a:xfrm>
          <a:prstGeom prst="rect">
            <a:avLst/>
          </a:prstGeom>
        </p:spPr>
        <p:txBody>
          <a:bodyPr wrap="none">
            <a:spAutoFit/>
          </a:bodyPr>
          <a:lstStyle/>
          <a:p>
            <a:pPr>
              <a:lnSpc>
                <a:spcPct val="85000"/>
              </a:lnSpc>
              <a:spcAft>
                <a:spcPts val="600"/>
              </a:spcAft>
              <a:buClr>
                <a:schemeClr val="accent2"/>
              </a:buClr>
              <a:buSzPct val="70000"/>
            </a:pPr>
            <a:r>
              <a:rPr lang="en-US" sz="2000" b="1" dirty="0" smtClean="0">
                <a:solidFill>
                  <a:schemeClr val="tx2"/>
                </a:solidFill>
                <a:latin typeface="EYInterstate Light" panose="02000506000000020004" pitchFamily="2" charset="0"/>
              </a:rPr>
              <a:t>AGILITY</a:t>
            </a:r>
            <a:endParaRPr lang="en-US" sz="2000" b="1" dirty="0">
              <a:solidFill>
                <a:schemeClr val="tx2"/>
              </a:solidFill>
              <a:latin typeface="EYInterstate Light" panose="02000506000000020004" pitchFamily="2" charset="0"/>
            </a:endParaRPr>
          </a:p>
        </p:txBody>
      </p:sp>
      <p:grpSp>
        <p:nvGrpSpPr>
          <p:cNvPr id="119" name="Group 118"/>
          <p:cNvGrpSpPr/>
          <p:nvPr/>
        </p:nvGrpSpPr>
        <p:grpSpPr>
          <a:xfrm>
            <a:off x="484915" y="1252862"/>
            <a:ext cx="7518714" cy="4798804"/>
            <a:chOff x="616603" y="1308546"/>
            <a:chExt cx="7947870" cy="5072713"/>
          </a:xfrm>
        </p:grpSpPr>
        <p:cxnSp>
          <p:nvCxnSpPr>
            <p:cNvPr id="56" name="Straight Connector 55"/>
            <p:cNvCxnSpPr>
              <a:stCxn id="3" idx="1"/>
            </p:cNvCxnSpPr>
            <p:nvPr/>
          </p:nvCxnSpPr>
          <p:spPr>
            <a:xfrm flipV="1">
              <a:off x="1706419" y="3534283"/>
              <a:ext cx="6845720" cy="45297"/>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3" idx="0"/>
              <a:endCxn id="3" idx="2"/>
            </p:cNvCxnSpPr>
            <p:nvPr/>
          </p:nvCxnSpPr>
          <p:spPr>
            <a:xfrm>
              <a:off x="5129279" y="1393372"/>
              <a:ext cx="0" cy="4372415"/>
            </a:xfrm>
            <a:prstGeom prst="line">
              <a:avLst/>
            </a:prstGeom>
            <a:ln w="381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8" name="Group 7"/>
            <p:cNvGrpSpPr/>
            <p:nvPr/>
          </p:nvGrpSpPr>
          <p:grpSpPr>
            <a:xfrm>
              <a:off x="1795293" y="2535358"/>
              <a:ext cx="6336199" cy="2903856"/>
              <a:chOff x="562589" y="2683855"/>
              <a:chExt cx="6336199" cy="2903856"/>
            </a:xfrm>
          </p:grpSpPr>
          <p:grpSp>
            <p:nvGrpSpPr>
              <p:cNvPr id="38" name="Group 37"/>
              <p:cNvGrpSpPr/>
              <p:nvPr/>
            </p:nvGrpSpPr>
            <p:grpSpPr>
              <a:xfrm rot="19846893">
                <a:off x="562589" y="3748570"/>
                <a:ext cx="1976975" cy="1550857"/>
                <a:chOff x="2932112" y="1539875"/>
                <a:chExt cx="3616325" cy="2836863"/>
              </a:xfrm>
            </p:grpSpPr>
            <p:sp>
              <p:nvSpPr>
                <p:cNvPr id="42" name="Freeform 6"/>
                <p:cNvSpPr>
                  <a:spLocks/>
                </p:cNvSpPr>
                <p:nvPr/>
              </p:nvSpPr>
              <p:spPr bwMode="auto">
                <a:xfrm>
                  <a:off x="4572000" y="1539875"/>
                  <a:ext cx="1638300" cy="1087438"/>
                </a:xfrm>
                <a:custGeom>
                  <a:avLst/>
                  <a:gdLst>
                    <a:gd name="T0" fmla="*/ 8603 w 8603"/>
                    <a:gd name="T1" fmla="*/ 4966 h 5711"/>
                    <a:gd name="T2" fmla="*/ 0 w 8603"/>
                    <a:gd name="T3" fmla="*/ 0 h 5711"/>
                    <a:gd name="T4" fmla="*/ 0 w 8603"/>
                    <a:gd name="T5" fmla="*/ 1490 h 5711"/>
                    <a:gd name="T6" fmla="*/ 7313 w 8603"/>
                    <a:gd name="T7" fmla="*/ 5711 h 5711"/>
                    <a:gd name="T8" fmla="*/ 8603 w 8603"/>
                    <a:gd name="T9" fmla="*/ 4966 h 5711"/>
                  </a:gdLst>
                  <a:ahLst/>
                  <a:cxnLst>
                    <a:cxn ang="0">
                      <a:pos x="T0" y="T1"/>
                    </a:cxn>
                    <a:cxn ang="0">
                      <a:pos x="T2" y="T3"/>
                    </a:cxn>
                    <a:cxn ang="0">
                      <a:pos x="T4" y="T5"/>
                    </a:cxn>
                    <a:cxn ang="0">
                      <a:pos x="T6" y="T7"/>
                    </a:cxn>
                    <a:cxn ang="0">
                      <a:pos x="T8" y="T9"/>
                    </a:cxn>
                  </a:cxnLst>
                  <a:rect l="0" t="0" r="r" b="b"/>
                  <a:pathLst>
                    <a:path w="8603" h="5711">
                      <a:moveTo>
                        <a:pt x="8603" y="4966"/>
                      </a:moveTo>
                      <a:cubicBezTo>
                        <a:pt x="6829" y="1893"/>
                        <a:pt x="3549" y="0"/>
                        <a:pt x="0" y="0"/>
                      </a:cubicBezTo>
                      <a:lnTo>
                        <a:pt x="0" y="1490"/>
                      </a:lnTo>
                      <a:cubicBezTo>
                        <a:pt x="3017" y="1490"/>
                        <a:pt x="5804" y="3099"/>
                        <a:pt x="7313" y="5711"/>
                      </a:cubicBezTo>
                      <a:lnTo>
                        <a:pt x="8603" y="4966"/>
                      </a:lnTo>
                      <a:close/>
                    </a:path>
                  </a:pathLst>
                </a:custGeom>
                <a:solidFill>
                  <a:srgbClr val="80808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43" name="Freeform 7"/>
                <p:cNvSpPr>
                  <a:spLocks/>
                </p:cNvSpPr>
                <p:nvPr/>
              </p:nvSpPr>
              <p:spPr bwMode="auto">
                <a:xfrm>
                  <a:off x="5964237" y="2484438"/>
                  <a:ext cx="584200" cy="1892300"/>
                </a:xfrm>
                <a:custGeom>
                  <a:avLst/>
                  <a:gdLst>
                    <a:gd name="T0" fmla="*/ 1290 w 3064"/>
                    <a:gd name="T1" fmla="*/ 9934 h 9934"/>
                    <a:gd name="T2" fmla="*/ 1290 w 3064"/>
                    <a:gd name="T3" fmla="*/ 0 h 9934"/>
                    <a:gd name="T4" fmla="*/ 0 w 3064"/>
                    <a:gd name="T5" fmla="*/ 745 h 9934"/>
                    <a:gd name="T6" fmla="*/ 0 w 3064"/>
                    <a:gd name="T7" fmla="*/ 9189 h 9934"/>
                    <a:gd name="T8" fmla="*/ 1290 w 3064"/>
                    <a:gd name="T9" fmla="*/ 9934 h 9934"/>
                  </a:gdLst>
                  <a:ahLst/>
                  <a:cxnLst>
                    <a:cxn ang="0">
                      <a:pos x="T0" y="T1"/>
                    </a:cxn>
                    <a:cxn ang="0">
                      <a:pos x="T2" y="T3"/>
                    </a:cxn>
                    <a:cxn ang="0">
                      <a:pos x="T4" y="T5"/>
                    </a:cxn>
                    <a:cxn ang="0">
                      <a:pos x="T6" y="T7"/>
                    </a:cxn>
                    <a:cxn ang="0">
                      <a:pos x="T8" y="T9"/>
                    </a:cxn>
                  </a:cxnLst>
                  <a:rect l="0" t="0" r="r" b="b"/>
                  <a:pathLst>
                    <a:path w="3064" h="9934">
                      <a:moveTo>
                        <a:pt x="1290" y="9934"/>
                      </a:moveTo>
                      <a:cubicBezTo>
                        <a:pt x="3064" y="6860"/>
                        <a:pt x="3064" y="3074"/>
                        <a:pt x="1290" y="0"/>
                      </a:cubicBezTo>
                      <a:lnTo>
                        <a:pt x="0" y="745"/>
                      </a:lnTo>
                      <a:cubicBezTo>
                        <a:pt x="1508" y="3358"/>
                        <a:pt x="1508" y="6576"/>
                        <a:pt x="0" y="9189"/>
                      </a:cubicBezTo>
                      <a:lnTo>
                        <a:pt x="1290" y="9934"/>
                      </a:lnTo>
                      <a:close/>
                    </a:path>
                  </a:pathLst>
                </a:custGeom>
                <a:solidFill>
                  <a:srgbClr val="80808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44" name="Freeform 11"/>
                <p:cNvSpPr>
                  <a:spLocks/>
                </p:cNvSpPr>
                <p:nvPr/>
              </p:nvSpPr>
              <p:spPr bwMode="auto">
                <a:xfrm>
                  <a:off x="2932112" y="1539875"/>
                  <a:ext cx="1639888" cy="1087438"/>
                </a:xfrm>
                <a:custGeom>
                  <a:avLst/>
                  <a:gdLst>
                    <a:gd name="T0" fmla="*/ 17205 w 17205"/>
                    <a:gd name="T1" fmla="*/ 0 h 11423"/>
                    <a:gd name="T2" fmla="*/ 0 w 17205"/>
                    <a:gd name="T3" fmla="*/ 9933 h 11423"/>
                    <a:gd name="T4" fmla="*/ 2581 w 17205"/>
                    <a:gd name="T5" fmla="*/ 11423 h 11423"/>
                    <a:gd name="T6" fmla="*/ 17205 w 17205"/>
                    <a:gd name="T7" fmla="*/ 2980 h 11423"/>
                    <a:gd name="T8" fmla="*/ 17205 w 17205"/>
                    <a:gd name="T9" fmla="*/ 0 h 11423"/>
                  </a:gdLst>
                  <a:ahLst/>
                  <a:cxnLst>
                    <a:cxn ang="0">
                      <a:pos x="T0" y="T1"/>
                    </a:cxn>
                    <a:cxn ang="0">
                      <a:pos x="T2" y="T3"/>
                    </a:cxn>
                    <a:cxn ang="0">
                      <a:pos x="T4" y="T5"/>
                    </a:cxn>
                    <a:cxn ang="0">
                      <a:pos x="T6" y="T7"/>
                    </a:cxn>
                    <a:cxn ang="0">
                      <a:pos x="T8" y="T9"/>
                    </a:cxn>
                  </a:cxnLst>
                  <a:rect l="0" t="0" r="r" b="b"/>
                  <a:pathLst>
                    <a:path w="17205" h="11423">
                      <a:moveTo>
                        <a:pt x="17205" y="0"/>
                      </a:moveTo>
                      <a:cubicBezTo>
                        <a:pt x="10108" y="0"/>
                        <a:pt x="3549" y="3787"/>
                        <a:pt x="0" y="9933"/>
                      </a:cubicBezTo>
                      <a:lnTo>
                        <a:pt x="2581" y="11423"/>
                      </a:lnTo>
                      <a:cubicBezTo>
                        <a:pt x="5598" y="6199"/>
                        <a:pt x="11172" y="2980"/>
                        <a:pt x="17205" y="2980"/>
                      </a:cubicBezTo>
                      <a:lnTo>
                        <a:pt x="17205" y="0"/>
                      </a:lnTo>
                      <a:close/>
                    </a:path>
                  </a:pathLst>
                </a:custGeom>
                <a:solidFill>
                  <a:srgbClr val="FFE60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sp>
            <p:nvSpPr>
              <p:cNvPr id="39" name="Oval 38"/>
              <p:cNvSpPr/>
              <p:nvPr/>
            </p:nvSpPr>
            <p:spPr>
              <a:xfrm>
                <a:off x="803770" y="4001947"/>
                <a:ext cx="1585764" cy="1585764"/>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40" name="TextBox 39"/>
              <p:cNvSpPr txBox="1"/>
              <p:nvPr/>
            </p:nvSpPr>
            <p:spPr>
              <a:xfrm>
                <a:off x="5594656" y="2683855"/>
                <a:ext cx="1304132" cy="184666"/>
              </a:xfrm>
              <a:prstGeom prst="rect">
                <a:avLst/>
              </a:prstGeom>
              <a:noFill/>
            </p:spPr>
            <p:txBody>
              <a:bodyPr wrap="square" lIns="0" tIns="0" rIns="0" bIns="0" rtlCol="0">
                <a:spAutoFit/>
              </a:bodyPr>
              <a:lstStyle/>
              <a:p>
                <a:pPr algn="ctr">
                  <a:buClr>
                    <a:srgbClr val="FFE600"/>
                  </a:buClr>
                  <a:buSzPct val="70000"/>
                </a:pPr>
                <a:r>
                  <a:rPr lang="en-US" sz="1200" b="1" dirty="0" smtClean="0">
                    <a:solidFill>
                      <a:schemeClr val="bg1"/>
                    </a:solidFill>
                    <a:latin typeface="Arial" panose="020B0604020202020204" pitchFamily="34" charset="0"/>
                    <a:cs typeface="Arial" panose="020B0604020202020204" pitchFamily="34" charset="0"/>
                  </a:rPr>
                  <a:t>Early mover</a:t>
                </a:r>
                <a:endParaRPr lang="en-US" sz="1200" b="1" dirty="0">
                  <a:solidFill>
                    <a:schemeClr val="bg1"/>
                  </a:solidFill>
                  <a:latin typeface="Arial" panose="020B0604020202020204" pitchFamily="34" charset="0"/>
                  <a:cs typeface="Arial" panose="020B0604020202020204" pitchFamily="34" charset="0"/>
                </a:endParaRPr>
              </a:p>
            </p:txBody>
          </p:sp>
          <p:sp>
            <p:nvSpPr>
              <p:cNvPr id="41" name="TextBox 40"/>
              <p:cNvSpPr txBox="1"/>
              <p:nvPr/>
            </p:nvSpPr>
            <p:spPr>
              <a:xfrm>
                <a:off x="1066174" y="4412216"/>
                <a:ext cx="998671" cy="307777"/>
              </a:xfrm>
              <a:prstGeom prst="rect">
                <a:avLst/>
              </a:prstGeom>
              <a:noFill/>
            </p:spPr>
            <p:txBody>
              <a:bodyPr wrap="none" lIns="0" tIns="0" rIns="0" bIns="0" rtlCol="0">
                <a:spAutoFit/>
              </a:bodyPr>
              <a:lstStyle/>
              <a:p>
                <a:pPr algn="ctr">
                  <a:buClr>
                    <a:srgbClr val="FFE600"/>
                  </a:buClr>
                  <a:buSzPct val="70000"/>
                </a:pPr>
                <a:r>
                  <a:rPr lang="en-US" sz="2000" b="1" dirty="0" smtClean="0">
                    <a:solidFill>
                      <a:srgbClr val="FFE600"/>
                    </a:solidFill>
                    <a:latin typeface="Arial" panose="020B0604020202020204" pitchFamily="34" charset="0"/>
                    <a:cs typeface="Arial" panose="020B0604020202020204" pitchFamily="34" charset="0"/>
                  </a:rPr>
                  <a:t>Lagging</a:t>
                </a:r>
                <a:endParaRPr lang="en-US" sz="2000" b="1" dirty="0">
                  <a:solidFill>
                    <a:srgbClr val="FFE600"/>
                  </a:solidFill>
                  <a:latin typeface="Arial" panose="020B0604020202020204" pitchFamily="34" charset="0"/>
                  <a:cs typeface="Arial" panose="020B0604020202020204" pitchFamily="34" charset="0"/>
                </a:endParaRPr>
              </a:p>
            </p:txBody>
          </p:sp>
        </p:grpSp>
        <p:grpSp>
          <p:nvGrpSpPr>
            <p:cNvPr id="14" name="Group 13"/>
            <p:cNvGrpSpPr/>
            <p:nvPr/>
          </p:nvGrpSpPr>
          <p:grpSpPr>
            <a:xfrm>
              <a:off x="4101468" y="2565929"/>
              <a:ext cx="1976975" cy="1839143"/>
              <a:chOff x="562589" y="3748570"/>
              <a:chExt cx="1976975" cy="1839143"/>
            </a:xfrm>
          </p:grpSpPr>
          <p:grpSp>
            <p:nvGrpSpPr>
              <p:cNvPr id="31" name="Group 30"/>
              <p:cNvGrpSpPr/>
              <p:nvPr/>
            </p:nvGrpSpPr>
            <p:grpSpPr>
              <a:xfrm rot="19846893">
                <a:off x="562589" y="3748570"/>
                <a:ext cx="1976975" cy="1550857"/>
                <a:chOff x="2932112" y="1539875"/>
                <a:chExt cx="3616325" cy="2836863"/>
              </a:xfrm>
            </p:grpSpPr>
            <p:sp>
              <p:nvSpPr>
                <p:cNvPr id="35" name="Freeform 6"/>
                <p:cNvSpPr>
                  <a:spLocks/>
                </p:cNvSpPr>
                <p:nvPr/>
              </p:nvSpPr>
              <p:spPr bwMode="auto">
                <a:xfrm>
                  <a:off x="4572000" y="1539875"/>
                  <a:ext cx="1638300" cy="1087438"/>
                </a:xfrm>
                <a:custGeom>
                  <a:avLst/>
                  <a:gdLst>
                    <a:gd name="T0" fmla="*/ 8603 w 8603"/>
                    <a:gd name="T1" fmla="*/ 4966 h 5711"/>
                    <a:gd name="T2" fmla="*/ 0 w 8603"/>
                    <a:gd name="T3" fmla="*/ 0 h 5711"/>
                    <a:gd name="T4" fmla="*/ 0 w 8603"/>
                    <a:gd name="T5" fmla="*/ 1490 h 5711"/>
                    <a:gd name="T6" fmla="*/ 7313 w 8603"/>
                    <a:gd name="T7" fmla="*/ 5711 h 5711"/>
                    <a:gd name="T8" fmla="*/ 8603 w 8603"/>
                    <a:gd name="T9" fmla="*/ 4966 h 5711"/>
                  </a:gdLst>
                  <a:ahLst/>
                  <a:cxnLst>
                    <a:cxn ang="0">
                      <a:pos x="T0" y="T1"/>
                    </a:cxn>
                    <a:cxn ang="0">
                      <a:pos x="T2" y="T3"/>
                    </a:cxn>
                    <a:cxn ang="0">
                      <a:pos x="T4" y="T5"/>
                    </a:cxn>
                    <a:cxn ang="0">
                      <a:pos x="T6" y="T7"/>
                    </a:cxn>
                    <a:cxn ang="0">
                      <a:pos x="T8" y="T9"/>
                    </a:cxn>
                  </a:cxnLst>
                  <a:rect l="0" t="0" r="r" b="b"/>
                  <a:pathLst>
                    <a:path w="8603" h="5711">
                      <a:moveTo>
                        <a:pt x="8603" y="4966"/>
                      </a:moveTo>
                      <a:cubicBezTo>
                        <a:pt x="6829" y="1893"/>
                        <a:pt x="3549" y="0"/>
                        <a:pt x="0" y="0"/>
                      </a:cubicBezTo>
                      <a:lnTo>
                        <a:pt x="0" y="1490"/>
                      </a:lnTo>
                      <a:cubicBezTo>
                        <a:pt x="3017" y="1490"/>
                        <a:pt x="5804" y="3099"/>
                        <a:pt x="7313" y="5711"/>
                      </a:cubicBezTo>
                      <a:lnTo>
                        <a:pt x="8603" y="4966"/>
                      </a:lnTo>
                      <a:close/>
                    </a:path>
                  </a:pathLst>
                </a:custGeom>
                <a:solidFill>
                  <a:srgbClr val="FFE60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6" name="Freeform 7"/>
                <p:cNvSpPr>
                  <a:spLocks/>
                </p:cNvSpPr>
                <p:nvPr/>
              </p:nvSpPr>
              <p:spPr bwMode="auto">
                <a:xfrm>
                  <a:off x="5964237" y="2484438"/>
                  <a:ext cx="584200" cy="1892300"/>
                </a:xfrm>
                <a:custGeom>
                  <a:avLst/>
                  <a:gdLst>
                    <a:gd name="T0" fmla="*/ 1290 w 3064"/>
                    <a:gd name="T1" fmla="*/ 9934 h 9934"/>
                    <a:gd name="T2" fmla="*/ 1290 w 3064"/>
                    <a:gd name="T3" fmla="*/ 0 h 9934"/>
                    <a:gd name="T4" fmla="*/ 0 w 3064"/>
                    <a:gd name="T5" fmla="*/ 745 h 9934"/>
                    <a:gd name="T6" fmla="*/ 0 w 3064"/>
                    <a:gd name="T7" fmla="*/ 9189 h 9934"/>
                    <a:gd name="T8" fmla="*/ 1290 w 3064"/>
                    <a:gd name="T9" fmla="*/ 9934 h 9934"/>
                  </a:gdLst>
                  <a:ahLst/>
                  <a:cxnLst>
                    <a:cxn ang="0">
                      <a:pos x="T0" y="T1"/>
                    </a:cxn>
                    <a:cxn ang="0">
                      <a:pos x="T2" y="T3"/>
                    </a:cxn>
                    <a:cxn ang="0">
                      <a:pos x="T4" y="T5"/>
                    </a:cxn>
                    <a:cxn ang="0">
                      <a:pos x="T6" y="T7"/>
                    </a:cxn>
                    <a:cxn ang="0">
                      <a:pos x="T8" y="T9"/>
                    </a:cxn>
                  </a:cxnLst>
                  <a:rect l="0" t="0" r="r" b="b"/>
                  <a:pathLst>
                    <a:path w="3064" h="9934">
                      <a:moveTo>
                        <a:pt x="1290" y="9934"/>
                      </a:moveTo>
                      <a:cubicBezTo>
                        <a:pt x="3064" y="6860"/>
                        <a:pt x="3064" y="3074"/>
                        <a:pt x="1290" y="0"/>
                      </a:cubicBezTo>
                      <a:lnTo>
                        <a:pt x="0" y="745"/>
                      </a:lnTo>
                      <a:cubicBezTo>
                        <a:pt x="1508" y="3358"/>
                        <a:pt x="1508" y="6576"/>
                        <a:pt x="0" y="9189"/>
                      </a:cubicBezTo>
                      <a:lnTo>
                        <a:pt x="1290" y="9934"/>
                      </a:lnTo>
                      <a:close/>
                    </a:path>
                  </a:pathLst>
                </a:custGeom>
                <a:solidFill>
                  <a:srgbClr val="999999"/>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7" name="Freeform 11"/>
                <p:cNvSpPr>
                  <a:spLocks/>
                </p:cNvSpPr>
                <p:nvPr/>
              </p:nvSpPr>
              <p:spPr bwMode="auto">
                <a:xfrm>
                  <a:off x="2932112" y="1539875"/>
                  <a:ext cx="1639888" cy="1087438"/>
                </a:xfrm>
                <a:custGeom>
                  <a:avLst/>
                  <a:gdLst>
                    <a:gd name="T0" fmla="*/ 17205 w 17205"/>
                    <a:gd name="T1" fmla="*/ 0 h 11423"/>
                    <a:gd name="T2" fmla="*/ 0 w 17205"/>
                    <a:gd name="T3" fmla="*/ 9933 h 11423"/>
                    <a:gd name="T4" fmla="*/ 2581 w 17205"/>
                    <a:gd name="T5" fmla="*/ 11423 h 11423"/>
                    <a:gd name="T6" fmla="*/ 17205 w 17205"/>
                    <a:gd name="T7" fmla="*/ 2980 h 11423"/>
                    <a:gd name="T8" fmla="*/ 17205 w 17205"/>
                    <a:gd name="T9" fmla="*/ 0 h 11423"/>
                  </a:gdLst>
                  <a:ahLst/>
                  <a:cxnLst>
                    <a:cxn ang="0">
                      <a:pos x="T0" y="T1"/>
                    </a:cxn>
                    <a:cxn ang="0">
                      <a:pos x="T2" y="T3"/>
                    </a:cxn>
                    <a:cxn ang="0">
                      <a:pos x="T4" y="T5"/>
                    </a:cxn>
                    <a:cxn ang="0">
                      <a:pos x="T6" y="T7"/>
                    </a:cxn>
                    <a:cxn ang="0">
                      <a:pos x="T8" y="T9"/>
                    </a:cxn>
                  </a:cxnLst>
                  <a:rect l="0" t="0" r="r" b="b"/>
                  <a:pathLst>
                    <a:path w="17205" h="11423">
                      <a:moveTo>
                        <a:pt x="17205" y="0"/>
                      </a:moveTo>
                      <a:cubicBezTo>
                        <a:pt x="10108" y="0"/>
                        <a:pt x="3549" y="3787"/>
                        <a:pt x="0" y="9933"/>
                      </a:cubicBezTo>
                      <a:lnTo>
                        <a:pt x="2581" y="11423"/>
                      </a:lnTo>
                      <a:cubicBezTo>
                        <a:pt x="5598" y="6199"/>
                        <a:pt x="11172" y="2980"/>
                        <a:pt x="17205" y="2980"/>
                      </a:cubicBezTo>
                      <a:lnTo>
                        <a:pt x="17205" y="0"/>
                      </a:lnTo>
                      <a:close/>
                    </a:path>
                  </a:pathLst>
                </a:custGeom>
                <a:solidFill>
                  <a:srgbClr val="FFE60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sp>
            <p:nvSpPr>
              <p:cNvPr id="32" name="Oval 31"/>
              <p:cNvSpPr/>
              <p:nvPr/>
            </p:nvSpPr>
            <p:spPr>
              <a:xfrm>
                <a:off x="803770" y="4001949"/>
                <a:ext cx="1585764" cy="1585764"/>
              </a:xfrm>
              <a:prstGeom prst="ellipse">
                <a:avLst/>
              </a:prstGeom>
              <a:solidFill>
                <a:schemeClr val="tx2"/>
              </a:solidFill>
              <a:ln w="28575">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33" name="TextBox 32"/>
              <p:cNvSpPr txBox="1"/>
              <p:nvPr/>
            </p:nvSpPr>
            <p:spPr>
              <a:xfrm>
                <a:off x="955992" y="4747228"/>
                <a:ext cx="1304132" cy="184666"/>
              </a:xfrm>
              <a:prstGeom prst="rect">
                <a:avLst/>
              </a:prstGeom>
              <a:noFill/>
            </p:spPr>
            <p:txBody>
              <a:bodyPr wrap="square" lIns="0" tIns="0" rIns="0" bIns="0" rtlCol="0">
                <a:spAutoFit/>
              </a:bodyPr>
              <a:lstStyle/>
              <a:p>
                <a:pPr algn="ctr">
                  <a:buClr>
                    <a:srgbClr val="FFE600"/>
                  </a:buClr>
                  <a:buSzPct val="70000"/>
                </a:pPr>
                <a:r>
                  <a:rPr lang="en-IN" sz="1200" b="1" dirty="0" smtClean="0">
                    <a:solidFill>
                      <a:schemeClr val="bg1"/>
                    </a:solidFill>
                    <a:latin typeface="Arial" panose="020B0604020202020204" pitchFamily="34" charset="0"/>
                    <a:cs typeface="Arial" panose="020B0604020202020204" pitchFamily="34" charset="0"/>
                  </a:rPr>
                  <a:t>Fast follower</a:t>
                </a:r>
                <a:endParaRPr lang="en-IN" sz="1200" b="1" dirty="0">
                  <a:solidFill>
                    <a:schemeClr val="bg1"/>
                  </a:solidFill>
                  <a:latin typeface="Arial" panose="020B0604020202020204" pitchFamily="34" charset="0"/>
                  <a:cs typeface="Arial" panose="020B0604020202020204" pitchFamily="34" charset="0"/>
                </a:endParaRPr>
              </a:p>
            </p:txBody>
          </p:sp>
          <p:sp>
            <p:nvSpPr>
              <p:cNvPr id="34" name="TextBox 33"/>
              <p:cNvSpPr txBox="1"/>
              <p:nvPr/>
            </p:nvSpPr>
            <p:spPr>
              <a:xfrm>
                <a:off x="903991" y="4433435"/>
                <a:ext cx="1423379" cy="292810"/>
              </a:xfrm>
              <a:prstGeom prst="rect">
                <a:avLst/>
              </a:prstGeom>
              <a:noFill/>
            </p:spPr>
            <p:txBody>
              <a:bodyPr wrap="none" lIns="0" tIns="0" rIns="0" bIns="0" rtlCol="0">
                <a:spAutoFit/>
              </a:bodyPr>
              <a:lstStyle/>
              <a:p>
                <a:pPr algn="ctr">
                  <a:buClr>
                    <a:srgbClr val="FFE600"/>
                  </a:buClr>
                  <a:buSzPct val="70000"/>
                </a:pPr>
                <a:r>
                  <a:rPr lang="en-US" b="1" dirty="0" smtClean="0">
                    <a:solidFill>
                      <a:srgbClr val="FFE600"/>
                    </a:solidFill>
                    <a:latin typeface="Arial" panose="020B0604020202020204" pitchFamily="34" charset="0"/>
                    <a:cs typeface="Arial" panose="020B0604020202020204" pitchFamily="34" charset="0"/>
                  </a:rPr>
                  <a:t>Progressing</a:t>
                </a:r>
                <a:endParaRPr lang="en-US" b="1" dirty="0">
                  <a:solidFill>
                    <a:srgbClr val="FFE600"/>
                  </a:solidFill>
                  <a:latin typeface="Arial" panose="020B0604020202020204" pitchFamily="34" charset="0"/>
                  <a:cs typeface="Arial" panose="020B0604020202020204" pitchFamily="34" charset="0"/>
                </a:endParaRPr>
              </a:p>
            </p:txBody>
          </p:sp>
        </p:grpSp>
        <p:grpSp>
          <p:nvGrpSpPr>
            <p:cNvPr id="15" name="Group 14"/>
            <p:cNvGrpSpPr/>
            <p:nvPr/>
          </p:nvGrpSpPr>
          <p:grpSpPr>
            <a:xfrm>
              <a:off x="2146147" y="1531785"/>
              <a:ext cx="6238470" cy="3455599"/>
              <a:chOff x="-3698906" y="3748570"/>
              <a:chExt cx="6238470" cy="3455599"/>
            </a:xfrm>
          </p:grpSpPr>
          <p:grpSp>
            <p:nvGrpSpPr>
              <p:cNvPr id="24" name="Group 23"/>
              <p:cNvGrpSpPr/>
              <p:nvPr/>
            </p:nvGrpSpPr>
            <p:grpSpPr>
              <a:xfrm rot="19846893">
                <a:off x="562589" y="3748570"/>
                <a:ext cx="1976975" cy="1550857"/>
                <a:chOff x="2932112" y="1539875"/>
                <a:chExt cx="3616325" cy="2836863"/>
              </a:xfrm>
            </p:grpSpPr>
            <p:sp>
              <p:nvSpPr>
                <p:cNvPr id="28" name="Freeform 6"/>
                <p:cNvSpPr>
                  <a:spLocks/>
                </p:cNvSpPr>
                <p:nvPr/>
              </p:nvSpPr>
              <p:spPr bwMode="auto">
                <a:xfrm>
                  <a:off x="4572000" y="1539875"/>
                  <a:ext cx="1638300" cy="1087438"/>
                </a:xfrm>
                <a:custGeom>
                  <a:avLst/>
                  <a:gdLst>
                    <a:gd name="T0" fmla="*/ 8603 w 8603"/>
                    <a:gd name="T1" fmla="*/ 4966 h 5711"/>
                    <a:gd name="T2" fmla="*/ 0 w 8603"/>
                    <a:gd name="T3" fmla="*/ 0 h 5711"/>
                    <a:gd name="T4" fmla="*/ 0 w 8603"/>
                    <a:gd name="T5" fmla="*/ 1490 h 5711"/>
                    <a:gd name="T6" fmla="*/ 7313 w 8603"/>
                    <a:gd name="T7" fmla="*/ 5711 h 5711"/>
                    <a:gd name="T8" fmla="*/ 8603 w 8603"/>
                    <a:gd name="T9" fmla="*/ 4966 h 5711"/>
                  </a:gdLst>
                  <a:ahLst/>
                  <a:cxnLst>
                    <a:cxn ang="0">
                      <a:pos x="T0" y="T1"/>
                    </a:cxn>
                    <a:cxn ang="0">
                      <a:pos x="T2" y="T3"/>
                    </a:cxn>
                    <a:cxn ang="0">
                      <a:pos x="T4" y="T5"/>
                    </a:cxn>
                    <a:cxn ang="0">
                      <a:pos x="T6" y="T7"/>
                    </a:cxn>
                    <a:cxn ang="0">
                      <a:pos x="T8" y="T9"/>
                    </a:cxn>
                  </a:cxnLst>
                  <a:rect l="0" t="0" r="r" b="b"/>
                  <a:pathLst>
                    <a:path w="8603" h="5711">
                      <a:moveTo>
                        <a:pt x="8603" y="4966"/>
                      </a:moveTo>
                      <a:cubicBezTo>
                        <a:pt x="6829" y="1893"/>
                        <a:pt x="3549" y="0"/>
                        <a:pt x="0" y="0"/>
                      </a:cubicBezTo>
                      <a:lnTo>
                        <a:pt x="0" y="1490"/>
                      </a:lnTo>
                      <a:cubicBezTo>
                        <a:pt x="3017" y="1490"/>
                        <a:pt x="5804" y="3099"/>
                        <a:pt x="7313" y="5711"/>
                      </a:cubicBezTo>
                      <a:lnTo>
                        <a:pt x="8603" y="4966"/>
                      </a:lnTo>
                      <a:close/>
                    </a:path>
                  </a:pathLst>
                </a:custGeom>
                <a:solidFill>
                  <a:srgbClr val="FFE60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29" name="Freeform 7"/>
                <p:cNvSpPr>
                  <a:spLocks/>
                </p:cNvSpPr>
                <p:nvPr/>
              </p:nvSpPr>
              <p:spPr bwMode="auto">
                <a:xfrm>
                  <a:off x="5964237" y="2484438"/>
                  <a:ext cx="584200" cy="1892300"/>
                </a:xfrm>
                <a:custGeom>
                  <a:avLst/>
                  <a:gdLst>
                    <a:gd name="T0" fmla="*/ 1290 w 3064"/>
                    <a:gd name="T1" fmla="*/ 9934 h 9934"/>
                    <a:gd name="T2" fmla="*/ 1290 w 3064"/>
                    <a:gd name="T3" fmla="*/ 0 h 9934"/>
                    <a:gd name="T4" fmla="*/ 0 w 3064"/>
                    <a:gd name="T5" fmla="*/ 745 h 9934"/>
                    <a:gd name="T6" fmla="*/ 0 w 3064"/>
                    <a:gd name="T7" fmla="*/ 9189 h 9934"/>
                    <a:gd name="T8" fmla="*/ 1290 w 3064"/>
                    <a:gd name="T9" fmla="*/ 9934 h 9934"/>
                  </a:gdLst>
                  <a:ahLst/>
                  <a:cxnLst>
                    <a:cxn ang="0">
                      <a:pos x="T0" y="T1"/>
                    </a:cxn>
                    <a:cxn ang="0">
                      <a:pos x="T2" y="T3"/>
                    </a:cxn>
                    <a:cxn ang="0">
                      <a:pos x="T4" y="T5"/>
                    </a:cxn>
                    <a:cxn ang="0">
                      <a:pos x="T6" y="T7"/>
                    </a:cxn>
                    <a:cxn ang="0">
                      <a:pos x="T8" y="T9"/>
                    </a:cxn>
                  </a:cxnLst>
                  <a:rect l="0" t="0" r="r" b="b"/>
                  <a:pathLst>
                    <a:path w="3064" h="9934">
                      <a:moveTo>
                        <a:pt x="1290" y="9934"/>
                      </a:moveTo>
                      <a:cubicBezTo>
                        <a:pt x="3064" y="6860"/>
                        <a:pt x="3064" y="3074"/>
                        <a:pt x="1290" y="0"/>
                      </a:cubicBezTo>
                      <a:lnTo>
                        <a:pt x="0" y="745"/>
                      </a:lnTo>
                      <a:cubicBezTo>
                        <a:pt x="1508" y="3358"/>
                        <a:pt x="1508" y="6576"/>
                        <a:pt x="0" y="9189"/>
                      </a:cubicBezTo>
                      <a:lnTo>
                        <a:pt x="1290" y="9934"/>
                      </a:lnTo>
                      <a:close/>
                    </a:path>
                  </a:pathLst>
                </a:custGeom>
                <a:solidFill>
                  <a:srgbClr val="FFE60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sp>
              <p:nvSpPr>
                <p:cNvPr id="30" name="Freeform 11"/>
                <p:cNvSpPr>
                  <a:spLocks/>
                </p:cNvSpPr>
                <p:nvPr/>
              </p:nvSpPr>
              <p:spPr bwMode="auto">
                <a:xfrm>
                  <a:off x="2932112" y="1539875"/>
                  <a:ext cx="1639888" cy="1087438"/>
                </a:xfrm>
                <a:custGeom>
                  <a:avLst/>
                  <a:gdLst>
                    <a:gd name="T0" fmla="*/ 17205 w 17205"/>
                    <a:gd name="T1" fmla="*/ 0 h 11423"/>
                    <a:gd name="T2" fmla="*/ 0 w 17205"/>
                    <a:gd name="T3" fmla="*/ 9933 h 11423"/>
                    <a:gd name="T4" fmla="*/ 2581 w 17205"/>
                    <a:gd name="T5" fmla="*/ 11423 h 11423"/>
                    <a:gd name="T6" fmla="*/ 17205 w 17205"/>
                    <a:gd name="T7" fmla="*/ 2980 h 11423"/>
                    <a:gd name="T8" fmla="*/ 17205 w 17205"/>
                    <a:gd name="T9" fmla="*/ 0 h 11423"/>
                  </a:gdLst>
                  <a:ahLst/>
                  <a:cxnLst>
                    <a:cxn ang="0">
                      <a:pos x="T0" y="T1"/>
                    </a:cxn>
                    <a:cxn ang="0">
                      <a:pos x="T2" y="T3"/>
                    </a:cxn>
                    <a:cxn ang="0">
                      <a:pos x="T4" y="T5"/>
                    </a:cxn>
                    <a:cxn ang="0">
                      <a:pos x="T6" y="T7"/>
                    </a:cxn>
                    <a:cxn ang="0">
                      <a:pos x="T8" y="T9"/>
                    </a:cxn>
                  </a:cxnLst>
                  <a:rect l="0" t="0" r="r" b="b"/>
                  <a:pathLst>
                    <a:path w="17205" h="11423">
                      <a:moveTo>
                        <a:pt x="17205" y="0"/>
                      </a:moveTo>
                      <a:cubicBezTo>
                        <a:pt x="10108" y="0"/>
                        <a:pt x="3549" y="3787"/>
                        <a:pt x="0" y="9933"/>
                      </a:cubicBezTo>
                      <a:lnTo>
                        <a:pt x="2581" y="11423"/>
                      </a:lnTo>
                      <a:cubicBezTo>
                        <a:pt x="5598" y="6199"/>
                        <a:pt x="11172" y="2980"/>
                        <a:pt x="17205" y="2980"/>
                      </a:cubicBezTo>
                      <a:lnTo>
                        <a:pt x="17205" y="0"/>
                      </a:lnTo>
                      <a:close/>
                    </a:path>
                  </a:pathLst>
                </a:custGeom>
                <a:solidFill>
                  <a:srgbClr val="FFE600"/>
                </a:solidFill>
                <a:ln w="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IN" dirty="0"/>
                </a:p>
              </p:txBody>
            </p:sp>
          </p:grpSp>
          <p:sp>
            <p:nvSpPr>
              <p:cNvPr id="25" name="Oval 24"/>
              <p:cNvSpPr/>
              <p:nvPr/>
            </p:nvSpPr>
            <p:spPr>
              <a:xfrm>
                <a:off x="803770" y="4001947"/>
                <a:ext cx="1585764" cy="1585764"/>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26" name="TextBox 25"/>
              <p:cNvSpPr txBox="1"/>
              <p:nvPr/>
            </p:nvSpPr>
            <p:spPr>
              <a:xfrm>
                <a:off x="-3698906" y="6822402"/>
                <a:ext cx="1304132" cy="184666"/>
              </a:xfrm>
              <a:prstGeom prst="rect">
                <a:avLst/>
              </a:prstGeom>
              <a:noFill/>
            </p:spPr>
            <p:txBody>
              <a:bodyPr wrap="square" lIns="0" tIns="0" rIns="0" bIns="0" rtlCol="0">
                <a:spAutoFit/>
              </a:bodyPr>
              <a:lstStyle/>
              <a:p>
                <a:pPr algn="ctr">
                  <a:buClr>
                    <a:srgbClr val="FFE600"/>
                  </a:buClr>
                  <a:buSzPct val="70000"/>
                </a:pPr>
                <a:r>
                  <a:rPr lang="en-IN" sz="1200" b="1" dirty="0" smtClean="0">
                    <a:solidFill>
                      <a:schemeClr val="bg1"/>
                    </a:solidFill>
                    <a:latin typeface="Arial" panose="020B0604020202020204" pitchFamily="34" charset="0"/>
                    <a:cs typeface="Arial" panose="020B0604020202020204" pitchFamily="34" charset="0"/>
                  </a:rPr>
                  <a:t>Slow starters</a:t>
                </a:r>
                <a:endParaRPr lang="en-IN" sz="1200" b="1" dirty="0">
                  <a:solidFill>
                    <a:schemeClr val="bg1"/>
                  </a:solidFill>
                  <a:latin typeface="Arial" panose="020B0604020202020204" pitchFamily="34" charset="0"/>
                  <a:cs typeface="Arial" panose="020B0604020202020204" pitchFamily="34" charset="0"/>
                </a:endParaRPr>
              </a:p>
            </p:txBody>
          </p:sp>
          <p:sp>
            <p:nvSpPr>
              <p:cNvPr id="27" name="TextBox 26"/>
              <p:cNvSpPr txBox="1"/>
              <p:nvPr/>
            </p:nvSpPr>
            <p:spPr>
              <a:xfrm>
                <a:off x="1142252" y="4383790"/>
                <a:ext cx="984244" cy="307777"/>
              </a:xfrm>
              <a:prstGeom prst="rect">
                <a:avLst/>
              </a:prstGeom>
              <a:noFill/>
            </p:spPr>
            <p:txBody>
              <a:bodyPr wrap="none" lIns="0" tIns="0" rIns="0" bIns="0" rtlCol="0">
                <a:spAutoFit/>
              </a:bodyPr>
              <a:lstStyle/>
              <a:p>
                <a:pPr algn="ctr">
                  <a:buClr>
                    <a:srgbClr val="FFE600"/>
                  </a:buClr>
                  <a:buSzPct val="70000"/>
                </a:pPr>
                <a:r>
                  <a:rPr lang="en-US" sz="2000" b="1" dirty="0" smtClean="0">
                    <a:solidFill>
                      <a:srgbClr val="FFE600"/>
                    </a:solidFill>
                    <a:latin typeface="Arial" panose="020B0604020202020204" pitchFamily="34" charset="0"/>
                    <a:cs typeface="Arial" panose="020B0604020202020204" pitchFamily="34" charset="0"/>
                  </a:rPr>
                  <a:t>Leading</a:t>
                </a:r>
                <a:endParaRPr lang="en-US" sz="2000" b="1" dirty="0">
                  <a:solidFill>
                    <a:srgbClr val="FFE600"/>
                  </a:solidFill>
                  <a:latin typeface="Arial" panose="020B0604020202020204" pitchFamily="34" charset="0"/>
                  <a:cs typeface="Arial" panose="020B0604020202020204" pitchFamily="34" charset="0"/>
                </a:endParaRPr>
              </a:p>
            </p:txBody>
          </p:sp>
          <p:sp>
            <p:nvSpPr>
              <p:cNvPr id="126" name="TextBox 125"/>
              <p:cNvSpPr txBox="1"/>
              <p:nvPr/>
            </p:nvSpPr>
            <p:spPr>
              <a:xfrm>
                <a:off x="-3698906" y="7008961"/>
                <a:ext cx="1304132" cy="195208"/>
              </a:xfrm>
              <a:prstGeom prst="rect">
                <a:avLst/>
              </a:prstGeom>
              <a:noFill/>
            </p:spPr>
            <p:txBody>
              <a:bodyPr wrap="square" lIns="0" tIns="0" rIns="0" bIns="0" rtlCol="0">
                <a:spAutoFit/>
              </a:bodyPr>
              <a:lstStyle/>
              <a:p>
                <a:pPr algn="ctr">
                  <a:buClr>
                    <a:srgbClr val="FFE600"/>
                  </a:buClr>
                  <a:buSzPct val="70000"/>
                </a:pPr>
                <a:r>
                  <a:rPr lang="en-IN" sz="1200" b="1" dirty="0" smtClean="0">
                    <a:solidFill>
                      <a:schemeClr val="bg1"/>
                    </a:solidFill>
                    <a:latin typeface="Arial" panose="020B0604020202020204" pitchFamily="34" charset="0"/>
                    <a:cs typeface="Arial" panose="020B0604020202020204" pitchFamily="34" charset="0"/>
                  </a:rPr>
                  <a:t>(400+)</a:t>
                </a:r>
                <a:endParaRPr lang="en-IN" sz="1200" b="1" dirty="0">
                  <a:solidFill>
                    <a:schemeClr val="bg1"/>
                  </a:solidFill>
                  <a:latin typeface="Arial" panose="020B0604020202020204" pitchFamily="34" charset="0"/>
                  <a:cs typeface="Arial" panose="020B0604020202020204" pitchFamily="34" charset="0"/>
                </a:endParaRPr>
              </a:p>
            </p:txBody>
          </p:sp>
          <p:sp>
            <p:nvSpPr>
              <p:cNvPr id="127" name="TextBox 126"/>
              <p:cNvSpPr txBox="1"/>
              <p:nvPr/>
            </p:nvSpPr>
            <p:spPr>
              <a:xfrm>
                <a:off x="-1360919" y="5956520"/>
                <a:ext cx="1304132" cy="195206"/>
              </a:xfrm>
              <a:prstGeom prst="rect">
                <a:avLst/>
              </a:prstGeom>
              <a:noFill/>
            </p:spPr>
            <p:txBody>
              <a:bodyPr wrap="square" lIns="0" tIns="0" rIns="0" bIns="0" rtlCol="0">
                <a:spAutoFit/>
              </a:bodyPr>
              <a:lstStyle/>
              <a:p>
                <a:pPr algn="ctr">
                  <a:buClr>
                    <a:srgbClr val="FFE600"/>
                  </a:buClr>
                  <a:buSzPct val="70000"/>
                </a:pPr>
                <a:r>
                  <a:rPr lang="en-IN" sz="1200" b="1" dirty="0" smtClean="0">
                    <a:solidFill>
                      <a:schemeClr val="bg1"/>
                    </a:solidFill>
                    <a:latin typeface="Arial" panose="020B0604020202020204" pitchFamily="34" charset="0"/>
                    <a:cs typeface="Arial" panose="020B0604020202020204" pitchFamily="34" charset="0"/>
                  </a:rPr>
                  <a:t>(50)</a:t>
                </a:r>
                <a:endParaRPr lang="en-IN" sz="1200" b="1" dirty="0">
                  <a:solidFill>
                    <a:schemeClr val="bg1"/>
                  </a:solidFill>
                  <a:latin typeface="Arial" panose="020B0604020202020204" pitchFamily="34" charset="0"/>
                  <a:cs typeface="Arial" panose="020B0604020202020204" pitchFamily="34" charset="0"/>
                </a:endParaRPr>
              </a:p>
            </p:txBody>
          </p:sp>
          <p:sp>
            <p:nvSpPr>
              <p:cNvPr id="129" name="TextBox 128"/>
              <p:cNvSpPr txBox="1"/>
              <p:nvPr/>
            </p:nvSpPr>
            <p:spPr>
              <a:xfrm>
                <a:off x="982308" y="4929037"/>
                <a:ext cx="1304132" cy="195206"/>
              </a:xfrm>
              <a:prstGeom prst="rect">
                <a:avLst/>
              </a:prstGeom>
              <a:noFill/>
            </p:spPr>
            <p:txBody>
              <a:bodyPr wrap="square" lIns="0" tIns="0" rIns="0" bIns="0" rtlCol="0">
                <a:spAutoFit/>
              </a:bodyPr>
              <a:lstStyle/>
              <a:p>
                <a:pPr algn="ctr">
                  <a:buClr>
                    <a:srgbClr val="FFE600"/>
                  </a:buClr>
                  <a:buSzPct val="70000"/>
                </a:pPr>
                <a:r>
                  <a:rPr lang="en-IN" sz="1200" b="1" dirty="0" smtClean="0">
                    <a:solidFill>
                      <a:schemeClr val="bg1"/>
                    </a:solidFill>
                    <a:latin typeface="Arial" panose="020B0604020202020204" pitchFamily="34" charset="0"/>
                    <a:cs typeface="Arial" panose="020B0604020202020204" pitchFamily="34" charset="0"/>
                  </a:rPr>
                  <a:t>(30)</a:t>
                </a:r>
                <a:endParaRPr lang="en-IN" sz="1200" b="1" dirty="0">
                  <a:solidFill>
                    <a:schemeClr val="bg1"/>
                  </a:solidFill>
                  <a:latin typeface="Arial" panose="020B0604020202020204" pitchFamily="34" charset="0"/>
                  <a:cs typeface="Arial" panose="020B0604020202020204" pitchFamily="34" charset="0"/>
                </a:endParaRPr>
              </a:p>
            </p:txBody>
          </p:sp>
        </p:grpSp>
        <p:sp>
          <p:nvSpPr>
            <p:cNvPr id="3" name="Rectangle 2"/>
            <p:cNvSpPr/>
            <p:nvPr/>
          </p:nvSpPr>
          <p:spPr>
            <a:xfrm>
              <a:off x="1706419" y="1393372"/>
              <a:ext cx="6845720" cy="4372415"/>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0" name="TextBox 59"/>
            <p:cNvSpPr txBox="1"/>
            <p:nvPr/>
          </p:nvSpPr>
          <p:spPr>
            <a:xfrm>
              <a:off x="616603" y="5149162"/>
              <a:ext cx="1002891" cy="580103"/>
            </a:xfrm>
            <a:prstGeom prst="rect">
              <a:avLst/>
            </a:prstGeom>
            <a:noFill/>
          </p:spPr>
          <p:txBody>
            <a:bodyPr wrap="square" lIns="0" tIns="0" rIns="0" bIns="0" rtlCol="0" anchor="ctr">
              <a:noAutofit/>
            </a:bodyPr>
            <a:lstStyle/>
            <a:p>
              <a:pPr algn="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Flat /</a:t>
              </a:r>
            </a:p>
            <a:p>
              <a:pPr algn="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Declining profits</a:t>
              </a:r>
            </a:p>
          </p:txBody>
        </p:sp>
        <p:sp>
          <p:nvSpPr>
            <p:cNvPr id="61" name="TextBox 60"/>
            <p:cNvSpPr txBox="1"/>
            <p:nvPr/>
          </p:nvSpPr>
          <p:spPr>
            <a:xfrm>
              <a:off x="1733753" y="5801156"/>
              <a:ext cx="2596393" cy="580103"/>
            </a:xfrm>
            <a:prstGeom prst="rect">
              <a:avLst/>
            </a:prstGeom>
            <a:noFill/>
          </p:spPr>
          <p:txBody>
            <a:bodyPr wrap="square" lIns="0" tIns="0" rIns="0" bIns="0" rtlCol="0" anchor="ctr">
              <a:noAutofit/>
            </a:bodyPr>
            <a:lstStyle/>
            <a:p>
              <a:pP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Flat / Declining </a:t>
              </a:r>
            </a:p>
            <a:p>
              <a:pP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revenues</a:t>
              </a:r>
            </a:p>
          </p:txBody>
        </p:sp>
        <p:sp>
          <p:nvSpPr>
            <p:cNvPr id="62" name="TextBox 61"/>
            <p:cNvSpPr txBox="1"/>
            <p:nvPr/>
          </p:nvSpPr>
          <p:spPr>
            <a:xfrm>
              <a:off x="667918" y="3244231"/>
              <a:ext cx="1002891" cy="580103"/>
            </a:xfrm>
            <a:prstGeom prst="rect">
              <a:avLst/>
            </a:prstGeom>
            <a:noFill/>
          </p:spPr>
          <p:txBody>
            <a:bodyPr wrap="square" lIns="0" tIns="0" rIns="0" bIns="0" rtlCol="0" anchor="ctr">
              <a:noAutofit/>
            </a:bodyPr>
            <a:lstStyle/>
            <a:p>
              <a:pPr algn="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Rising profits</a:t>
              </a:r>
            </a:p>
          </p:txBody>
        </p:sp>
        <p:sp>
          <p:nvSpPr>
            <p:cNvPr id="63" name="TextBox 62"/>
            <p:cNvSpPr txBox="1"/>
            <p:nvPr/>
          </p:nvSpPr>
          <p:spPr>
            <a:xfrm>
              <a:off x="639955" y="1308546"/>
              <a:ext cx="1002891" cy="580103"/>
            </a:xfrm>
            <a:prstGeom prst="rect">
              <a:avLst/>
            </a:prstGeom>
            <a:noFill/>
          </p:spPr>
          <p:txBody>
            <a:bodyPr wrap="square" lIns="0" tIns="0" rIns="0" bIns="0" rtlCol="0" anchor="ctr">
              <a:noAutofit/>
            </a:bodyPr>
            <a:lstStyle/>
            <a:p>
              <a:pPr algn="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Booming profits</a:t>
              </a:r>
            </a:p>
          </p:txBody>
        </p:sp>
        <p:sp>
          <p:nvSpPr>
            <p:cNvPr id="64" name="TextBox 63"/>
            <p:cNvSpPr txBox="1"/>
            <p:nvPr/>
          </p:nvSpPr>
          <p:spPr>
            <a:xfrm>
              <a:off x="6402224" y="5768167"/>
              <a:ext cx="2162249" cy="396218"/>
            </a:xfrm>
            <a:prstGeom prst="rect">
              <a:avLst/>
            </a:prstGeom>
            <a:noFill/>
          </p:spPr>
          <p:txBody>
            <a:bodyPr wrap="square" lIns="0" tIns="0" rIns="0" bIns="0" rtlCol="0" anchor="ctr">
              <a:noAutofit/>
            </a:bodyPr>
            <a:lstStyle/>
            <a:p>
              <a:pPr algn="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Booming revenue</a:t>
              </a:r>
            </a:p>
          </p:txBody>
        </p:sp>
        <p:sp>
          <p:nvSpPr>
            <p:cNvPr id="65" name="TextBox 64"/>
            <p:cNvSpPr txBox="1"/>
            <p:nvPr/>
          </p:nvSpPr>
          <p:spPr>
            <a:xfrm>
              <a:off x="4532850" y="5684387"/>
              <a:ext cx="1869375" cy="580103"/>
            </a:xfrm>
            <a:prstGeom prst="rect">
              <a:avLst/>
            </a:prstGeom>
            <a:noFill/>
          </p:spPr>
          <p:txBody>
            <a:bodyPr wrap="square" lIns="0" tIns="0" rIns="0" bIns="0" rtlCol="0" anchor="ctr">
              <a:noAutofit/>
            </a:bodyPr>
            <a:lstStyle/>
            <a:p>
              <a:pPr>
                <a:lnSpc>
                  <a:spcPct val="85000"/>
                </a:lnSpc>
                <a:spcAft>
                  <a:spcPts val="600"/>
                </a:spcAft>
                <a:buClr>
                  <a:schemeClr val="accent2"/>
                </a:buClr>
                <a:buSzPct val="70000"/>
              </a:pPr>
              <a:r>
                <a:rPr lang="en-US" sz="1600" b="1" dirty="0" smtClean="0">
                  <a:solidFill>
                    <a:schemeClr val="bg1"/>
                  </a:solidFill>
                  <a:latin typeface="EYInterstate Light" panose="02000506000000020004" pitchFamily="2" charset="0"/>
                </a:rPr>
                <a:t>Rising revenues</a:t>
              </a:r>
            </a:p>
          </p:txBody>
        </p:sp>
        <p:sp>
          <p:nvSpPr>
            <p:cNvPr id="118" name="Striped Right Arrow 117"/>
            <p:cNvSpPr/>
            <p:nvPr/>
          </p:nvSpPr>
          <p:spPr>
            <a:xfrm rot="20081122">
              <a:off x="3654323" y="4076794"/>
              <a:ext cx="4090921" cy="1075557"/>
            </a:xfrm>
            <a:prstGeom prst="stripedRightArrow">
              <a:avLst/>
            </a:prstGeom>
            <a:solidFill>
              <a:srgbClr val="FFE6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124" name="Rectangle 123"/>
          <p:cNvSpPr/>
          <p:nvPr/>
        </p:nvSpPr>
        <p:spPr>
          <a:xfrm>
            <a:off x="8806746" y="1099612"/>
            <a:ext cx="2779895" cy="3125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r"/>
            <a:r>
              <a:rPr lang="en-US" sz="2400" b="1" dirty="0" smtClean="0">
                <a:solidFill>
                  <a:schemeClr val="tx1"/>
                </a:solidFill>
              </a:rPr>
              <a:t>Six Big </a:t>
            </a:r>
            <a:r>
              <a:rPr lang="en-US" sz="2400" b="1" dirty="0">
                <a:solidFill>
                  <a:schemeClr val="tx1"/>
                </a:solidFill>
              </a:rPr>
              <a:t>B</a:t>
            </a:r>
            <a:r>
              <a:rPr lang="en-US" sz="2400" b="1" dirty="0" smtClean="0">
                <a:solidFill>
                  <a:schemeClr val="tx1"/>
                </a:solidFill>
              </a:rPr>
              <a:t>ets</a:t>
            </a:r>
            <a:endParaRPr lang="en-US" sz="2400" b="1" dirty="0">
              <a:solidFill>
                <a:schemeClr val="tx1"/>
              </a:solidFill>
            </a:endParaRPr>
          </a:p>
        </p:txBody>
      </p:sp>
      <p:sp>
        <p:nvSpPr>
          <p:cNvPr id="125" name="TextBox 124"/>
          <p:cNvSpPr txBox="1"/>
          <p:nvPr/>
        </p:nvSpPr>
        <p:spPr>
          <a:xfrm rot="20075841">
            <a:off x="3654637" y="3868734"/>
            <a:ext cx="3635874" cy="652569"/>
          </a:xfrm>
          <a:prstGeom prst="rect">
            <a:avLst/>
          </a:prstGeom>
          <a:noFill/>
        </p:spPr>
        <p:txBody>
          <a:bodyPr wrap="square" lIns="0" tIns="0" rIns="0" bIns="0" rtlCol="0" anchor="ctr">
            <a:noAutofit/>
          </a:bodyPr>
          <a:lstStyle/>
          <a:p>
            <a:pPr>
              <a:lnSpc>
                <a:spcPct val="85000"/>
              </a:lnSpc>
              <a:spcAft>
                <a:spcPts val="600"/>
              </a:spcAft>
              <a:buClr>
                <a:schemeClr val="accent2"/>
              </a:buClr>
              <a:buSzPct val="70000"/>
            </a:pPr>
            <a:r>
              <a:rPr lang="en-US" sz="2000" b="1" dirty="0" smtClean="0">
                <a:solidFill>
                  <a:schemeClr val="tx2"/>
                </a:solidFill>
                <a:latin typeface="EYInterstate Light" panose="02000506000000020004" pitchFamily="2" charset="0"/>
              </a:rPr>
              <a:t>Investment in the future</a:t>
            </a:r>
          </a:p>
        </p:txBody>
      </p:sp>
      <p:sp>
        <p:nvSpPr>
          <p:cNvPr id="111" name="TextBox 110"/>
          <p:cNvSpPr txBox="1"/>
          <p:nvPr/>
        </p:nvSpPr>
        <p:spPr>
          <a:xfrm rot="20086772">
            <a:off x="3726785" y="4758289"/>
            <a:ext cx="1565242" cy="344129"/>
          </a:xfrm>
          <a:prstGeom prst="rect">
            <a:avLst/>
          </a:prstGeom>
          <a:noFill/>
        </p:spPr>
        <p:txBody>
          <a:bodyPr wrap="square" lIns="0" tIns="0" rIns="0" bIns="0" rtlCol="0" anchor="ctr">
            <a:noAutofit/>
          </a:bodyPr>
          <a:lstStyle/>
          <a:p>
            <a:pPr>
              <a:lnSpc>
                <a:spcPct val="85000"/>
              </a:lnSpc>
              <a:spcAft>
                <a:spcPts val="600"/>
              </a:spcAft>
              <a:buClr>
                <a:schemeClr val="accent2"/>
              </a:buClr>
              <a:buSzPct val="70000"/>
            </a:pPr>
            <a:r>
              <a:rPr lang="en-US" sz="1400" b="1" dirty="0">
                <a:solidFill>
                  <a:schemeClr val="tx2"/>
                </a:solidFill>
                <a:latin typeface="EYInterstate Light" panose="02000506000000020004" pitchFamily="2" charset="0"/>
              </a:rPr>
              <a:t>Slow to act</a:t>
            </a:r>
          </a:p>
        </p:txBody>
      </p:sp>
      <p:sp>
        <p:nvSpPr>
          <p:cNvPr id="112" name="TextBox 111"/>
          <p:cNvSpPr txBox="1"/>
          <p:nvPr/>
        </p:nvSpPr>
        <p:spPr>
          <a:xfrm rot="20115232">
            <a:off x="5868642" y="3744518"/>
            <a:ext cx="1565242" cy="344129"/>
          </a:xfrm>
          <a:prstGeom prst="rect">
            <a:avLst/>
          </a:prstGeom>
          <a:noFill/>
        </p:spPr>
        <p:txBody>
          <a:bodyPr wrap="square" lIns="0" tIns="0" rIns="0" bIns="0" rtlCol="0" anchor="ctr">
            <a:noAutofit/>
          </a:bodyPr>
          <a:lstStyle/>
          <a:p>
            <a:pPr>
              <a:lnSpc>
                <a:spcPct val="85000"/>
              </a:lnSpc>
              <a:spcAft>
                <a:spcPts val="600"/>
              </a:spcAft>
              <a:buClr>
                <a:schemeClr val="accent2"/>
              </a:buClr>
              <a:buSzPct val="70000"/>
            </a:pPr>
            <a:r>
              <a:rPr lang="en-US" sz="1400" b="1" dirty="0" smtClean="0">
                <a:solidFill>
                  <a:schemeClr val="tx2"/>
                </a:solidFill>
                <a:latin typeface="EYInterstate Light" panose="02000506000000020004" pitchFamily="2" charset="0"/>
              </a:rPr>
              <a:t>Early movers</a:t>
            </a:r>
            <a:endParaRPr lang="en-US" sz="1400" b="1" dirty="0">
              <a:solidFill>
                <a:schemeClr val="tx2"/>
              </a:solidFill>
              <a:latin typeface="EYInterstate Light" panose="02000506000000020004" pitchFamily="2" charset="0"/>
            </a:endParaRPr>
          </a:p>
        </p:txBody>
      </p:sp>
    </p:spTree>
    <p:extLst>
      <p:ext uri="{BB962C8B-B14F-4D97-AF65-F5344CB8AC3E}">
        <p14:creationId xmlns:p14="http://schemas.microsoft.com/office/powerpoint/2010/main" val="1726705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1" y="203280"/>
            <a:ext cx="10971531" cy="859952"/>
          </a:xfrm>
        </p:spPr>
        <p:txBody>
          <a:bodyPr/>
          <a:lstStyle/>
          <a:p>
            <a:r>
              <a:rPr lang="en-IN" sz="2400" dirty="0">
                <a:latin typeface="+mj-lt"/>
              </a:rPr>
              <a:t>Survey insights: </a:t>
            </a:r>
            <a:r>
              <a:rPr lang="en-IN" sz="2400" dirty="0" smtClean="0">
                <a:latin typeface="+mj-lt"/>
              </a:rPr>
              <a:t>Defining characteristics for the six big bets</a:t>
            </a:r>
            <a:endParaRPr lang="en-IN" sz="2400" dirty="0">
              <a:latin typeface="+mj-lt"/>
            </a:endParaRPr>
          </a:p>
        </p:txBody>
      </p:sp>
      <p:grpSp>
        <p:nvGrpSpPr>
          <p:cNvPr id="54" name="Group 53"/>
          <p:cNvGrpSpPr/>
          <p:nvPr/>
        </p:nvGrpSpPr>
        <p:grpSpPr>
          <a:xfrm>
            <a:off x="629769" y="1258327"/>
            <a:ext cx="11036408" cy="4857337"/>
            <a:chOff x="630097" y="1396795"/>
            <a:chExt cx="11042156" cy="4343605"/>
          </a:xfrm>
        </p:grpSpPr>
        <p:sp>
          <p:nvSpPr>
            <p:cNvPr id="4" name="Freeform 45"/>
            <p:cNvSpPr>
              <a:spLocks noChangeAspect="1" noEditPoints="1"/>
            </p:cNvSpPr>
            <p:nvPr/>
          </p:nvSpPr>
          <p:spPr bwMode="auto">
            <a:xfrm>
              <a:off x="876381" y="1816814"/>
              <a:ext cx="657769" cy="472210"/>
            </a:xfrm>
            <a:custGeom>
              <a:avLst/>
              <a:gdLst>
                <a:gd name="T0" fmla="*/ 1626 w 2290"/>
                <a:gd name="T1" fmla="*/ 356 h 2550"/>
                <a:gd name="T2" fmla="*/ 1685 w 2290"/>
                <a:gd name="T3" fmla="*/ 221 h 2550"/>
                <a:gd name="T4" fmla="*/ 1625 w 2290"/>
                <a:gd name="T5" fmla="*/ 81 h 2550"/>
                <a:gd name="T6" fmla="*/ 1485 w 2290"/>
                <a:gd name="T7" fmla="*/ 43 h 2550"/>
                <a:gd name="T8" fmla="*/ 1379 w 2290"/>
                <a:gd name="T9" fmla="*/ 110 h 2550"/>
                <a:gd name="T10" fmla="*/ 1349 w 2290"/>
                <a:gd name="T11" fmla="*/ 274 h 2550"/>
                <a:gd name="T12" fmla="*/ 1428 w 2290"/>
                <a:gd name="T13" fmla="*/ 405 h 2550"/>
                <a:gd name="T14" fmla="*/ 1379 w 2290"/>
                <a:gd name="T15" fmla="*/ 187 h 2550"/>
                <a:gd name="T16" fmla="*/ 1478 w 2290"/>
                <a:gd name="T17" fmla="*/ 127 h 2550"/>
                <a:gd name="T18" fmla="*/ 1522 w 2290"/>
                <a:gd name="T19" fmla="*/ 219 h 2550"/>
                <a:gd name="T20" fmla="*/ 1580 w 2290"/>
                <a:gd name="T21" fmla="*/ 367 h 2550"/>
                <a:gd name="T22" fmla="*/ 1489 w 2290"/>
                <a:gd name="T23" fmla="*/ 396 h 2550"/>
                <a:gd name="T24" fmla="*/ 1392 w 2290"/>
                <a:gd name="T25" fmla="*/ 325 h 2550"/>
                <a:gd name="T26" fmla="*/ 1187 w 2290"/>
                <a:gd name="T27" fmla="*/ 1061 h 2550"/>
                <a:gd name="T28" fmla="*/ 1238 w 2290"/>
                <a:gd name="T29" fmla="*/ 1004 h 2550"/>
                <a:gd name="T30" fmla="*/ 1254 w 2290"/>
                <a:gd name="T31" fmla="*/ 975 h 2550"/>
                <a:gd name="T32" fmla="*/ 1280 w 2290"/>
                <a:gd name="T33" fmla="*/ 996 h 2550"/>
                <a:gd name="T34" fmla="*/ 1259 w 2290"/>
                <a:gd name="T35" fmla="*/ 1018 h 2550"/>
                <a:gd name="T36" fmla="*/ 1731 w 2290"/>
                <a:gd name="T37" fmla="*/ 473 h 2550"/>
                <a:gd name="T38" fmla="*/ 1657 w 2290"/>
                <a:gd name="T39" fmla="*/ 427 h 2550"/>
                <a:gd name="T40" fmla="*/ 1455 w 2290"/>
                <a:gd name="T41" fmla="*/ 553 h 2550"/>
                <a:gd name="T42" fmla="*/ 1594 w 2290"/>
                <a:gd name="T43" fmla="*/ 2550 h 2550"/>
                <a:gd name="T44" fmla="*/ 1848 w 2290"/>
                <a:gd name="T45" fmla="*/ 1311 h 2550"/>
                <a:gd name="T46" fmla="*/ 612 w 2290"/>
                <a:gd name="T47" fmla="*/ 744 h 2550"/>
                <a:gd name="T48" fmla="*/ 587 w 2290"/>
                <a:gd name="T49" fmla="*/ 567 h 2550"/>
                <a:gd name="T50" fmla="*/ 426 w 2290"/>
                <a:gd name="T51" fmla="*/ 416 h 2550"/>
                <a:gd name="T52" fmla="*/ 327 w 2290"/>
                <a:gd name="T53" fmla="*/ 415 h 2550"/>
                <a:gd name="T54" fmla="*/ 0 w 2290"/>
                <a:gd name="T55" fmla="*/ 2014 h 2550"/>
                <a:gd name="T56" fmla="*/ 481 w 2290"/>
                <a:gd name="T57" fmla="*/ 2550 h 2550"/>
                <a:gd name="T58" fmla="*/ 460 w 2290"/>
                <a:gd name="T59" fmla="*/ 1037 h 2550"/>
                <a:gd name="T60" fmla="*/ 394 w 2290"/>
                <a:gd name="T61" fmla="*/ 1009 h 2550"/>
                <a:gd name="T62" fmla="*/ 370 w 2290"/>
                <a:gd name="T63" fmla="*/ 1027 h 2550"/>
                <a:gd name="T64" fmla="*/ 458 w 2290"/>
                <a:gd name="T65" fmla="*/ 1067 h 2550"/>
                <a:gd name="T66" fmla="*/ 339 w 2290"/>
                <a:gd name="T67" fmla="*/ 480 h 2550"/>
                <a:gd name="T68" fmla="*/ 407 w 2290"/>
                <a:gd name="T69" fmla="*/ 473 h 2550"/>
                <a:gd name="T70" fmla="*/ 546 w 2290"/>
                <a:gd name="T71" fmla="*/ 616 h 2550"/>
                <a:gd name="T72" fmla="*/ 809 w 2290"/>
                <a:gd name="T73" fmla="*/ 884 h 2550"/>
                <a:gd name="T74" fmla="*/ 465 w 2290"/>
                <a:gd name="T75" fmla="*/ 405 h 2550"/>
                <a:gd name="T76" fmla="*/ 583 w 2290"/>
                <a:gd name="T77" fmla="*/ 397 h 2550"/>
                <a:gd name="T78" fmla="*/ 655 w 2290"/>
                <a:gd name="T79" fmla="*/ 278 h 2550"/>
                <a:gd name="T80" fmla="*/ 659 w 2290"/>
                <a:gd name="T81" fmla="*/ 145 h 2550"/>
                <a:gd name="T82" fmla="*/ 599 w 2290"/>
                <a:gd name="T83" fmla="*/ 51 h 2550"/>
                <a:gd name="T84" fmla="*/ 456 w 2290"/>
                <a:gd name="T85" fmla="*/ 2 h 2550"/>
                <a:gd name="T86" fmla="*/ 325 w 2290"/>
                <a:gd name="T87" fmla="*/ 76 h 2550"/>
                <a:gd name="T88" fmla="*/ 273 w 2290"/>
                <a:gd name="T89" fmla="*/ 186 h 2550"/>
                <a:gd name="T90" fmla="*/ 296 w 2290"/>
                <a:gd name="T91" fmla="*/ 306 h 2550"/>
                <a:gd name="T92" fmla="*/ 404 w 2290"/>
                <a:gd name="T93" fmla="*/ 381 h 2550"/>
                <a:gd name="T94" fmla="*/ 589 w 2290"/>
                <a:gd name="T95" fmla="*/ 137 h 2550"/>
                <a:gd name="T96" fmla="*/ 625 w 2290"/>
                <a:gd name="T97" fmla="*/ 274 h 2550"/>
                <a:gd name="T98" fmla="*/ 567 w 2290"/>
                <a:gd name="T99" fmla="*/ 371 h 2550"/>
                <a:gd name="T100" fmla="*/ 481 w 2290"/>
                <a:gd name="T101" fmla="*/ 381 h 2550"/>
                <a:gd name="T102" fmla="*/ 461 w 2290"/>
                <a:gd name="T103" fmla="*/ 319 h 2550"/>
                <a:gd name="T104" fmla="*/ 450 w 2290"/>
                <a:gd name="T105" fmla="*/ 234 h 2550"/>
                <a:gd name="T106" fmla="*/ 983 w 2290"/>
                <a:gd name="T107" fmla="*/ 1076 h 2550"/>
                <a:gd name="T108" fmla="*/ 1071 w 2290"/>
                <a:gd name="T109" fmla="*/ 1074 h 2550"/>
                <a:gd name="T110" fmla="*/ 1024 w 2290"/>
                <a:gd name="T111" fmla="*/ 1054 h 2550"/>
                <a:gd name="T112" fmla="*/ 940 w 2290"/>
                <a:gd name="T113" fmla="*/ 887 h 2550"/>
                <a:gd name="T114" fmla="*/ 1063 w 2290"/>
                <a:gd name="T115" fmla="*/ 859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90" h="2550">
                  <a:moveTo>
                    <a:pt x="1502" y="426"/>
                  </a:moveTo>
                  <a:lnTo>
                    <a:pt x="1502" y="426"/>
                  </a:lnTo>
                  <a:lnTo>
                    <a:pt x="1521" y="425"/>
                  </a:lnTo>
                  <a:lnTo>
                    <a:pt x="1539" y="421"/>
                  </a:lnTo>
                  <a:lnTo>
                    <a:pt x="1557" y="415"/>
                  </a:lnTo>
                  <a:lnTo>
                    <a:pt x="1572" y="407"/>
                  </a:lnTo>
                  <a:lnTo>
                    <a:pt x="1588" y="397"/>
                  </a:lnTo>
                  <a:lnTo>
                    <a:pt x="1602" y="385"/>
                  </a:lnTo>
                  <a:lnTo>
                    <a:pt x="1615" y="372"/>
                  </a:lnTo>
                  <a:lnTo>
                    <a:pt x="1626" y="356"/>
                  </a:lnTo>
                  <a:lnTo>
                    <a:pt x="1626" y="356"/>
                  </a:lnTo>
                  <a:lnTo>
                    <a:pt x="1639" y="352"/>
                  </a:lnTo>
                  <a:lnTo>
                    <a:pt x="1650" y="346"/>
                  </a:lnTo>
                  <a:lnTo>
                    <a:pt x="1660" y="340"/>
                  </a:lnTo>
                  <a:lnTo>
                    <a:pt x="1669" y="333"/>
                  </a:lnTo>
                  <a:lnTo>
                    <a:pt x="1676" y="324"/>
                  </a:lnTo>
                  <a:lnTo>
                    <a:pt x="1682" y="315"/>
                  </a:lnTo>
                  <a:lnTo>
                    <a:pt x="1684" y="305"/>
                  </a:lnTo>
                  <a:lnTo>
                    <a:pt x="1685" y="293"/>
                  </a:lnTo>
                  <a:lnTo>
                    <a:pt x="1685" y="221"/>
                  </a:lnTo>
                  <a:lnTo>
                    <a:pt x="1685" y="221"/>
                  </a:lnTo>
                  <a:lnTo>
                    <a:pt x="1685" y="204"/>
                  </a:lnTo>
                  <a:lnTo>
                    <a:pt x="1683" y="186"/>
                  </a:lnTo>
                  <a:lnTo>
                    <a:pt x="1678" y="169"/>
                  </a:lnTo>
                  <a:lnTo>
                    <a:pt x="1673" y="152"/>
                  </a:lnTo>
                  <a:lnTo>
                    <a:pt x="1666" y="136"/>
                  </a:lnTo>
                  <a:lnTo>
                    <a:pt x="1658" y="120"/>
                  </a:lnTo>
                  <a:lnTo>
                    <a:pt x="1648" y="107"/>
                  </a:lnTo>
                  <a:lnTo>
                    <a:pt x="1638" y="93"/>
                  </a:lnTo>
                  <a:lnTo>
                    <a:pt x="1625" y="81"/>
                  </a:lnTo>
                  <a:lnTo>
                    <a:pt x="1613" y="71"/>
                  </a:lnTo>
                  <a:lnTo>
                    <a:pt x="1598" y="61"/>
                  </a:lnTo>
                  <a:lnTo>
                    <a:pt x="1584" y="53"/>
                  </a:lnTo>
                  <a:lnTo>
                    <a:pt x="1568" y="47"/>
                  </a:lnTo>
                  <a:lnTo>
                    <a:pt x="1552" y="43"/>
                  </a:lnTo>
                  <a:lnTo>
                    <a:pt x="1535" y="39"/>
                  </a:lnTo>
                  <a:lnTo>
                    <a:pt x="1517" y="38"/>
                  </a:lnTo>
                  <a:lnTo>
                    <a:pt x="1517" y="38"/>
                  </a:lnTo>
                  <a:lnTo>
                    <a:pt x="1499" y="39"/>
                  </a:lnTo>
                  <a:lnTo>
                    <a:pt x="1485" y="43"/>
                  </a:lnTo>
                  <a:lnTo>
                    <a:pt x="1485" y="43"/>
                  </a:lnTo>
                  <a:lnTo>
                    <a:pt x="1470" y="45"/>
                  </a:lnTo>
                  <a:lnTo>
                    <a:pt x="1457" y="49"/>
                  </a:lnTo>
                  <a:lnTo>
                    <a:pt x="1443" y="55"/>
                  </a:lnTo>
                  <a:lnTo>
                    <a:pt x="1431" y="61"/>
                  </a:lnTo>
                  <a:lnTo>
                    <a:pt x="1418" y="69"/>
                  </a:lnTo>
                  <a:lnTo>
                    <a:pt x="1407" y="78"/>
                  </a:lnTo>
                  <a:lnTo>
                    <a:pt x="1397" y="88"/>
                  </a:lnTo>
                  <a:lnTo>
                    <a:pt x="1387" y="98"/>
                  </a:lnTo>
                  <a:lnTo>
                    <a:pt x="1379" y="110"/>
                  </a:lnTo>
                  <a:lnTo>
                    <a:pt x="1371" y="123"/>
                  </a:lnTo>
                  <a:lnTo>
                    <a:pt x="1364" y="136"/>
                  </a:lnTo>
                  <a:lnTo>
                    <a:pt x="1359" y="150"/>
                  </a:lnTo>
                  <a:lnTo>
                    <a:pt x="1354" y="164"/>
                  </a:lnTo>
                  <a:lnTo>
                    <a:pt x="1351" y="179"/>
                  </a:lnTo>
                  <a:lnTo>
                    <a:pt x="1349" y="195"/>
                  </a:lnTo>
                  <a:lnTo>
                    <a:pt x="1349" y="210"/>
                  </a:lnTo>
                  <a:lnTo>
                    <a:pt x="1349" y="257"/>
                  </a:lnTo>
                  <a:lnTo>
                    <a:pt x="1349" y="257"/>
                  </a:lnTo>
                  <a:lnTo>
                    <a:pt x="1349" y="274"/>
                  </a:lnTo>
                  <a:lnTo>
                    <a:pt x="1351" y="291"/>
                  </a:lnTo>
                  <a:lnTo>
                    <a:pt x="1355" y="307"/>
                  </a:lnTo>
                  <a:lnTo>
                    <a:pt x="1360" y="323"/>
                  </a:lnTo>
                  <a:lnTo>
                    <a:pt x="1367" y="337"/>
                  </a:lnTo>
                  <a:lnTo>
                    <a:pt x="1374" y="351"/>
                  </a:lnTo>
                  <a:lnTo>
                    <a:pt x="1382" y="364"/>
                  </a:lnTo>
                  <a:lnTo>
                    <a:pt x="1392" y="376"/>
                  </a:lnTo>
                  <a:lnTo>
                    <a:pt x="1404" y="387"/>
                  </a:lnTo>
                  <a:lnTo>
                    <a:pt x="1415" y="397"/>
                  </a:lnTo>
                  <a:lnTo>
                    <a:pt x="1428" y="405"/>
                  </a:lnTo>
                  <a:lnTo>
                    <a:pt x="1442" y="413"/>
                  </a:lnTo>
                  <a:lnTo>
                    <a:pt x="1455" y="418"/>
                  </a:lnTo>
                  <a:lnTo>
                    <a:pt x="1470" y="423"/>
                  </a:lnTo>
                  <a:lnTo>
                    <a:pt x="1486" y="425"/>
                  </a:lnTo>
                  <a:lnTo>
                    <a:pt x="1502" y="426"/>
                  </a:lnTo>
                  <a:lnTo>
                    <a:pt x="1502" y="426"/>
                  </a:lnTo>
                  <a:close/>
                  <a:moveTo>
                    <a:pt x="1377" y="210"/>
                  </a:moveTo>
                  <a:lnTo>
                    <a:pt x="1377" y="210"/>
                  </a:lnTo>
                  <a:lnTo>
                    <a:pt x="1378" y="198"/>
                  </a:lnTo>
                  <a:lnTo>
                    <a:pt x="1379" y="187"/>
                  </a:lnTo>
                  <a:lnTo>
                    <a:pt x="1381" y="175"/>
                  </a:lnTo>
                  <a:lnTo>
                    <a:pt x="1385" y="164"/>
                  </a:lnTo>
                  <a:lnTo>
                    <a:pt x="1388" y="153"/>
                  </a:lnTo>
                  <a:lnTo>
                    <a:pt x="1392" y="143"/>
                  </a:lnTo>
                  <a:lnTo>
                    <a:pt x="1398" y="134"/>
                  </a:lnTo>
                  <a:lnTo>
                    <a:pt x="1404" y="125"/>
                  </a:lnTo>
                  <a:lnTo>
                    <a:pt x="1457" y="125"/>
                  </a:lnTo>
                  <a:lnTo>
                    <a:pt x="1457" y="125"/>
                  </a:lnTo>
                  <a:lnTo>
                    <a:pt x="1468" y="125"/>
                  </a:lnTo>
                  <a:lnTo>
                    <a:pt x="1478" y="127"/>
                  </a:lnTo>
                  <a:lnTo>
                    <a:pt x="1487" y="130"/>
                  </a:lnTo>
                  <a:lnTo>
                    <a:pt x="1495" y="135"/>
                  </a:lnTo>
                  <a:lnTo>
                    <a:pt x="1502" y="139"/>
                  </a:lnTo>
                  <a:lnTo>
                    <a:pt x="1506" y="146"/>
                  </a:lnTo>
                  <a:lnTo>
                    <a:pt x="1511" y="153"/>
                  </a:lnTo>
                  <a:lnTo>
                    <a:pt x="1514" y="161"/>
                  </a:lnTo>
                  <a:lnTo>
                    <a:pt x="1516" y="170"/>
                  </a:lnTo>
                  <a:lnTo>
                    <a:pt x="1518" y="179"/>
                  </a:lnTo>
                  <a:lnTo>
                    <a:pt x="1521" y="198"/>
                  </a:lnTo>
                  <a:lnTo>
                    <a:pt x="1522" y="219"/>
                  </a:lnTo>
                  <a:lnTo>
                    <a:pt x="1522" y="241"/>
                  </a:lnTo>
                  <a:lnTo>
                    <a:pt x="1570" y="198"/>
                  </a:lnTo>
                  <a:lnTo>
                    <a:pt x="1570" y="295"/>
                  </a:lnTo>
                  <a:lnTo>
                    <a:pt x="1615" y="316"/>
                  </a:lnTo>
                  <a:lnTo>
                    <a:pt x="1615" y="316"/>
                  </a:lnTo>
                  <a:lnTo>
                    <a:pt x="1608" y="331"/>
                  </a:lnTo>
                  <a:lnTo>
                    <a:pt x="1599" y="344"/>
                  </a:lnTo>
                  <a:lnTo>
                    <a:pt x="1590" y="355"/>
                  </a:lnTo>
                  <a:lnTo>
                    <a:pt x="1580" y="367"/>
                  </a:lnTo>
                  <a:lnTo>
                    <a:pt x="1580" y="367"/>
                  </a:lnTo>
                  <a:lnTo>
                    <a:pt x="1571" y="373"/>
                  </a:lnTo>
                  <a:lnTo>
                    <a:pt x="1562" y="379"/>
                  </a:lnTo>
                  <a:lnTo>
                    <a:pt x="1553" y="385"/>
                  </a:lnTo>
                  <a:lnTo>
                    <a:pt x="1543" y="389"/>
                  </a:lnTo>
                  <a:lnTo>
                    <a:pt x="1534" y="392"/>
                  </a:lnTo>
                  <a:lnTo>
                    <a:pt x="1523" y="395"/>
                  </a:lnTo>
                  <a:lnTo>
                    <a:pt x="1513" y="397"/>
                  </a:lnTo>
                  <a:lnTo>
                    <a:pt x="1502" y="397"/>
                  </a:lnTo>
                  <a:lnTo>
                    <a:pt x="1502" y="397"/>
                  </a:lnTo>
                  <a:lnTo>
                    <a:pt x="1489" y="396"/>
                  </a:lnTo>
                  <a:lnTo>
                    <a:pt x="1477" y="395"/>
                  </a:lnTo>
                  <a:lnTo>
                    <a:pt x="1466" y="391"/>
                  </a:lnTo>
                  <a:lnTo>
                    <a:pt x="1454" y="387"/>
                  </a:lnTo>
                  <a:lnTo>
                    <a:pt x="1443" y="380"/>
                  </a:lnTo>
                  <a:lnTo>
                    <a:pt x="1433" y="373"/>
                  </a:lnTo>
                  <a:lnTo>
                    <a:pt x="1423" y="365"/>
                  </a:lnTo>
                  <a:lnTo>
                    <a:pt x="1414" y="356"/>
                  </a:lnTo>
                  <a:lnTo>
                    <a:pt x="1406" y="346"/>
                  </a:lnTo>
                  <a:lnTo>
                    <a:pt x="1399" y="336"/>
                  </a:lnTo>
                  <a:lnTo>
                    <a:pt x="1392" y="325"/>
                  </a:lnTo>
                  <a:lnTo>
                    <a:pt x="1387" y="313"/>
                  </a:lnTo>
                  <a:lnTo>
                    <a:pt x="1382" y="299"/>
                  </a:lnTo>
                  <a:lnTo>
                    <a:pt x="1380" y="286"/>
                  </a:lnTo>
                  <a:lnTo>
                    <a:pt x="1378" y="272"/>
                  </a:lnTo>
                  <a:lnTo>
                    <a:pt x="1377" y="257"/>
                  </a:lnTo>
                  <a:lnTo>
                    <a:pt x="1377" y="210"/>
                  </a:lnTo>
                  <a:close/>
                  <a:moveTo>
                    <a:pt x="1407" y="741"/>
                  </a:moveTo>
                  <a:lnTo>
                    <a:pt x="1325" y="846"/>
                  </a:lnTo>
                  <a:lnTo>
                    <a:pt x="1187" y="846"/>
                  </a:lnTo>
                  <a:lnTo>
                    <a:pt x="1187" y="1061"/>
                  </a:lnTo>
                  <a:lnTo>
                    <a:pt x="1426" y="1061"/>
                  </a:lnTo>
                  <a:lnTo>
                    <a:pt x="1407" y="741"/>
                  </a:lnTo>
                  <a:close/>
                  <a:moveTo>
                    <a:pt x="1259" y="1018"/>
                  </a:moveTo>
                  <a:lnTo>
                    <a:pt x="1259" y="1018"/>
                  </a:lnTo>
                  <a:lnTo>
                    <a:pt x="1254" y="1018"/>
                  </a:lnTo>
                  <a:lnTo>
                    <a:pt x="1250" y="1016"/>
                  </a:lnTo>
                  <a:lnTo>
                    <a:pt x="1246" y="1014"/>
                  </a:lnTo>
                  <a:lnTo>
                    <a:pt x="1243" y="1012"/>
                  </a:lnTo>
                  <a:lnTo>
                    <a:pt x="1241" y="1009"/>
                  </a:lnTo>
                  <a:lnTo>
                    <a:pt x="1238" y="1004"/>
                  </a:lnTo>
                  <a:lnTo>
                    <a:pt x="1237" y="1001"/>
                  </a:lnTo>
                  <a:lnTo>
                    <a:pt x="1236" y="996"/>
                  </a:lnTo>
                  <a:lnTo>
                    <a:pt x="1236" y="996"/>
                  </a:lnTo>
                  <a:lnTo>
                    <a:pt x="1237" y="992"/>
                  </a:lnTo>
                  <a:lnTo>
                    <a:pt x="1238" y="987"/>
                  </a:lnTo>
                  <a:lnTo>
                    <a:pt x="1241" y="984"/>
                  </a:lnTo>
                  <a:lnTo>
                    <a:pt x="1243" y="980"/>
                  </a:lnTo>
                  <a:lnTo>
                    <a:pt x="1246" y="978"/>
                  </a:lnTo>
                  <a:lnTo>
                    <a:pt x="1250" y="976"/>
                  </a:lnTo>
                  <a:lnTo>
                    <a:pt x="1254" y="975"/>
                  </a:lnTo>
                  <a:lnTo>
                    <a:pt x="1259" y="975"/>
                  </a:lnTo>
                  <a:lnTo>
                    <a:pt x="1259" y="975"/>
                  </a:lnTo>
                  <a:lnTo>
                    <a:pt x="1262" y="975"/>
                  </a:lnTo>
                  <a:lnTo>
                    <a:pt x="1266" y="976"/>
                  </a:lnTo>
                  <a:lnTo>
                    <a:pt x="1270" y="978"/>
                  </a:lnTo>
                  <a:lnTo>
                    <a:pt x="1273" y="980"/>
                  </a:lnTo>
                  <a:lnTo>
                    <a:pt x="1277" y="984"/>
                  </a:lnTo>
                  <a:lnTo>
                    <a:pt x="1278" y="987"/>
                  </a:lnTo>
                  <a:lnTo>
                    <a:pt x="1279" y="992"/>
                  </a:lnTo>
                  <a:lnTo>
                    <a:pt x="1280" y="996"/>
                  </a:lnTo>
                  <a:lnTo>
                    <a:pt x="1280" y="996"/>
                  </a:lnTo>
                  <a:lnTo>
                    <a:pt x="1279" y="1001"/>
                  </a:lnTo>
                  <a:lnTo>
                    <a:pt x="1278" y="1004"/>
                  </a:lnTo>
                  <a:lnTo>
                    <a:pt x="1277" y="1009"/>
                  </a:lnTo>
                  <a:lnTo>
                    <a:pt x="1273" y="1012"/>
                  </a:lnTo>
                  <a:lnTo>
                    <a:pt x="1270" y="1014"/>
                  </a:lnTo>
                  <a:lnTo>
                    <a:pt x="1266" y="1016"/>
                  </a:lnTo>
                  <a:lnTo>
                    <a:pt x="1262" y="1018"/>
                  </a:lnTo>
                  <a:lnTo>
                    <a:pt x="1259" y="1018"/>
                  </a:lnTo>
                  <a:lnTo>
                    <a:pt x="1259" y="1018"/>
                  </a:lnTo>
                  <a:close/>
                  <a:moveTo>
                    <a:pt x="1825" y="1980"/>
                  </a:moveTo>
                  <a:lnTo>
                    <a:pt x="1939" y="2550"/>
                  </a:lnTo>
                  <a:lnTo>
                    <a:pt x="2146" y="2550"/>
                  </a:lnTo>
                  <a:lnTo>
                    <a:pt x="2094" y="1980"/>
                  </a:lnTo>
                  <a:lnTo>
                    <a:pt x="1825" y="1980"/>
                  </a:lnTo>
                  <a:close/>
                  <a:moveTo>
                    <a:pt x="2011" y="1445"/>
                  </a:moveTo>
                  <a:lnTo>
                    <a:pt x="2036" y="1339"/>
                  </a:lnTo>
                  <a:lnTo>
                    <a:pt x="1735" y="486"/>
                  </a:lnTo>
                  <a:lnTo>
                    <a:pt x="1735" y="486"/>
                  </a:lnTo>
                  <a:lnTo>
                    <a:pt x="1731" y="473"/>
                  </a:lnTo>
                  <a:lnTo>
                    <a:pt x="1726" y="463"/>
                  </a:lnTo>
                  <a:lnTo>
                    <a:pt x="1720" y="454"/>
                  </a:lnTo>
                  <a:lnTo>
                    <a:pt x="1714" y="446"/>
                  </a:lnTo>
                  <a:lnTo>
                    <a:pt x="1707" y="440"/>
                  </a:lnTo>
                  <a:lnTo>
                    <a:pt x="1701" y="435"/>
                  </a:lnTo>
                  <a:lnTo>
                    <a:pt x="1693" y="431"/>
                  </a:lnTo>
                  <a:lnTo>
                    <a:pt x="1684" y="428"/>
                  </a:lnTo>
                  <a:lnTo>
                    <a:pt x="1676" y="427"/>
                  </a:lnTo>
                  <a:lnTo>
                    <a:pt x="1666" y="426"/>
                  </a:lnTo>
                  <a:lnTo>
                    <a:pt x="1657" y="427"/>
                  </a:lnTo>
                  <a:lnTo>
                    <a:pt x="1647" y="429"/>
                  </a:lnTo>
                  <a:lnTo>
                    <a:pt x="1635" y="432"/>
                  </a:lnTo>
                  <a:lnTo>
                    <a:pt x="1625" y="436"/>
                  </a:lnTo>
                  <a:lnTo>
                    <a:pt x="1602" y="445"/>
                  </a:lnTo>
                  <a:lnTo>
                    <a:pt x="1490" y="516"/>
                  </a:lnTo>
                  <a:lnTo>
                    <a:pt x="1490" y="516"/>
                  </a:lnTo>
                  <a:lnTo>
                    <a:pt x="1484" y="521"/>
                  </a:lnTo>
                  <a:lnTo>
                    <a:pt x="1478" y="526"/>
                  </a:lnTo>
                  <a:lnTo>
                    <a:pt x="1466" y="539"/>
                  </a:lnTo>
                  <a:lnTo>
                    <a:pt x="1455" y="553"/>
                  </a:lnTo>
                  <a:lnTo>
                    <a:pt x="1445" y="570"/>
                  </a:lnTo>
                  <a:lnTo>
                    <a:pt x="1437" y="589"/>
                  </a:lnTo>
                  <a:lnTo>
                    <a:pt x="1432" y="608"/>
                  </a:lnTo>
                  <a:lnTo>
                    <a:pt x="1430" y="617"/>
                  </a:lnTo>
                  <a:lnTo>
                    <a:pt x="1428" y="627"/>
                  </a:lnTo>
                  <a:lnTo>
                    <a:pt x="1428" y="638"/>
                  </a:lnTo>
                  <a:lnTo>
                    <a:pt x="1428" y="648"/>
                  </a:lnTo>
                  <a:lnTo>
                    <a:pt x="1479" y="1437"/>
                  </a:lnTo>
                  <a:lnTo>
                    <a:pt x="1394" y="2550"/>
                  </a:lnTo>
                  <a:lnTo>
                    <a:pt x="1594" y="2550"/>
                  </a:lnTo>
                  <a:lnTo>
                    <a:pt x="1710" y="1980"/>
                  </a:lnTo>
                  <a:lnTo>
                    <a:pt x="1637" y="1980"/>
                  </a:lnTo>
                  <a:lnTo>
                    <a:pt x="1637" y="1421"/>
                  </a:lnTo>
                  <a:lnTo>
                    <a:pt x="1852" y="1421"/>
                  </a:lnTo>
                  <a:lnTo>
                    <a:pt x="1828" y="1345"/>
                  </a:lnTo>
                  <a:lnTo>
                    <a:pt x="1766" y="1356"/>
                  </a:lnTo>
                  <a:lnTo>
                    <a:pt x="1597" y="778"/>
                  </a:lnTo>
                  <a:lnTo>
                    <a:pt x="1625" y="770"/>
                  </a:lnTo>
                  <a:lnTo>
                    <a:pt x="1786" y="1323"/>
                  </a:lnTo>
                  <a:lnTo>
                    <a:pt x="1848" y="1311"/>
                  </a:lnTo>
                  <a:lnTo>
                    <a:pt x="1893" y="1450"/>
                  </a:lnTo>
                  <a:lnTo>
                    <a:pt x="1665" y="1450"/>
                  </a:lnTo>
                  <a:lnTo>
                    <a:pt x="1666" y="1951"/>
                  </a:lnTo>
                  <a:lnTo>
                    <a:pt x="2290" y="1951"/>
                  </a:lnTo>
                  <a:lnTo>
                    <a:pt x="2290" y="1445"/>
                  </a:lnTo>
                  <a:lnTo>
                    <a:pt x="2011" y="1445"/>
                  </a:lnTo>
                  <a:close/>
                  <a:moveTo>
                    <a:pt x="840" y="1067"/>
                  </a:moveTo>
                  <a:lnTo>
                    <a:pt x="840" y="858"/>
                  </a:lnTo>
                  <a:lnTo>
                    <a:pt x="608" y="858"/>
                  </a:lnTo>
                  <a:lnTo>
                    <a:pt x="612" y="744"/>
                  </a:lnTo>
                  <a:lnTo>
                    <a:pt x="612" y="744"/>
                  </a:lnTo>
                  <a:lnTo>
                    <a:pt x="612" y="702"/>
                  </a:lnTo>
                  <a:lnTo>
                    <a:pt x="611" y="663"/>
                  </a:lnTo>
                  <a:lnTo>
                    <a:pt x="610" y="646"/>
                  </a:lnTo>
                  <a:lnTo>
                    <a:pt x="607" y="631"/>
                  </a:lnTo>
                  <a:lnTo>
                    <a:pt x="605" y="616"/>
                  </a:lnTo>
                  <a:lnTo>
                    <a:pt x="602" y="603"/>
                  </a:lnTo>
                  <a:lnTo>
                    <a:pt x="597" y="590"/>
                  </a:lnTo>
                  <a:lnTo>
                    <a:pt x="593" y="578"/>
                  </a:lnTo>
                  <a:lnTo>
                    <a:pt x="587" y="567"/>
                  </a:lnTo>
                  <a:lnTo>
                    <a:pt x="580" y="555"/>
                  </a:lnTo>
                  <a:lnTo>
                    <a:pt x="574" y="545"/>
                  </a:lnTo>
                  <a:lnTo>
                    <a:pt x="565" y="535"/>
                  </a:lnTo>
                  <a:lnTo>
                    <a:pt x="556" y="525"/>
                  </a:lnTo>
                  <a:lnTo>
                    <a:pt x="544" y="515"/>
                  </a:lnTo>
                  <a:lnTo>
                    <a:pt x="452" y="435"/>
                  </a:lnTo>
                  <a:lnTo>
                    <a:pt x="452" y="435"/>
                  </a:lnTo>
                  <a:lnTo>
                    <a:pt x="443" y="427"/>
                  </a:lnTo>
                  <a:lnTo>
                    <a:pt x="435" y="422"/>
                  </a:lnTo>
                  <a:lnTo>
                    <a:pt x="426" y="416"/>
                  </a:lnTo>
                  <a:lnTo>
                    <a:pt x="418" y="412"/>
                  </a:lnTo>
                  <a:lnTo>
                    <a:pt x="409" y="408"/>
                  </a:lnTo>
                  <a:lnTo>
                    <a:pt x="402" y="406"/>
                  </a:lnTo>
                  <a:lnTo>
                    <a:pt x="394" y="404"/>
                  </a:lnTo>
                  <a:lnTo>
                    <a:pt x="386" y="403"/>
                  </a:lnTo>
                  <a:lnTo>
                    <a:pt x="378" y="401"/>
                  </a:lnTo>
                  <a:lnTo>
                    <a:pt x="370" y="401"/>
                  </a:lnTo>
                  <a:lnTo>
                    <a:pt x="355" y="404"/>
                  </a:lnTo>
                  <a:lnTo>
                    <a:pt x="341" y="408"/>
                  </a:lnTo>
                  <a:lnTo>
                    <a:pt x="327" y="415"/>
                  </a:lnTo>
                  <a:lnTo>
                    <a:pt x="315" y="423"/>
                  </a:lnTo>
                  <a:lnTo>
                    <a:pt x="305" y="433"/>
                  </a:lnTo>
                  <a:lnTo>
                    <a:pt x="295" y="445"/>
                  </a:lnTo>
                  <a:lnTo>
                    <a:pt x="286" y="458"/>
                  </a:lnTo>
                  <a:lnTo>
                    <a:pt x="279" y="472"/>
                  </a:lnTo>
                  <a:lnTo>
                    <a:pt x="273" y="487"/>
                  </a:lnTo>
                  <a:lnTo>
                    <a:pt x="270" y="503"/>
                  </a:lnTo>
                  <a:lnTo>
                    <a:pt x="268" y="518"/>
                  </a:lnTo>
                  <a:lnTo>
                    <a:pt x="223" y="1152"/>
                  </a:lnTo>
                  <a:lnTo>
                    <a:pt x="0" y="2014"/>
                  </a:lnTo>
                  <a:lnTo>
                    <a:pt x="114" y="2014"/>
                  </a:lnTo>
                  <a:lnTo>
                    <a:pt x="38" y="2550"/>
                  </a:lnTo>
                  <a:lnTo>
                    <a:pt x="97" y="2550"/>
                  </a:lnTo>
                  <a:lnTo>
                    <a:pt x="172" y="2014"/>
                  </a:lnTo>
                  <a:lnTo>
                    <a:pt x="350" y="2014"/>
                  </a:lnTo>
                  <a:lnTo>
                    <a:pt x="235" y="2550"/>
                  </a:lnTo>
                  <a:lnTo>
                    <a:pt x="263" y="2550"/>
                  </a:lnTo>
                  <a:lnTo>
                    <a:pt x="366" y="2074"/>
                  </a:lnTo>
                  <a:lnTo>
                    <a:pt x="451" y="2550"/>
                  </a:lnTo>
                  <a:lnTo>
                    <a:pt x="481" y="2550"/>
                  </a:lnTo>
                  <a:lnTo>
                    <a:pt x="385" y="2014"/>
                  </a:lnTo>
                  <a:lnTo>
                    <a:pt x="564" y="2014"/>
                  </a:lnTo>
                  <a:lnTo>
                    <a:pt x="614" y="2550"/>
                  </a:lnTo>
                  <a:lnTo>
                    <a:pt x="673" y="2550"/>
                  </a:lnTo>
                  <a:lnTo>
                    <a:pt x="622" y="2014"/>
                  </a:lnTo>
                  <a:lnTo>
                    <a:pt x="730" y="2014"/>
                  </a:lnTo>
                  <a:lnTo>
                    <a:pt x="601" y="1149"/>
                  </a:lnTo>
                  <a:lnTo>
                    <a:pt x="603" y="1067"/>
                  </a:lnTo>
                  <a:lnTo>
                    <a:pt x="840" y="1067"/>
                  </a:lnTo>
                  <a:close/>
                  <a:moveTo>
                    <a:pt x="460" y="1037"/>
                  </a:moveTo>
                  <a:lnTo>
                    <a:pt x="460" y="1037"/>
                  </a:lnTo>
                  <a:lnTo>
                    <a:pt x="444" y="1036"/>
                  </a:lnTo>
                  <a:lnTo>
                    <a:pt x="431" y="1034"/>
                  </a:lnTo>
                  <a:lnTo>
                    <a:pt x="418" y="1032"/>
                  </a:lnTo>
                  <a:lnTo>
                    <a:pt x="409" y="1029"/>
                  </a:lnTo>
                  <a:lnTo>
                    <a:pt x="405" y="1025"/>
                  </a:lnTo>
                  <a:lnTo>
                    <a:pt x="402" y="1022"/>
                  </a:lnTo>
                  <a:lnTo>
                    <a:pt x="398" y="1019"/>
                  </a:lnTo>
                  <a:lnTo>
                    <a:pt x="396" y="1014"/>
                  </a:lnTo>
                  <a:lnTo>
                    <a:pt x="394" y="1009"/>
                  </a:lnTo>
                  <a:lnTo>
                    <a:pt x="393" y="1003"/>
                  </a:lnTo>
                  <a:lnTo>
                    <a:pt x="391" y="988"/>
                  </a:lnTo>
                  <a:lnTo>
                    <a:pt x="381" y="703"/>
                  </a:lnTo>
                  <a:lnTo>
                    <a:pt x="352" y="703"/>
                  </a:lnTo>
                  <a:lnTo>
                    <a:pt x="362" y="988"/>
                  </a:lnTo>
                  <a:lnTo>
                    <a:pt x="362" y="988"/>
                  </a:lnTo>
                  <a:lnTo>
                    <a:pt x="363" y="1000"/>
                  </a:lnTo>
                  <a:lnTo>
                    <a:pt x="364" y="1010"/>
                  </a:lnTo>
                  <a:lnTo>
                    <a:pt x="367" y="1019"/>
                  </a:lnTo>
                  <a:lnTo>
                    <a:pt x="370" y="1027"/>
                  </a:lnTo>
                  <a:lnTo>
                    <a:pt x="373" y="1034"/>
                  </a:lnTo>
                  <a:lnTo>
                    <a:pt x="378" y="1040"/>
                  </a:lnTo>
                  <a:lnTo>
                    <a:pt x="384" y="1046"/>
                  </a:lnTo>
                  <a:lnTo>
                    <a:pt x="389" y="1051"/>
                  </a:lnTo>
                  <a:lnTo>
                    <a:pt x="396" y="1055"/>
                  </a:lnTo>
                  <a:lnTo>
                    <a:pt x="403" y="1058"/>
                  </a:lnTo>
                  <a:lnTo>
                    <a:pt x="411" y="1061"/>
                  </a:lnTo>
                  <a:lnTo>
                    <a:pt x="418" y="1064"/>
                  </a:lnTo>
                  <a:lnTo>
                    <a:pt x="438" y="1067"/>
                  </a:lnTo>
                  <a:lnTo>
                    <a:pt x="458" y="1067"/>
                  </a:lnTo>
                  <a:lnTo>
                    <a:pt x="546" y="1067"/>
                  </a:lnTo>
                  <a:lnTo>
                    <a:pt x="543" y="1139"/>
                  </a:lnTo>
                  <a:lnTo>
                    <a:pt x="282" y="1139"/>
                  </a:lnTo>
                  <a:lnTo>
                    <a:pt x="325" y="522"/>
                  </a:lnTo>
                  <a:lnTo>
                    <a:pt x="325" y="522"/>
                  </a:lnTo>
                  <a:lnTo>
                    <a:pt x="326" y="512"/>
                  </a:lnTo>
                  <a:lnTo>
                    <a:pt x="328" y="503"/>
                  </a:lnTo>
                  <a:lnTo>
                    <a:pt x="332" y="494"/>
                  </a:lnTo>
                  <a:lnTo>
                    <a:pt x="335" y="487"/>
                  </a:lnTo>
                  <a:lnTo>
                    <a:pt x="339" y="480"/>
                  </a:lnTo>
                  <a:lnTo>
                    <a:pt x="344" y="473"/>
                  </a:lnTo>
                  <a:lnTo>
                    <a:pt x="350" y="469"/>
                  </a:lnTo>
                  <a:lnTo>
                    <a:pt x="355" y="465"/>
                  </a:lnTo>
                  <a:lnTo>
                    <a:pt x="362" y="463"/>
                  </a:lnTo>
                  <a:lnTo>
                    <a:pt x="369" y="461"/>
                  </a:lnTo>
                  <a:lnTo>
                    <a:pt x="376" y="461"/>
                  </a:lnTo>
                  <a:lnTo>
                    <a:pt x="384" y="462"/>
                  </a:lnTo>
                  <a:lnTo>
                    <a:pt x="391" y="464"/>
                  </a:lnTo>
                  <a:lnTo>
                    <a:pt x="399" y="468"/>
                  </a:lnTo>
                  <a:lnTo>
                    <a:pt x="407" y="473"/>
                  </a:lnTo>
                  <a:lnTo>
                    <a:pt x="415" y="479"/>
                  </a:lnTo>
                  <a:lnTo>
                    <a:pt x="507" y="559"/>
                  </a:lnTo>
                  <a:lnTo>
                    <a:pt x="507" y="559"/>
                  </a:lnTo>
                  <a:lnTo>
                    <a:pt x="515" y="566"/>
                  </a:lnTo>
                  <a:lnTo>
                    <a:pt x="522" y="573"/>
                  </a:lnTo>
                  <a:lnTo>
                    <a:pt x="529" y="581"/>
                  </a:lnTo>
                  <a:lnTo>
                    <a:pt x="533" y="589"/>
                  </a:lnTo>
                  <a:lnTo>
                    <a:pt x="538" y="598"/>
                  </a:lnTo>
                  <a:lnTo>
                    <a:pt x="542" y="607"/>
                  </a:lnTo>
                  <a:lnTo>
                    <a:pt x="546" y="616"/>
                  </a:lnTo>
                  <a:lnTo>
                    <a:pt x="548" y="626"/>
                  </a:lnTo>
                  <a:lnTo>
                    <a:pt x="552" y="650"/>
                  </a:lnTo>
                  <a:lnTo>
                    <a:pt x="555" y="677"/>
                  </a:lnTo>
                  <a:lnTo>
                    <a:pt x="555" y="707"/>
                  </a:lnTo>
                  <a:lnTo>
                    <a:pt x="555" y="742"/>
                  </a:lnTo>
                  <a:lnTo>
                    <a:pt x="551" y="862"/>
                  </a:lnTo>
                  <a:lnTo>
                    <a:pt x="551" y="862"/>
                  </a:lnTo>
                  <a:lnTo>
                    <a:pt x="565" y="877"/>
                  </a:lnTo>
                  <a:lnTo>
                    <a:pt x="570" y="884"/>
                  </a:lnTo>
                  <a:lnTo>
                    <a:pt x="809" y="884"/>
                  </a:lnTo>
                  <a:lnTo>
                    <a:pt x="809" y="1037"/>
                  </a:lnTo>
                  <a:lnTo>
                    <a:pt x="460" y="1037"/>
                  </a:lnTo>
                  <a:close/>
                  <a:moveTo>
                    <a:pt x="404" y="381"/>
                  </a:moveTo>
                  <a:lnTo>
                    <a:pt x="404" y="381"/>
                  </a:lnTo>
                  <a:lnTo>
                    <a:pt x="422" y="376"/>
                  </a:lnTo>
                  <a:lnTo>
                    <a:pt x="422" y="376"/>
                  </a:lnTo>
                  <a:lnTo>
                    <a:pt x="432" y="385"/>
                  </a:lnTo>
                  <a:lnTo>
                    <a:pt x="442" y="392"/>
                  </a:lnTo>
                  <a:lnTo>
                    <a:pt x="452" y="399"/>
                  </a:lnTo>
                  <a:lnTo>
                    <a:pt x="465" y="405"/>
                  </a:lnTo>
                  <a:lnTo>
                    <a:pt x="476" y="409"/>
                  </a:lnTo>
                  <a:lnTo>
                    <a:pt x="488" y="413"/>
                  </a:lnTo>
                  <a:lnTo>
                    <a:pt x="502" y="415"/>
                  </a:lnTo>
                  <a:lnTo>
                    <a:pt x="515" y="415"/>
                  </a:lnTo>
                  <a:lnTo>
                    <a:pt x="515" y="415"/>
                  </a:lnTo>
                  <a:lnTo>
                    <a:pt x="530" y="415"/>
                  </a:lnTo>
                  <a:lnTo>
                    <a:pt x="543" y="413"/>
                  </a:lnTo>
                  <a:lnTo>
                    <a:pt x="557" y="408"/>
                  </a:lnTo>
                  <a:lnTo>
                    <a:pt x="570" y="403"/>
                  </a:lnTo>
                  <a:lnTo>
                    <a:pt x="583" y="397"/>
                  </a:lnTo>
                  <a:lnTo>
                    <a:pt x="594" y="389"/>
                  </a:lnTo>
                  <a:lnTo>
                    <a:pt x="604" y="380"/>
                  </a:lnTo>
                  <a:lnTo>
                    <a:pt x="614" y="370"/>
                  </a:lnTo>
                  <a:lnTo>
                    <a:pt x="623" y="359"/>
                  </a:lnTo>
                  <a:lnTo>
                    <a:pt x="631" y="347"/>
                  </a:lnTo>
                  <a:lnTo>
                    <a:pt x="639" y="334"/>
                  </a:lnTo>
                  <a:lnTo>
                    <a:pt x="644" y="322"/>
                  </a:lnTo>
                  <a:lnTo>
                    <a:pt x="649" y="307"/>
                  </a:lnTo>
                  <a:lnTo>
                    <a:pt x="652" y="292"/>
                  </a:lnTo>
                  <a:lnTo>
                    <a:pt x="655" y="278"/>
                  </a:lnTo>
                  <a:lnTo>
                    <a:pt x="656" y="262"/>
                  </a:lnTo>
                  <a:lnTo>
                    <a:pt x="656" y="228"/>
                  </a:lnTo>
                  <a:lnTo>
                    <a:pt x="656" y="228"/>
                  </a:lnTo>
                  <a:lnTo>
                    <a:pt x="655" y="218"/>
                  </a:lnTo>
                  <a:lnTo>
                    <a:pt x="653" y="207"/>
                  </a:lnTo>
                  <a:lnTo>
                    <a:pt x="652" y="197"/>
                  </a:lnTo>
                  <a:lnTo>
                    <a:pt x="649" y="187"/>
                  </a:lnTo>
                  <a:lnTo>
                    <a:pt x="658" y="154"/>
                  </a:lnTo>
                  <a:lnTo>
                    <a:pt x="658" y="154"/>
                  </a:lnTo>
                  <a:lnTo>
                    <a:pt x="659" y="145"/>
                  </a:lnTo>
                  <a:lnTo>
                    <a:pt x="659" y="136"/>
                  </a:lnTo>
                  <a:lnTo>
                    <a:pt x="659" y="127"/>
                  </a:lnTo>
                  <a:lnTo>
                    <a:pt x="658" y="117"/>
                  </a:lnTo>
                  <a:lnTo>
                    <a:pt x="656" y="108"/>
                  </a:lnTo>
                  <a:lnTo>
                    <a:pt x="651" y="99"/>
                  </a:lnTo>
                  <a:lnTo>
                    <a:pt x="647" y="90"/>
                  </a:lnTo>
                  <a:lnTo>
                    <a:pt x="639" y="83"/>
                  </a:lnTo>
                  <a:lnTo>
                    <a:pt x="639" y="83"/>
                  </a:lnTo>
                  <a:lnTo>
                    <a:pt x="619" y="65"/>
                  </a:lnTo>
                  <a:lnTo>
                    <a:pt x="599" y="51"/>
                  </a:lnTo>
                  <a:lnTo>
                    <a:pt x="599" y="51"/>
                  </a:lnTo>
                  <a:lnTo>
                    <a:pt x="569" y="31"/>
                  </a:lnTo>
                  <a:lnTo>
                    <a:pt x="555" y="22"/>
                  </a:lnTo>
                  <a:lnTo>
                    <a:pt x="540" y="16"/>
                  </a:lnTo>
                  <a:lnTo>
                    <a:pt x="526" y="10"/>
                  </a:lnTo>
                  <a:lnTo>
                    <a:pt x="512" y="6"/>
                  </a:lnTo>
                  <a:lnTo>
                    <a:pt x="498" y="2"/>
                  </a:lnTo>
                  <a:lnTo>
                    <a:pt x="485" y="0"/>
                  </a:lnTo>
                  <a:lnTo>
                    <a:pt x="470" y="0"/>
                  </a:lnTo>
                  <a:lnTo>
                    <a:pt x="456" y="2"/>
                  </a:lnTo>
                  <a:lnTo>
                    <a:pt x="440" y="6"/>
                  </a:lnTo>
                  <a:lnTo>
                    <a:pt x="424" y="10"/>
                  </a:lnTo>
                  <a:lnTo>
                    <a:pt x="407" y="18"/>
                  </a:lnTo>
                  <a:lnTo>
                    <a:pt x="389" y="27"/>
                  </a:lnTo>
                  <a:lnTo>
                    <a:pt x="371" y="38"/>
                  </a:lnTo>
                  <a:lnTo>
                    <a:pt x="351" y="53"/>
                  </a:lnTo>
                  <a:lnTo>
                    <a:pt x="351" y="53"/>
                  </a:lnTo>
                  <a:lnTo>
                    <a:pt x="342" y="60"/>
                  </a:lnTo>
                  <a:lnTo>
                    <a:pt x="333" y="67"/>
                  </a:lnTo>
                  <a:lnTo>
                    <a:pt x="325" y="76"/>
                  </a:lnTo>
                  <a:lnTo>
                    <a:pt x="317" y="85"/>
                  </a:lnTo>
                  <a:lnTo>
                    <a:pt x="310" y="94"/>
                  </a:lnTo>
                  <a:lnTo>
                    <a:pt x="304" y="105"/>
                  </a:lnTo>
                  <a:lnTo>
                    <a:pt x="297" y="116"/>
                  </a:lnTo>
                  <a:lnTo>
                    <a:pt x="291" y="127"/>
                  </a:lnTo>
                  <a:lnTo>
                    <a:pt x="287" y="138"/>
                  </a:lnTo>
                  <a:lnTo>
                    <a:pt x="282" y="150"/>
                  </a:lnTo>
                  <a:lnTo>
                    <a:pt x="279" y="162"/>
                  </a:lnTo>
                  <a:lnTo>
                    <a:pt x="276" y="173"/>
                  </a:lnTo>
                  <a:lnTo>
                    <a:pt x="273" y="186"/>
                  </a:lnTo>
                  <a:lnTo>
                    <a:pt x="271" y="198"/>
                  </a:lnTo>
                  <a:lnTo>
                    <a:pt x="271" y="210"/>
                  </a:lnTo>
                  <a:lnTo>
                    <a:pt x="271" y="224"/>
                  </a:lnTo>
                  <a:lnTo>
                    <a:pt x="272" y="236"/>
                  </a:lnTo>
                  <a:lnTo>
                    <a:pt x="273" y="248"/>
                  </a:lnTo>
                  <a:lnTo>
                    <a:pt x="277" y="260"/>
                  </a:lnTo>
                  <a:lnTo>
                    <a:pt x="280" y="272"/>
                  </a:lnTo>
                  <a:lnTo>
                    <a:pt x="285" y="283"/>
                  </a:lnTo>
                  <a:lnTo>
                    <a:pt x="290" y="295"/>
                  </a:lnTo>
                  <a:lnTo>
                    <a:pt x="296" y="306"/>
                  </a:lnTo>
                  <a:lnTo>
                    <a:pt x="304" y="317"/>
                  </a:lnTo>
                  <a:lnTo>
                    <a:pt x="313" y="327"/>
                  </a:lnTo>
                  <a:lnTo>
                    <a:pt x="322" y="336"/>
                  </a:lnTo>
                  <a:lnTo>
                    <a:pt x="333" y="346"/>
                  </a:lnTo>
                  <a:lnTo>
                    <a:pt x="344" y="354"/>
                  </a:lnTo>
                  <a:lnTo>
                    <a:pt x="358" y="362"/>
                  </a:lnTo>
                  <a:lnTo>
                    <a:pt x="371" y="370"/>
                  </a:lnTo>
                  <a:lnTo>
                    <a:pt x="387" y="376"/>
                  </a:lnTo>
                  <a:lnTo>
                    <a:pt x="404" y="381"/>
                  </a:lnTo>
                  <a:lnTo>
                    <a:pt x="404" y="381"/>
                  </a:lnTo>
                  <a:close/>
                  <a:moveTo>
                    <a:pt x="506" y="175"/>
                  </a:moveTo>
                  <a:lnTo>
                    <a:pt x="506" y="175"/>
                  </a:lnTo>
                  <a:lnTo>
                    <a:pt x="522" y="163"/>
                  </a:lnTo>
                  <a:lnTo>
                    <a:pt x="535" y="153"/>
                  </a:lnTo>
                  <a:lnTo>
                    <a:pt x="548" y="145"/>
                  </a:lnTo>
                  <a:lnTo>
                    <a:pt x="559" y="138"/>
                  </a:lnTo>
                  <a:lnTo>
                    <a:pt x="574" y="130"/>
                  </a:lnTo>
                  <a:lnTo>
                    <a:pt x="580" y="128"/>
                  </a:lnTo>
                  <a:lnTo>
                    <a:pt x="580" y="128"/>
                  </a:lnTo>
                  <a:lnTo>
                    <a:pt x="589" y="137"/>
                  </a:lnTo>
                  <a:lnTo>
                    <a:pt x="598" y="147"/>
                  </a:lnTo>
                  <a:lnTo>
                    <a:pt x="607" y="159"/>
                  </a:lnTo>
                  <a:lnTo>
                    <a:pt x="614" y="171"/>
                  </a:lnTo>
                  <a:lnTo>
                    <a:pt x="619" y="184"/>
                  </a:lnTo>
                  <a:lnTo>
                    <a:pt x="623" y="199"/>
                  </a:lnTo>
                  <a:lnTo>
                    <a:pt x="625" y="214"/>
                  </a:lnTo>
                  <a:lnTo>
                    <a:pt x="626" y="228"/>
                  </a:lnTo>
                  <a:lnTo>
                    <a:pt x="626" y="262"/>
                  </a:lnTo>
                  <a:lnTo>
                    <a:pt x="626" y="262"/>
                  </a:lnTo>
                  <a:lnTo>
                    <a:pt x="625" y="274"/>
                  </a:lnTo>
                  <a:lnTo>
                    <a:pt x="624" y="287"/>
                  </a:lnTo>
                  <a:lnTo>
                    <a:pt x="621" y="299"/>
                  </a:lnTo>
                  <a:lnTo>
                    <a:pt x="617" y="310"/>
                  </a:lnTo>
                  <a:lnTo>
                    <a:pt x="613" y="322"/>
                  </a:lnTo>
                  <a:lnTo>
                    <a:pt x="607" y="332"/>
                  </a:lnTo>
                  <a:lnTo>
                    <a:pt x="601" y="342"/>
                  </a:lnTo>
                  <a:lnTo>
                    <a:pt x="593" y="350"/>
                  </a:lnTo>
                  <a:lnTo>
                    <a:pt x="585" y="359"/>
                  </a:lnTo>
                  <a:lnTo>
                    <a:pt x="577" y="365"/>
                  </a:lnTo>
                  <a:lnTo>
                    <a:pt x="567" y="371"/>
                  </a:lnTo>
                  <a:lnTo>
                    <a:pt x="558" y="377"/>
                  </a:lnTo>
                  <a:lnTo>
                    <a:pt x="548" y="381"/>
                  </a:lnTo>
                  <a:lnTo>
                    <a:pt x="537" y="385"/>
                  </a:lnTo>
                  <a:lnTo>
                    <a:pt x="526" y="386"/>
                  </a:lnTo>
                  <a:lnTo>
                    <a:pt x="515" y="387"/>
                  </a:lnTo>
                  <a:lnTo>
                    <a:pt x="515" y="387"/>
                  </a:lnTo>
                  <a:lnTo>
                    <a:pt x="506" y="386"/>
                  </a:lnTo>
                  <a:lnTo>
                    <a:pt x="498" y="385"/>
                  </a:lnTo>
                  <a:lnTo>
                    <a:pt x="489" y="383"/>
                  </a:lnTo>
                  <a:lnTo>
                    <a:pt x="481" y="381"/>
                  </a:lnTo>
                  <a:lnTo>
                    <a:pt x="467" y="373"/>
                  </a:lnTo>
                  <a:lnTo>
                    <a:pt x="452" y="364"/>
                  </a:lnTo>
                  <a:lnTo>
                    <a:pt x="452" y="364"/>
                  </a:lnTo>
                  <a:lnTo>
                    <a:pt x="472" y="358"/>
                  </a:lnTo>
                  <a:lnTo>
                    <a:pt x="483" y="354"/>
                  </a:lnTo>
                  <a:lnTo>
                    <a:pt x="495" y="352"/>
                  </a:lnTo>
                  <a:lnTo>
                    <a:pt x="495" y="352"/>
                  </a:lnTo>
                  <a:lnTo>
                    <a:pt x="484" y="341"/>
                  </a:lnTo>
                  <a:lnTo>
                    <a:pt x="469" y="327"/>
                  </a:lnTo>
                  <a:lnTo>
                    <a:pt x="461" y="319"/>
                  </a:lnTo>
                  <a:lnTo>
                    <a:pt x="454" y="310"/>
                  </a:lnTo>
                  <a:lnTo>
                    <a:pt x="448" y="301"/>
                  </a:lnTo>
                  <a:lnTo>
                    <a:pt x="443" y="290"/>
                  </a:lnTo>
                  <a:lnTo>
                    <a:pt x="440" y="280"/>
                  </a:lnTo>
                  <a:lnTo>
                    <a:pt x="440" y="268"/>
                  </a:lnTo>
                  <a:lnTo>
                    <a:pt x="440" y="261"/>
                  </a:lnTo>
                  <a:lnTo>
                    <a:pt x="441" y="254"/>
                  </a:lnTo>
                  <a:lnTo>
                    <a:pt x="443" y="247"/>
                  </a:lnTo>
                  <a:lnTo>
                    <a:pt x="447" y="241"/>
                  </a:lnTo>
                  <a:lnTo>
                    <a:pt x="450" y="234"/>
                  </a:lnTo>
                  <a:lnTo>
                    <a:pt x="454" y="226"/>
                  </a:lnTo>
                  <a:lnTo>
                    <a:pt x="468" y="210"/>
                  </a:lnTo>
                  <a:lnTo>
                    <a:pt x="485" y="193"/>
                  </a:lnTo>
                  <a:lnTo>
                    <a:pt x="506" y="175"/>
                  </a:lnTo>
                  <a:lnTo>
                    <a:pt x="506" y="175"/>
                  </a:lnTo>
                  <a:close/>
                  <a:moveTo>
                    <a:pt x="974" y="1042"/>
                  </a:moveTo>
                  <a:lnTo>
                    <a:pt x="874" y="1002"/>
                  </a:lnTo>
                  <a:lnTo>
                    <a:pt x="874" y="1033"/>
                  </a:lnTo>
                  <a:lnTo>
                    <a:pt x="874" y="1033"/>
                  </a:lnTo>
                  <a:lnTo>
                    <a:pt x="983" y="1076"/>
                  </a:lnTo>
                  <a:lnTo>
                    <a:pt x="983" y="1076"/>
                  </a:lnTo>
                  <a:lnTo>
                    <a:pt x="994" y="1079"/>
                  </a:lnTo>
                  <a:lnTo>
                    <a:pt x="1006" y="1082"/>
                  </a:lnTo>
                  <a:lnTo>
                    <a:pt x="1017" y="1083"/>
                  </a:lnTo>
                  <a:lnTo>
                    <a:pt x="1028" y="1083"/>
                  </a:lnTo>
                  <a:lnTo>
                    <a:pt x="1039" y="1082"/>
                  </a:lnTo>
                  <a:lnTo>
                    <a:pt x="1049" y="1080"/>
                  </a:lnTo>
                  <a:lnTo>
                    <a:pt x="1061" y="1077"/>
                  </a:lnTo>
                  <a:lnTo>
                    <a:pt x="1071" y="1074"/>
                  </a:lnTo>
                  <a:lnTo>
                    <a:pt x="1071" y="1074"/>
                  </a:lnTo>
                  <a:lnTo>
                    <a:pt x="1102" y="1061"/>
                  </a:lnTo>
                  <a:lnTo>
                    <a:pt x="1128" y="1052"/>
                  </a:lnTo>
                  <a:lnTo>
                    <a:pt x="1167" y="1039"/>
                  </a:lnTo>
                  <a:lnTo>
                    <a:pt x="1167" y="1007"/>
                  </a:lnTo>
                  <a:lnTo>
                    <a:pt x="1072" y="1042"/>
                  </a:lnTo>
                  <a:lnTo>
                    <a:pt x="1072" y="1042"/>
                  </a:lnTo>
                  <a:lnTo>
                    <a:pt x="1058" y="1047"/>
                  </a:lnTo>
                  <a:lnTo>
                    <a:pt x="1046" y="1050"/>
                  </a:lnTo>
                  <a:lnTo>
                    <a:pt x="1035" y="1052"/>
                  </a:lnTo>
                  <a:lnTo>
                    <a:pt x="1024" y="1054"/>
                  </a:lnTo>
                  <a:lnTo>
                    <a:pt x="1012" y="1054"/>
                  </a:lnTo>
                  <a:lnTo>
                    <a:pt x="1000" y="1051"/>
                  </a:lnTo>
                  <a:lnTo>
                    <a:pt x="988" y="1048"/>
                  </a:lnTo>
                  <a:lnTo>
                    <a:pt x="974" y="1042"/>
                  </a:lnTo>
                  <a:lnTo>
                    <a:pt x="974" y="1042"/>
                  </a:lnTo>
                  <a:close/>
                  <a:moveTo>
                    <a:pt x="982" y="844"/>
                  </a:moveTo>
                  <a:lnTo>
                    <a:pt x="967" y="858"/>
                  </a:lnTo>
                  <a:lnTo>
                    <a:pt x="873" y="858"/>
                  </a:lnTo>
                  <a:lnTo>
                    <a:pt x="873" y="887"/>
                  </a:lnTo>
                  <a:lnTo>
                    <a:pt x="940" y="887"/>
                  </a:lnTo>
                  <a:lnTo>
                    <a:pt x="909" y="926"/>
                  </a:lnTo>
                  <a:lnTo>
                    <a:pt x="967" y="958"/>
                  </a:lnTo>
                  <a:lnTo>
                    <a:pt x="1040" y="934"/>
                  </a:lnTo>
                  <a:lnTo>
                    <a:pt x="1079" y="970"/>
                  </a:lnTo>
                  <a:lnTo>
                    <a:pt x="1099" y="949"/>
                  </a:lnTo>
                  <a:lnTo>
                    <a:pt x="1047" y="902"/>
                  </a:lnTo>
                  <a:lnTo>
                    <a:pt x="971" y="926"/>
                  </a:lnTo>
                  <a:lnTo>
                    <a:pt x="953" y="917"/>
                  </a:lnTo>
                  <a:lnTo>
                    <a:pt x="991" y="871"/>
                  </a:lnTo>
                  <a:lnTo>
                    <a:pt x="1063" y="859"/>
                  </a:lnTo>
                  <a:lnTo>
                    <a:pt x="1167" y="877"/>
                  </a:lnTo>
                  <a:lnTo>
                    <a:pt x="1167" y="847"/>
                  </a:lnTo>
                  <a:lnTo>
                    <a:pt x="1063" y="830"/>
                  </a:lnTo>
                  <a:lnTo>
                    <a:pt x="982" y="844"/>
                  </a:lnTo>
                  <a:close/>
                </a:path>
              </a:pathLst>
            </a:custGeom>
            <a:solidFill>
              <a:schemeClr val="tx2"/>
            </a:solidFill>
            <a:ln>
              <a:noFill/>
            </a:ln>
          </p:spPr>
          <p:txBody>
            <a:bodyPr vert="horz" wrap="square" lIns="91392" tIns="45696" rIns="91392" bIns="45696" numCol="1" anchor="t" anchorCtr="0" compatLnSpc="1">
              <a:prstTxWarp prst="textNoShape">
                <a:avLst/>
              </a:prstTxWarp>
            </a:bodyPr>
            <a:lstStyle/>
            <a:p>
              <a:endParaRPr lang="de-DE" sz="1799">
                <a:solidFill>
                  <a:srgbClr val="000000"/>
                </a:solidFill>
                <a:latin typeface="+mj-lt"/>
              </a:endParaRPr>
            </a:p>
          </p:txBody>
        </p:sp>
        <p:sp>
          <p:nvSpPr>
            <p:cNvPr id="5" name="Rectangle 4"/>
            <p:cNvSpPr/>
            <p:nvPr/>
          </p:nvSpPr>
          <p:spPr>
            <a:xfrm>
              <a:off x="2545444" y="1423448"/>
              <a:ext cx="3009934" cy="285302"/>
            </a:xfrm>
            <a:prstGeom prst="rect">
              <a:avLst/>
            </a:prstGeom>
            <a:solidFill>
              <a:srgbClr val="91278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099" dirty="0">
                <a:solidFill>
                  <a:srgbClr val="FFFFFF"/>
                </a:solidFill>
                <a:latin typeface="+mj-lt"/>
              </a:endParaRPr>
            </a:p>
          </p:txBody>
        </p:sp>
        <p:sp>
          <p:nvSpPr>
            <p:cNvPr id="6" name="TextBox 5"/>
            <p:cNvSpPr txBox="1"/>
            <p:nvPr/>
          </p:nvSpPr>
          <p:spPr>
            <a:xfrm>
              <a:off x="2621644" y="1396795"/>
              <a:ext cx="3009931" cy="323833"/>
            </a:xfrm>
            <a:prstGeom prst="rect">
              <a:avLst/>
            </a:prstGeom>
            <a:noFill/>
          </p:spPr>
          <p:txBody>
            <a:bodyPr wrap="square" lIns="0" tIns="36538" rIns="0" bIns="0" rtlCol="0" anchor="ctr" anchorCtr="0">
              <a:noAutofit/>
            </a:bodyPr>
            <a:lstStyle/>
            <a:p>
              <a:pPr>
                <a:lnSpc>
                  <a:spcPct val="85000"/>
                </a:lnSpc>
                <a:spcAft>
                  <a:spcPts val="600"/>
                </a:spcAft>
                <a:buClr>
                  <a:srgbClr val="FFE600"/>
                </a:buClr>
                <a:buSzPct val="70000"/>
              </a:pPr>
              <a:r>
                <a:rPr lang="en-US" sz="1799" dirty="0">
                  <a:solidFill>
                    <a:srgbClr val="FFFFFF"/>
                  </a:solidFill>
                  <a:latin typeface="+mj-lt"/>
                </a:rPr>
                <a:t>Leading</a:t>
              </a:r>
              <a:r>
                <a:rPr lang="en-US" sz="1799" baseline="30000" dirty="0">
                  <a:solidFill>
                    <a:srgbClr val="FFFFFF"/>
                  </a:solidFill>
                  <a:latin typeface="+mj-lt"/>
                </a:rPr>
                <a:t>1</a:t>
              </a:r>
            </a:p>
          </p:txBody>
        </p:sp>
        <p:sp>
          <p:nvSpPr>
            <p:cNvPr id="7" name="Rectangle 6"/>
            <p:cNvSpPr/>
            <p:nvPr/>
          </p:nvSpPr>
          <p:spPr>
            <a:xfrm>
              <a:off x="5555375" y="1423448"/>
              <a:ext cx="3009934" cy="285302"/>
            </a:xfrm>
            <a:prstGeom prst="rect">
              <a:avLst/>
            </a:prstGeom>
            <a:solidFill>
              <a:srgbClr val="2C973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099" dirty="0">
                <a:solidFill>
                  <a:srgbClr val="FFFFFF"/>
                </a:solidFill>
                <a:latin typeface="+mj-lt"/>
              </a:endParaRPr>
            </a:p>
          </p:txBody>
        </p:sp>
        <p:sp>
          <p:nvSpPr>
            <p:cNvPr id="8" name="TextBox 7"/>
            <p:cNvSpPr txBox="1"/>
            <p:nvPr/>
          </p:nvSpPr>
          <p:spPr>
            <a:xfrm>
              <a:off x="5631578" y="1406078"/>
              <a:ext cx="3009926" cy="323833"/>
            </a:xfrm>
            <a:prstGeom prst="rect">
              <a:avLst/>
            </a:prstGeom>
            <a:noFill/>
          </p:spPr>
          <p:txBody>
            <a:bodyPr wrap="square" lIns="0" tIns="36538" rIns="0" bIns="0" rtlCol="0" anchor="ctr" anchorCtr="0">
              <a:noAutofit/>
            </a:bodyPr>
            <a:lstStyle/>
            <a:p>
              <a:pPr>
                <a:lnSpc>
                  <a:spcPct val="85000"/>
                </a:lnSpc>
                <a:spcAft>
                  <a:spcPts val="600"/>
                </a:spcAft>
                <a:buClr>
                  <a:srgbClr val="FFE600"/>
                </a:buClr>
                <a:buSzPct val="70000"/>
              </a:pPr>
              <a:r>
                <a:rPr lang="en-US" sz="1799" dirty="0">
                  <a:solidFill>
                    <a:srgbClr val="FFFFFF"/>
                  </a:solidFill>
                  <a:latin typeface="+mj-lt"/>
                </a:rPr>
                <a:t>Progressing</a:t>
              </a:r>
              <a:r>
                <a:rPr lang="en-US" sz="1799" baseline="30000" dirty="0">
                  <a:solidFill>
                    <a:srgbClr val="FFFFFF"/>
                  </a:solidFill>
                  <a:latin typeface="+mj-lt"/>
                </a:rPr>
                <a:t>2</a:t>
              </a:r>
            </a:p>
          </p:txBody>
        </p:sp>
        <p:sp>
          <p:nvSpPr>
            <p:cNvPr id="9" name="Rectangle 8"/>
            <p:cNvSpPr/>
            <p:nvPr/>
          </p:nvSpPr>
          <p:spPr>
            <a:xfrm>
              <a:off x="8565304" y="1423448"/>
              <a:ext cx="3009934" cy="285302"/>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099" dirty="0">
                <a:solidFill>
                  <a:srgbClr val="FFFFFF"/>
                </a:solidFill>
                <a:latin typeface="+mj-lt"/>
              </a:endParaRPr>
            </a:p>
          </p:txBody>
        </p:sp>
        <p:sp>
          <p:nvSpPr>
            <p:cNvPr id="10" name="TextBox 9"/>
            <p:cNvSpPr txBox="1"/>
            <p:nvPr/>
          </p:nvSpPr>
          <p:spPr>
            <a:xfrm>
              <a:off x="8649126" y="1406078"/>
              <a:ext cx="3023127" cy="323833"/>
            </a:xfrm>
            <a:prstGeom prst="rect">
              <a:avLst/>
            </a:prstGeom>
            <a:noFill/>
          </p:spPr>
          <p:txBody>
            <a:bodyPr wrap="square" lIns="0" tIns="36538" rIns="0" bIns="0" rtlCol="0" anchor="ctr" anchorCtr="0">
              <a:noAutofit/>
            </a:bodyPr>
            <a:lstStyle/>
            <a:p>
              <a:pPr>
                <a:lnSpc>
                  <a:spcPct val="85000"/>
                </a:lnSpc>
                <a:spcAft>
                  <a:spcPts val="600"/>
                </a:spcAft>
                <a:buClr>
                  <a:srgbClr val="FFE600"/>
                </a:buClr>
                <a:buSzPct val="70000"/>
              </a:pPr>
              <a:r>
                <a:rPr lang="en-US" sz="1799" dirty="0">
                  <a:solidFill>
                    <a:srgbClr val="FFFFFF"/>
                  </a:solidFill>
                  <a:latin typeface="+mj-lt"/>
                </a:rPr>
                <a:t>Lagging</a:t>
              </a:r>
              <a:r>
                <a:rPr lang="en-US" sz="1799" baseline="30000" dirty="0">
                  <a:solidFill>
                    <a:srgbClr val="FFFFFF"/>
                  </a:solidFill>
                  <a:latin typeface="+mj-lt"/>
                </a:rPr>
                <a:t>3</a:t>
              </a:r>
            </a:p>
          </p:txBody>
        </p:sp>
        <p:sp>
          <p:nvSpPr>
            <p:cNvPr id="11" name="Rectangle 10"/>
            <p:cNvSpPr/>
            <p:nvPr/>
          </p:nvSpPr>
          <p:spPr>
            <a:xfrm>
              <a:off x="2545444" y="1703386"/>
              <a:ext cx="3009934" cy="3900568"/>
            </a:xfrm>
            <a:prstGeom prst="rect">
              <a:avLst/>
            </a:prstGeom>
            <a:solidFill>
              <a:srgbClr val="91278F">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099" dirty="0">
                <a:solidFill>
                  <a:srgbClr val="FFFFFF"/>
                </a:solidFill>
                <a:latin typeface="+mj-lt"/>
              </a:endParaRPr>
            </a:p>
          </p:txBody>
        </p:sp>
        <p:sp>
          <p:nvSpPr>
            <p:cNvPr id="12" name="Rectangle 11"/>
            <p:cNvSpPr/>
            <p:nvPr/>
          </p:nvSpPr>
          <p:spPr>
            <a:xfrm>
              <a:off x="5555375" y="1703386"/>
              <a:ext cx="3009934" cy="3900568"/>
            </a:xfrm>
            <a:prstGeom prst="rect">
              <a:avLst/>
            </a:prstGeom>
            <a:solidFill>
              <a:srgbClr val="2C973E">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099" dirty="0">
                <a:solidFill>
                  <a:srgbClr val="FFFFFF"/>
                </a:solidFill>
                <a:latin typeface="+mj-lt"/>
              </a:endParaRPr>
            </a:p>
          </p:txBody>
        </p:sp>
        <p:sp>
          <p:nvSpPr>
            <p:cNvPr id="13" name="Rectangle 12"/>
            <p:cNvSpPr/>
            <p:nvPr/>
          </p:nvSpPr>
          <p:spPr>
            <a:xfrm>
              <a:off x="8565304" y="1703386"/>
              <a:ext cx="3009934" cy="3900568"/>
            </a:xfrm>
            <a:prstGeom prst="rect">
              <a:avLst/>
            </a:prstGeom>
            <a:solidFill>
              <a:srgbClr val="00A3AE">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099" dirty="0">
                <a:solidFill>
                  <a:srgbClr val="FFFFFF"/>
                </a:solidFill>
                <a:latin typeface="+mj-lt"/>
              </a:endParaRPr>
            </a:p>
          </p:txBody>
        </p:sp>
        <p:cxnSp>
          <p:nvCxnSpPr>
            <p:cNvPr id="14" name="Straight Connector 13"/>
            <p:cNvCxnSpPr/>
            <p:nvPr/>
          </p:nvCxnSpPr>
          <p:spPr>
            <a:xfrm>
              <a:off x="645872" y="2273116"/>
              <a:ext cx="10929365" cy="0"/>
            </a:xfrm>
            <a:prstGeom prst="line">
              <a:avLst/>
            </a:prstGeom>
            <a:ln>
              <a:prstDash val="sysDot"/>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545444" y="1773722"/>
              <a:ext cx="3009934" cy="785239"/>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Customer </a:t>
              </a:r>
              <a:r>
                <a:rPr lang="en-US" sz="1599" kern="0" dirty="0" smtClean="0">
                  <a:solidFill>
                    <a:schemeClr val="bg1"/>
                  </a:solidFill>
                  <a:latin typeface="+mj-lt"/>
                </a:rPr>
                <a:t>centricity</a:t>
              </a:r>
            </a:p>
            <a:p>
              <a:pPr>
                <a:lnSpc>
                  <a:spcPts val="1799"/>
                </a:lnSpc>
                <a:buClr>
                  <a:srgbClr val="808080"/>
                </a:buClr>
                <a:buSzPct val="70000"/>
                <a:defRPr/>
              </a:pPr>
              <a:r>
                <a:rPr lang="en-US" sz="1000" kern="0" dirty="0" smtClean="0">
                  <a:solidFill>
                    <a:schemeClr val="bg1"/>
                  </a:solidFill>
                  <a:latin typeface="+mj-lt"/>
                </a:rPr>
                <a:t>B2B adopting B2C characteristics </a:t>
              </a:r>
              <a:endParaRPr lang="en-US" sz="1000" kern="0" dirty="0">
                <a:solidFill>
                  <a:schemeClr val="bg1"/>
                </a:solidFill>
                <a:latin typeface="+mj-lt"/>
              </a:endParaRPr>
            </a:p>
            <a:p>
              <a:pPr>
                <a:lnSpc>
                  <a:spcPts val="1799"/>
                </a:lnSpc>
                <a:buClr>
                  <a:srgbClr val="808080"/>
                </a:buClr>
                <a:buSzPct val="70000"/>
                <a:defRPr/>
              </a:pPr>
              <a:endParaRPr lang="en-US" sz="1599" spc="-30" dirty="0">
                <a:solidFill>
                  <a:schemeClr val="bg1"/>
                </a:solidFill>
                <a:latin typeface="+mj-lt"/>
              </a:endParaRPr>
            </a:p>
          </p:txBody>
        </p:sp>
        <p:cxnSp>
          <p:nvCxnSpPr>
            <p:cNvPr id="16" name="Straight Connector 15"/>
            <p:cNvCxnSpPr/>
            <p:nvPr/>
          </p:nvCxnSpPr>
          <p:spPr>
            <a:xfrm>
              <a:off x="2475444" y="1717365"/>
              <a:ext cx="9112989" cy="0"/>
            </a:xfrm>
            <a:prstGeom prst="line">
              <a:avLst/>
            </a:prstGeom>
            <a:ln w="19050">
              <a:solidFill>
                <a:schemeClr val="tx2"/>
              </a:solidFill>
              <a:prstDash val="solid"/>
              <a:tailEnd type="none"/>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5555378" y="1773722"/>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Customer differentiation</a:t>
              </a:r>
            </a:p>
          </p:txBody>
        </p:sp>
        <p:sp>
          <p:nvSpPr>
            <p:cNvPr id="18" name="Rectangle 17"/>
            <p:cNvSpPr/>
            <p:nvPr/>
          </p:nvSpPr>
          <p:spPr>
            <a:xfrm>
              <a:off x="8565301" y="1773722"/>
              <a:ext cx="3009934" cy="329592"/>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Customer collaboration</a:t>
              </a:r>
            </a:p>
          </p:txBody>
        </p:sp>
        <p:cxnSp>
          <p:nvCxnSpPr>
            <p:cNvPr id="19" name="Straight Connector 18"/>
            <p:cNvCxnSpPr/>
            <p:nvPr/>
          </p:nvCxnSpPr>
          <p:spPr>
            <a:xfrm>
              <a:off x="645872" y="2951934"/>
              <a:ext cx="10929365" cy="0"/>
            </a:xfrm>
            <a:prstGeom prst="line">
              <a:avLst/>
            </a:prstGeom>
            <a:ln>
              <a:prstDash val="sysDot"/>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45872" y="3622224"/>
              <a:ext cx="10929365" cy="0"/>
            </a:xfrm>
            <a:prstGeom prst="line">
              <a:avLst/>
            </a:prstGeom>
            <a:ln>
              <a:prstDash val="sysDot"/>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45872" y="4283620"/>
              <a:ext cx="10929365" cy="0"/>
            </a:xfrm>
            <a:prstGeom prst="line">
              <a:avLst/>
            </a:prstGeom>
            <a:ln>
              <a:prstDash val="sysDot"/>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45872" y="4935775"/>
              <a:ext cx="10929365" cy="0"/>
            </a:xfrm>
            <a:prstGeom prst="line">
              <a:avLst/>
            </a:prstGeom>
            <a:ln>
              <a:prstDash val="sysDot"/>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630097" y="1577543"/>
              <a:ext cx="2324836" cy="4162857"/>
              <a:chOff x="516595" y="1417125"/>
              <a:chExt cx="1734000" cy="4816049"/>
            </a:xfrm>
          </p:grpSpPr>
          <p:sp>
            <p:nvSpPr>
              <p:cNvPr id="24" name="TextBox 23"/>
              <p:cNvSpPr txBox="1"/>
              <p:nvPr/>
            </p:nvSpPr>
            <p:spPr>
              <a:xfrm>
                <a:off x="516595" y="1417125"/>
                <a:ext cx="367382" cy="969590"/>
              </a:xfrm>
              <a:prstGeom prst="rect">
                <a:avLst/>
              </a:prstGeom>
              <a:noFill/>
            </p:spPr>
            <p:txBody>
              <a:bodyPr wrap="square" lIns="0" tIns="36538" rIns="0" bIns="0" rtlCol="0">
                <a:spAutoFit/>
              </a:bodyPr>
              <a:lstStyle/>
              <a:p>
                <a:pPr>
                  <a:lnSpc>
                    <a:spcPct val="85000"/>
                  </a:lnSpc>
                  <a:spcAft>
                    <a:spcPts val="600"/>
                  </a:spcAft>
                  <a:buClr>
                    <a:srgbClr val="FFE600"/>
                  </a:buClr>
                  <a:buSzPct val="70000"/>
                </a:pPr>
                <a:r>
                  <a:rPr lang="en-US" sz="5997" b="1" dirty="0">
                    <a:solidFill>
                      <a:schemeClr val="accent2"/>
                    </a:solidFill>
                    <a:latin typeface="+mj-lt"/>
                  </a:rPr>
                  <a:t>1</a:t>
                </a:r>
              </a:p>
            </p:txBody>
          </p:sp>
          <p:sp>
            <p:nvSpPr>
              <p:cNvPr id="25" name="TextBox 24"/>
              <p:cNvSpPr txBox="1"/>
              <p:nvPr/>
            </p:nvSpPr>
            <p:spPr>
              <a:xfrm>
                <a:off x="516595" y="2202456"/>
                <a:ext cx="367382" cy="969590"/>
              </a:xfrm>
              <a:prstGeom prst="rect">
                <a:avLst/>
              </a:prstGeom>
              <a:noFill/>
            </p:spPr>
            <p:txBody>
              <a:bodyPr wrap="square" lIns="0" tIns="36538" rIns="0" bIns="0" rtlCol="0">
                <a:spAutoFit/>
              </a:bodyPr>
              <a:lstStyle/>
              <a:p>
                <a:pPr>
                  <a:lnSpc>
                    <a:spcPct val="85000"/>
                  </a:lnSpc>
                  <a:spcAft>
                    <a:spcPts val="600"/>
                  </a:spcAft>
                  <a:buClr>
                    <a:srgbClr val="FFE600"/>
                  </a:buClr>
                  <a:buSzPct val="70000"/>
                </a:pPr>
                <a:r>
                  <a:rPr lang="en-US" sz="5997" b="1" dirty="0">
                    <a:solidFill>
                      <a:schemeClr val="accent2"/>
                    </a:solidFill>
                    <a:latin typeface="+mj-lt"/>
                  </a:rPr>
                  <a:t>2</a:t>
                </a:r>
              </a:p>
            </p:txBody>
          </p:sp>
          <p:sp>
            <p:nvSpPr>
              <p:cNvPr id="26" name="TextBox 25"/>
              <p:cNvSpPr txBox="1"/>
              <p:nvPr/>
            </p:nvSpPr>
            <p:spPr>
              <a:xfrm>
                <a:off x="516595" y="2977921"/>
                <a:ext cx="367382" cy="969590"/>
              </a:xfrm>
              <a:prstGeom prst="rect">
                <a:avLst/>
              </a:prstGeom>
              <a:noFill/>
            </p:spPr>
            <p:txBody>
              <a:bodyPr wrap="square" lIns="0" tIns="36538" rIns="0" bIns="0" rtlCol="0">
                <a:spAutoFit/>
              </a:bodyPr>
              <a:lstStyle/>
              <a:p>
                <a:pPr>
                  <a:lnSpc>
                    <a:spcPct val="85000"/>
                  </a:lnSpc>
                  <a:spcAft>
                    <a:spcPts val="600"/>
                  </a:spcAft>
                  <a:buClr>
                    <a:srgbClr val="FFE600"/>
                  </a:buClr>
                  <a:buSzPct val="70000"/>
                </a:pPr>
                <a:r>
                  <a:rPr lang="en-US" sz="5997" b="1" dirty="0">
                    <a:solidFill>
                      <a:schemeClr val="accent2"/>
                    </a:solidFill>
                    <a:latin typeface="+mj-lt"/>
                  </a:rPr>
                  <a:t>3</a:t>
                </a:r>
              </a:p>
            </p:txBody>
          </p:sp>
          <p:sp>
            <p:nvSpPr>
              <p:cNvPr id="27" name="TextBox 26"/>
              <p:cNvSpPr txBox="1"/>
              <p:nvPr/>
            </p:nvSpPr>
            <p:spPr>
              <a:xfrm>
                <a:off x="516595" y="3743097"/>
                <a:ext cx="367382" cy="969590"/>
              </a:xfrm>
              <a:prstGeom prst="rect">
                <a:avLst/>
              </a:prstGeom>
              <a:noFill/>
            </p:spPr>
            <p:txBody>
              <a:bodyPr wrap="square" lIns="0" tIns="36538" rIns="0" bIns="0" rtlCol="0">
                <a:spAutoFit/>
              </a:bodyPr>
              <a:lstStyle/>
              <a:p>
                <a:pPr>
                  <a:lnSpc>
                    <a:spcPct val="85000"/>
                  </a:lnSpc>
                  <a:spcAft>
                    <a:spcPts val="600"/>
                  </a:spcAft>
                  <a:buClr>
                    <a:srgbClr val="FFE600"/>
                  </a:buClr>
                  <a:buSzPct val="70000"/>
                </a:pPr>
                <a:r>
                  <a:rPr lang="en-US" sz="5997" b="1" dirty="0">
                    <a:solidFill>
                      <a:schemeClr val="accent2"/>
                    </a:solidFill>
                    <a:latin typeface="+mj-lt"/>
                  </a:rPr>
                  <a:t>4</a:t>
                </a:r>
              </a:p>
            </p:txBody>
          </p:sp>
          <p:sp>
            <p:nvSpPr>
              <p:cNvPr id="28" name="TextBox 27"/>
              <p:cNvSpPr txBox="1"/>
              <p:nvPr/>
            </p:nvSpPr>
            <p:spPr>
              <a:xfrm>
                <a:off x="516595" y="4497582"/>
                <a:ext cx="367382" cy="969590"/>
              </a:xfrm>
              <a:prstGeom prst="rect">
                <a:avLst/>
              </a:prstGeom>
              <a:noFill/>
            </p:spPr>
            <p:txBody>
              <a:bodyPr wrap="square" lIns="0" tIns="36538" rIns="0" bIns="0" rtlCol="0">
                <a:spAutoFit/>
              </a:bodyPr>
              <a:lstStyle/>
              <a:p>
                <a:pPr>
                  <a:lnSpc>
                    <a:spcPct val="85000"/>
                  </a:lnSpc>
                  <a:spcAft>
                    <a:spcPts val="600"/>
                  </a:spcAft>
                  <a:buClr>
                    <a:srgbClr val="FFE600"/>
                  </a:buClr>
                  <a:buSzPct val="70000"/>
                </a:pPr>
                <a:r>
                  <a:rPr lang="en-US" sz="5997" b="1" dirty="0">
                    <a:solidFill>
                      <a:schemeClr val="accent2"/>
                    </a:solidFill>
                    <a:latin typeface="+mj-lt"/>
                  </a:rPr>
                  <a:t>5</a:t>
                </a:r>
              </a:p>
            </p:txBody>
          </p:sp>
          <p:sp>
            <p:nvSpPr>
              <p:cNvPr id="29" name="TextBox 28"/>
              <p:cNvSpPr txBox="1"/>
              <p:nvPr/>
            </p:nvSpPr>
            <p:spPr>
              <a:xfrm>
                <a:off x="516595" y="5263584"/>
                <a:ext cx="367382" cy="969590"/>
              </a:xfrm>
              <a:prstGeom prst="rect">
                <a:avLst/>
              </a:prstGeom>
              <a:noFill/>
            </p:spPr>
            <p:txBody>
              <a:bodyPr wrap="square" lIns="0" tIns="36538" rIns="0" bIns="0" rtlCol="0">
                <a:spAutoFit/>
              </a:bodyPr>
              <a:lstStyle/>
              <a:p>
                <a:pPr>
                  <a:lnSpc>
                    <a:spcPct val="85000"/>
                  </a:lnSpc>
                  <a:spcAft>
                    <a:spcPts val="600"/>
                  </a:spcAft>
                  <a:buClr>
                    <a:srgbClr val="FFE600"/>
                  </a:buClr>
                  <a:buSzPct val="70000"/>
                </a:pPr>
                <a:r>
                  <a:rPr lang="en-US" sz="5997" b="1" dirty="0">
                    <a:solidFill>
                      <a:schemeClr val="accent2"/>
                    </a:solidFill>
                    <a:latin typeface="+mj-lt"/>
                  </a:rPr>
                  <a:t>6</a:t>
                </a:r>
              </a:p>
            </p:txBody>
          </p:sp>
          <p:grpSp>
            <p:nvGrpSpPr>
              <p:cNvPr id="30" name="Group 29"/>
              <p:cNvGrpSpPr/>
              <p:nvPr/>
            </p:nvGrpSpPr>
            <p:grpSpPr>
              <a:xfrm>
                <a:off x="762619" y="1674238"/>
                <a:ext cx="1487976" cy="4357339"/>
                <a:chOff x="-2205435" y="1674238"/>
                <a:chExt cx="1487976" cy="4357339"/>
              </a:xfrm>
            </p:grpSpPr>
            <p:sp>
              <p:nvSpPr>
                <p:cNvPr id="31" name="Rectangle 30"/>
                <p:cNvSpPr/>
                <p:nvPr/>
              </p:nvSpPr>
              <p:spPr>
                <a:xfrm>
                  <a:off x="-2205435" y="1674238"/>
                  <a:ext cx="1487976" cy="611253"/>
                </a:xfrm>
                <a:prstGeom prst="rect">
                  <a:avLst/>
                </a:prstGeom>
              </p:spPr>
              <p:txBody>
                <a:bodyPr wrap="square">
                  <a:spAutoFit/>
                </a:bodyPr>
                <a:lstStyle/>
                <a:p>
                  <a:pPr marL="0" lvl="1">
                    <a:lnSpc>
                      <a:spcPts val="1699"/>
                    </a:lnSpc>
                  </a:pPr>
                  <a:r>
                    <a:rPr lang="en-US" sz="1399" b="1" spc="-30" dirty="0">
                      <a:solidFill>
                        <a:schemeClr val="bg1"/>
                      </a:solidFill>
                      <a:latin typeface="+mj-lt"/>
                    </a:rPr>
                    <a:t>Customer connectivity</a:t>
                  </a:r>
                </a:p>
              </p:txBody>
            </p:sp>
            <p:sp>
              <p:nvSpPr>
                <p:cNvPr id="32" name="Rectangle 31"/>
                <p:cNvSpPr/>
                <p:nvPr/>
              </p:nvSpPr>
              <p:spPr>
                <a:xfrm>
                  <a:off x="-2205435" y="2429416"/>
                  <a:ext cx="1487976" cy="605317"/>
                </a:xfrm>
                <a:prstGeom prst="rect">
                  <a:avLst/>
                </a:prstGeom>
              </p:spPr>
              <p:txBody>
                <a:bodyPr wrap="square">
                  <a:spAutoFit/>
                </a:bodyPr>
                <a:lstStyle/>
                <a:p>
                  <a:pPr marL="0" lvl="1"/>
                  <a:r>
                    <a:rPr lang="en-US" sz="1399" b="1" spc="-30" dirty="0">
                      <a:solidFill>
                        <a:schemeClr val="bg1"/>
                      </a:solidFill>
                      <a:latin typeface="+mj-lt"/>
                    </a:rPr>
                    <a:t>Supply chain reinvention</a:t>
                  </a:r>
                </a:p>
              </p:txBody>
            </p:sp>
            <p:sp>
              <p:nvSpPr>
                <p:cNvPr id="33" name="Rectangle 32"/>
                <p:cNvSpPr/>
                <p:nvPr/>
              </p:nvSpPr>
              <p:spPr>
                <a:xfrm>
                  <a:off x="-2205435" y="3204883"/>
                  <a:ext cx="1487976" cy="605317"/>
                </a:xfrm>
                <a:prstGeom prst="rect">
                  <a:avLst/>
                </a:prstGeom>
              </p:spPr>
              <p:txBody>
                <a:bodyPr wrap="square">
                  <a:spAutoFit/>
                </a:bodyPr>
                <a:lstStyle/>
                <a:p>
                  <a:pPr marL="0" lvl="1"/>
                  <a:r>
                    <a:rPr lang="en-IN" sz="1399" b="1" spc="-30" dirty="0">
                      <a:solidFill>
                        <a:schemeClr val="bg1"/>
                      </a:solidFill>
                      <a:latin typeface="+mj-lt"/>
                    </a:rPr>
                    <a:t>Culture </a:t>
                  </a:r>
                  <a:br>
                    <a:rPr lang="en-IN" sz="1399" b="1" spc="-30" dirty="0">
                      <a:solidFill>
                        <a:schemeClr val="bg1"/>
                      </a:solidFill>
                      <a:latin typeface="+mj-lt"/>
                    </a:rPr>
                  </a:br>
                  <a:r>
                    <a:rPr lang="en-IN" sz="1399" b="1" spc="-30" dirty="0">
                      <a:solidFill>
                        <a:schemeClr val="bg1"/>
                      </a:solidFill>
                      <a:latin typeface="+mj-lt"/>
                    </a:rPr>
                    <a:t>and talent</a:t>
                  </a:r>
                </a:p>
              </p:txBody>
            </p:sp>
            <p:sp>
              <p:nvSpPr>
                <p:cNvPr id="34" name="Rectangle 33"/>
                <p:cNvSpPr/>
                <p:nvPr/>
              </p:nvSpPr>
              <p:spPr>
                <a:xfrm>
                  <a:off x="-2205435" y="3970058"/>
                  <a:ext cx="1487976" cy="605337"/>
                </a:xfrm>
                <a:prstGeom prst="rect">
                  <a:avLst/>
                </a:prstGeom>
              </p:spPr>
              <p:txBody>
                <a:bodyPr wrap="square">
                  <a:spAutoFit/>
                </a:bodyPr>
                <a:lstStyle/>
                <a:p>
                  <a:pPr marL="0" lvl="1"/>
                  <a:r>
                    <a:rPr lang="en-IN" sz="1399" b="1" spc="-30" dirty="0">
                      <a:solidFill>
                        <a:schemeClr val="bg1"/>
                      </a:solidFill>
                      <a:latin typeface="+mj-lt"/>
                    </a:rPr>
                    <a:t>Digital </a:t>
                  </a:r>
                  <a:r>
                    <a:rPr lang="en-IN" sz="1399" b="1" spc="-30" dirty="0" smtClean="0">
                      <a:solidFill>
                        <a:schemeClr val="bg1"/>
                      </a:solidFill>
                      <a:latin typeface="+mj-lt"/>
                    </a:rPr>
                    <a:t/>
                  </a:r>
                  <a:br>
                    <a:rPr lang="en-IN" sz="1399" b="1" spc="-30" dirty="0" smtClean="0">
                      <a:solidFill>
                        <a:schemeClr val="bg1"/>
                      </a:solidFill>
                      <a:latin typeface="+mj-lt"/>
                    </a:rPr>
                  </a:br>
                  <a:r>
                    <a:rPr lang="en-IN" sz="1399" b="1" spc="-30" dirty="0" smtClean="0">
                      <a:solidFill>
                        <a:schemeClr val="bg1"/>
                      </a:solidFill>
                      <a:latin typeface="+mj-lt"/>
                    </a:rPr>
                    <a:t>assimilation</a:t>
                  </a:r>
                  <a:endParaRPr lang="en-IN" sz="1399" b="1" spc="-30" dirty="0">
                    <a:solidFill>
                      <a:schemeClr val="bg1"/>
                    </a:solidFill>
                    <a:latin typeface="+mj-lt"/>
                  </a:endParaRPr>
                </a:p>
              </p:txBody>
            </p:sp>
            <p:sp>
              <p:nvSpPr>
                <p:cNvPr id="35" name="Rectangle 34"/>
                <p:cNvSpPr/>
                <p:nvPr/>
              </p:nvSpPr>
              <p:spPr>
                <a:xfrm>
                  <a:off x="-2205435" y="4724542"/>
                  <a:ext cx="1487976" cy="605317"/>
                </a:xfrm>
                <a:prstGeom prst="rect">
                  <a:avLst/>
                </a:prstGeom>
              </p:spPr>
              <p:txBody>
                <a:bodyPr wrap="square">
                  <a:spAutoFit/>
                </a:bodyPr>
                <a:lstStyle/>
                <a:p>
                  <a:pPr marL="0" lvl="1"/>
                  <a:r>
                    <a:rPr lang="en-US" sz="1399" b="1" spc="-30" dirty="0">
                      <a:solidFill>
                        <a:schemeClr val="bg1"/>
                      </a:solidFill>
                      <a:latin typeface="+mj-lt"/>
                    </a:rPr>
                    <a:t>Big data </a:t>
                  </a:r>
                  <a:br>
                    <a:rPr lang="en-US" sz="1399" b="1" spc="-30" dirty="0">
                      <a:solidFill>
                        <a:schemeClr val="bg1"/>
                      </a:solidFill>
                      <a:latin typeface="+mj-lt"/>
                    </a:rPr>
                  </a:br>
                  <a:r>
                    <a:rPr lang="en-US" sz="1399" b="1" spc="-30" dirty="0">
                      <a:solidFill>
                        <a:schemeClr val="bg1"/>
                      </a:solidFill>
                      <a:latin typeface="+mj-lt"/>
                    </a:rPr>
                    <a:t>and analytics</a:t>
                  </a:r>
                </a:p>
              </p:txBody>
            </p:sp>
            <p:sp>
              <p:nvSpPr>
                <p:cNvPr id="36" name="Rectangle 35"/>
                <p:cNvSpPr/>
                <p:nvPr/>
              </p:nvSpPr>
              <p:spPr>
                <a:xfrm>
                  <a:off x="-2205435" y="5490544"/>
                  <a:ext cx="1487976" cy="541033"/>
                </a:xfrm>
                <a:prstGeom prst="rect">
                  <a:avLst/>
                </a:prstGeom>
              </p:spPr>
              <p:txBody>
                <a:bodyPr wrap="square">
                  <a:spAutoFit/>
                </a:bodyPr>
                <a:lstStyle/>
                <a:p>
                  <a:pPr marL="0" lvl="1"/>
                  <a:r>
                    <a:rPr lang="en-US" sz="1399" b="1" spc="-30" dirty="0" smtClean="0">
                      <a:solidFill>
                        <a:schemeClr val="bg1"/>
                      </a:solidFill>
                      <a:latin typeface="+mj-lt"/>
                    </a:rPr>
                    <a:t>Advance the enterprise</a:t>
                  </a:r>
                  <a:endParaRPr lang="en-US" sz="1399" b="1" spc="-30" dirty="0">
                    <a:solidFill>
                      <a:schemeClr val="bg1"/>
                    </a:solidFill>
                    <a:latin typeface="+mj-lt"/>
                  </a:endParaRPr>
                </a:p>
              </p:txBody>
            </p:sp>
          </p:grpSp>
        </p:grpSp>
        <p:sp>
          <p:nvSpPr>
            <p:cNvPr id="37" name="Rectangle 36"/>
            <p:cNvSpPr/>
            <p:nvPr/>
          </p:nvSpPr>
          <p:spPr>
            <a:xfrm>
              <a:off x="2545444" y="2301511"/>
              <a:ext cx="3009934" cy="1016192"/>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Fulfillment, quality and customer </a:t>
              </a:r>
              <a:r>
                <a:rPr lang="en-US" sz="1599" spc="-30" dirty="0" smtClean="0">
                  <a:solidFill>
                    <a:schemeClr val="bg1"/>
                  </a:solidFill>
                  <a:latin typeface="+mj-lt"/>
                </a:rPr>
                <a:t>experience</a:t>
              </a:r>
            </a:p>
            <a:p>
              <a:pPr>
                <a:lnSpc>
                  <a:spcPts val="1799"/>
                </a:lnSpc>
                <a:buClr>
                  <a:srgbClr val="808080"/>
                </a:buClr>
                <a:buSzPct val="70000"/>
                <a:defRPr/>
              </a:pPr>
              <a:r>
                <a:rPr lang="en-US" sz="1000" spc="-30" dirty="0" smtClean="0">
                  <a:solidFill>
                    <a:schemeClr val="bg1"/>
                  </a:solidFill>
                  <a:latin typeface="+mj-lt"/>
                </a:rPr>
                <a:t>New operating models emerging</a:t>
              </a:r>
            </a:p>
            <a:p>
              <a:pPr>
                <a:lnSpc>
                  <a:spcPts val="1799"/>
                </a:lnSpc>
                <a:buClr>
                  <a:srgbClr val="808080"/>
                </a:buClr>
                <a:buSzPct val="70000"/>
                <a:defRPr/>
              </a:pPr>
              <a:endParaRPr lang="en-US" sz="1599" spc="-30" dirty="0">
                <a:solidFill>
                  <a:schemeClr val="bg1"/>
                </a:solidFill>
                <a:latin typeface="+mj-lt"/>
              </a:endParaRPr>
            </a:p>
          </p:txBody>
        </p:sp>
        <p:sp>
          <p:nvSpPr>
            <p:cNvPr id="38" name="Rectangle 37"/>
            <p:cNvSpPr/>
            <p:nvPr/>
          </p:nvSpPr>
          <p:spPr>
            <a:xfrm>
              <a:off x="5555378" y="2301511"/>
              <a:ext cx="2316082" cy="554287"/>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Reliability and </a:t>
              </a:r>
              <a:r>
                <a:rPr lang="en-US" sz="1599" spc="-30" dirty="0" smtClean="0">
                  <a:solidFill>
                    <a:schemeClr val="bg1"/>
                  </a:solidFill>
                  <a:latin typeface="+mj-lt"/>
                </a:rPr>
                <a:t>availability of </a:t>
              </a:r>
              <a:r>
                <a:rPr lang="en-US" sz="1599" spc="-30" dirty="0">
                  <a:solidFill>
                    <a:schemeClr val="bg1"/>
                  </a:solidFill>
                  <a:latin typeface="+mj-lt"/>
                </a:rPr>
                <a:t>product</a:t>
              </a:r>
            </a:p>
          </p:txBody>
        </p:sp>
        <p:sp>
          <p:nvSpPr>
            <p:cNvPr id="39" name="Rectangle 38"/>
            <p:cNvSpPr/>
            <p:nvPr/>
          </p:nvSpPr>
          <p:spPr>
            <a:xfrm>
              <a:off x="8565301" y="2426715"/>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Operational efficiency </a:t>
              </a:r>
            </a:p>
          </p:txBody>
        </p:sp>
        <p:sp>
          <p:nvSpPr>
            <p:cNvPr id="40" name="Rectangle 39"/>
            <p:cNvSpPr/>
            <p:nvPr/>
          </p:nvSpPr>
          <p:spPr>
            <a:xfrm>
              <a:off x="2545444" y="3028906"/>
              <a:ext cx="3009934" cy="1016192"/>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Attracting </a:t>
              </a:r>
              <a:r>
                <a:rPr lang="en-US" sz="1599" spc="-30" dirty="0" smtClean="0">
                  <a:solidFill>
                    <a:schemeClr val="bg1"/>
                  </a:solidFill>
                  <a:latin typeface="+mj-lt"/>
                </a:rPr>
                <a:t>talent / challenging culture</a:t>
              </a:r>
            </a:p>
            <a:p>
              <a:pPr>
                <a:lnSpc>
                  <a:spcPts val="1799"/>
                </a:lnSpc>
                <a:buClr>
                  <a:srgbClr val="808080"/>
                </a:buClr>
                <a:buSzPct val="70000"/>
                <a:defRPr/>
              </a:pPr>
              <a:r>
                <a:rPr lang="en-US" sz="1000" spc="-30" dirty="0" smtClean="0">
                  <a:solidFill>
                    <a:schemeClr val="bg1"/>
                  </a:solidFill>
                  <a:latin typeface="+mj-lt"/>
                </a:rPr>
                <a:t>Enabling workforce with technology</a:t>
              </a:r>
            </a:p>
            <a:p>
              <a:pPr>
                <a:lnSpc>
                  <a:spcPts val="1799"/>
                </a:lnSpc>
                <a:buClr>
                  <a:srgbClr val="808080"/>
                </a:buClr>
                <a:buSzPct val="70000"/>
                <a:defRPr/>
              </a:pPr>
              <a:endParaRPr lang="en-US" sz="1599" spc="-30" dirty="0">
                <a:solidFill>
                  <a:schemeClr val="bg1"/>
                </a:solidFill>
                <a:latin typeface="+mj-lt"/>
              </a:endParaRPr>
            </a:p>
          </p:txBody>
        </p:sp>
        <p:sp>
          <p:nvSpPr>
            <p:cNvPr id="41" name="Rectangle 40"/>
            <p:cNvSpPr/>
            <p:nvPr/>
          </p:nvSpPr>
          <p:spPr>
            <a:xfrm>
              <a:off x="5555378" y="3028906"/>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Barriers to attract new skills</a:t>
              </a:r>
            </a:p>
          </p:txBody>
        </p:sp>
        <p:sp>
          <p:nvSpPr>
            <p:cNvPr id="42" name="Rectangle 41"/>
            <p:cNvSpPr/>
            <p:nvPr/>
          </p:nvSpPr>
          <p:spPr>
            <a:xfrm>
              <a:off x="8565301" y="3028906"/>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Recognizing talent gap</a:t>
              </a:r>
              <a:endParaRPr lang="en-IN" sz="1599" spc="-30" dirty="0">
                <a:solidFill>
                  <a:schemeClr val="bg1"/>
                </a:solidFill>
                <a:latin typeface="+mj-lt"/>
              </a:endParaRPr>
            </a:p>
          </p:txBody>
        </p:sp>
        <p:sp>
          <p:nvSpPr>
            <p:cNvPr id="43" name="Rectangle 42"/>
            <p:cNvSpPr/>
            <p:nvPr/>
          </p:nvSpPr>
          <p:spPr>
            <a:xfrm>
              <a:off x="2545444" y="3705134"/>
              <a:ext cx="3009934" cy="554287"/>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Embedding </a:t>
              </a:r>
              <a:r>
                <a:rPr lang="en-US" sz="1599" spc="-30" dirty="0" smtClean="0">
                  <a:solidFill>
                    <a:schemeClr val="bg1"/>
                  </a:solidFill>
                  <a:latin typeface="+mj-lt"/>
                </a:rPr>
                <a:t>digital</a:t>
              </a:r>
            </a:p>
            <a:p>
              <a:pPr>
                <a:lnSpc>
                  <a:spcPts val="1799"/>
                </a:lnSpc>
                <a:buClr>
                  <a:srgbClr val="808080"/>
                </a:buClr>
                <a:buSzPct val="70000"/>
                <a:defRPr/>
              </a:pPr>
              <a:r>
                <a:rPr lang="en-US" sz="1000" spc="-30" dirty="0" smtClean="0">
                  <a:solidFill>
                    <a:schemeClr val="bg1"/>
                  </a:solidFill>
                  <a:latin typeface="+mj-lt"/>
                </a:rPr>
                <a:t>Assets + Processes + Workforce</a:t>
              </a:r>
              <a:endParaRPr lang="en-US" sz="1000" spc="-30" dirty="0">
                <a:solidFill>
                  <a:schemeClr val="bg1"/>
                </a:solidFill>
                <a:latin typeface="+mj-lt"/>
              </a:endParaRPr>
            </a:p>
          </p:txBody>
        </p:sp>
        <p:sp>
          <p:nvSpPr>
            <p:cNvPr id="44" name="Rectangle 43"/>
            <p:cNvSpPr/>
            <p:nvPr/>
          </p:nvSpPr>
          <p:spPr>
            <a:xfrm>
              <a:off x="5555378" y="3705134"/>
              <a:ext cx="3009934" cy="554287"/>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Piloting </a:t>
              </a:r>
              <a:r>
                <a:rPr lang="en-US" sz="1599" spc="-30" dirty="0" smtClean="0">
                  <a:solidFill>
                    <a:schemeClr val="bg1"/>
                  </a:solidFill>
                  <a:latin typeface="+mj-lt"/>
                </a:rPr>
                <a:t>digital</a:t>
              </a:r>
            </a:p>
            <a:p>
              <a:pPr>
                <a:lnSpc>
                  <a:spcPts val="1799"/>
                </a:lnSpc>
                <a:buClr>
                  <a:srgbClr val="808080"/>
                </a:buClr>
                <a:buSzPct val="70000"/>
                <a:defRPr/>
              </a:pPr>
              <a:r>
                <a:rPr lang="en-US" sz="1599" spc="-30" dirty="0" smtClean="0">
                  <a:solidFill>
                    <a:schemeClr val="bg1"/>
                  </a:solidFill>
                  <a:latin typeface="+mj-lt"/>
                </a:rPr>
                <a:t> </a:t>
              </a:r>
              <a:endParaRPr lang="en-US" sz="1599" spc="-30" dirty="0">
                <a:solidFill>
                  <a:schemeClr val="bg1"/>
                </a:solidFill>
                <a:latin typeface="+mj-lt"/>
              </a:endParaRPr>
            </a:p>
          </p:txBody>
        </p:sp>
        <p:sp>
          <p:nvSpPr>
            <p:cNvPr id="45" name="Rectangle 44"/>
            <p:cNvSpPr/>
            <p:nvPr/>
          </p:nvSpPr>
          <p:spPr>
            <a:xfrm>
              <a:off x="8565301" y="3705134"/>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Exploring digital</a:t>
              </a:r>
            </a:p>
          </p:txBody>
        </p:sp>
        <p:sp>
          <p:nvSpPr>
            <p:cNvPr id="46" name="Rectangle 45"/>
            <p:cNvSpPr/>
            <p:nvPr/>
          </p:nvSpPr>
          <p:spPr>
            <a:xfrm>
              <a:off x="2545444" y="4389808"/>
              <a:ext cx="3009934" cy="554287"/>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Moving early has paid </a:t>
              </a:r>
              <a:r>
                <a:rPr lang="en-US" sz="1599" spc="-30" dirty="0" smtClean="0">
                  <a:solidFill>
                    <a:schemeClr val="bg1"/>
                  </a:solidFill>
                  <a:latin typeface="+mj-lt"/>
                </a:rPr>
                <a:t>off</a:t>
              </a:r>
            </a:p>
            <a:p>
              <a:pPr>
                <a:lnSpc>
                  <a:spcPts val="1799"/>
                </a:lnSpc>
                <a:buClr>
                  <a:srgbClr val="808080"/>
                </a:buClr>
                <a:buSzPct val="70000"/>
                <a:defRPr/>
              </a:pPr>
              <a:r>
                <a:rPr lang="en-US" sz="1000" spc="-30" dirty="0" smtClean="0">
                  <a:solidFill>
                    <a:schemeClr val="bg1"/>
                  </a:solidFill>
                  <a:latin typeface="+mj-lt"/>
                </a:rPr>
                <a:t>Op efficiency + Service + Product performance</a:t>
              </a:r>
              <a:endParaRPr lang="en-US" sz="1000" spc="-30" dirty="0">
                <a:solidFill>
                  <a:schemeClr val="bg1"/>
                </a:solidFill>
                <a:latin typeface="+mj-lt"/>
              </a:endParaRPr>
            </a:p>
          </p:txBody>
        </p:sp>
        <p:sp>
          <p:nvSpPr>
            <p:cNvPr id="47" name="Rectangle 46"/>
            <p:cNvSpPr/>
            <p:nvPr/>
          </p:nvSpPr>
          <p:spPr>
            <a:xfrm>
              <a:off x="5555378" y="4389808"/>
              <a:ext cx="3009934" cy="565016"/>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Establishing </a:t>
              </a:r>
            </a:p>
            <a:p>
              <a:pPr>
                <a:lnSpc>
                  <a:spcPts val="1799"/>
                </a:lnSpc>
                <a:buClr>
                  <a:srgbClr val="808080"/>
                </a:buClr>
                <a:buSzPct val="70000"/>
                <a:defRPr/>
              </a:pPr>
              <a:r>
                <a:rPr lang="en-US" sz="1599" spc="-30" dirty="0">
                  <a:solidFill>
                    <a:schemeClr val="bg1"/>
                  </a:solidFill>
                  <a:latin typeface="+mj-lt"/>
                </a:rPr>
                <a:t>capability </a:t>
              </a:r>
            </a:p>
          </p:txBody>
        </p:sp>
        <p:sp>
          <p:nvSpPr>
            <p:cNvPr id="48" name="Rectangle 47"/>
            <p:cNvSpPr/>
            <p:nvPr/>
          </p:nvSpPr>
          <p:spPr>
            <a:xfrm>
              <a:off x="8565301" y="4389808"/>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Investing to catch up </a:t>
              </a:r>
            </a:p>
          </p:txBody>
        </p:sp>
        <p:sp>
          <p:nvSpPr>
            <p:cNvPr id="49" name="Rectangle 48"/>
            <p:cNvSpPr/>
            <p:nvPr/>
          </p:nvSpPr>
          <p:spPr>
            <a:xfrm>
              <a:off x="2545444" y="4939660"/>
              <a:ext cx="3009934" cy="785239"/>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Connected enterprise/IP </a:t>
              </a:r>
              <a:r>
                <a:rPr lang="en-US" sz="1599" spc="-30" dirty="0" smtClean="0">
                  <a:solidFill>
                    <a:schemeClr val="bg1"/>
                  </a:solidFill>
                  <a:latin typeface="+mj-lt"/>
                </a:rPr>
                <a:t>protection</a:t>
              </a:r>
            </a:p>
            <a:p>
              <a:pPr>
                <a:lnSpc>
                  <a:spcPts val="1799"/>
                </a:lnSpc>
                <a:buClr>
                  <a:srgbClr val="808080"/>
                </a:buClr>
                <a:buSzPct val="70000"/>
                <a:defRPr/>
              </a:pPr>
              <a:r>
                <a:rPr lang="en-US" sz="1000" spc="-30" dirty="0" smtClean="0">
                  <a:solidFill>
                    <a:schemeClr val="bg1"/>
                  </a:solidFill>
                  <a:latin typeface="+mj-lt"/>
                </a:rPr>
                <a:t>Partner reliability/Cyber/Quality</a:t>
              </a:r>
              <a:endParaRPr lang="en-US" sz="1000" spc="-30" dirty="0">
                <a:solidFill>
                  <a:schemeClr val="bg1"/>
                </a:solidFill>
                <a:latin typeface="+mj-lt"/>
              </a:endParaRPr>
            </a:p>
          </p:txBody>
        </p:sp>
        <p:sp>
          <p:nvSpPr>
            <p:cNvPr id="50" name="Rectangle 49"/>
            <p:cNvSpPr/>
            <p:nvPr/>
          </p:nvSpPr>
          <p:spPr>
            <a:xfrm>
              <a:off x="5555378" y="5009246"/>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Operations and cyber</a:t>
              </a:r>
            </a:p>
          </p:txBody>
        </p:sp>
        <p:sp>
          <p:nvSpPr>
            <p:cNvPr id="51" name="Rectangle 50"/>
            <p:cNvSpPr/>
            <p:nvPr/>
          </p:nvSpPr>
          <p:spPr>
            <a:xfrm>
              <a:off x="8565301" y="5009246"/>
              <a:ext cx="3009934" cy="323165"/>
            </a:xfrm>
            <a:prstGeom prst="rect">
              <a:avLst/>
            </a:prstGeom>
          </p:spPr>
          <p:txBody>
            <a:bodyPr wrap="square">
              <a:spAutoFit/>
            </a:bodyPr>
            <a:lstStyle/>
            <a:p>
              <a:pPr>
                <a:lnSpc>
                  <a:spcPts val="1799"/>
                </a:lnSpc>
                <a:buClr>
                  <a:srgbClr val="808080"/>
                </a:buClr>
                <a:buSzPct val="70000"/>
                <a:defRPr/>
              </a:pPr>
              <a:r>
                <a:rPr lang="en-US" sz="1599" spc="-30" dirty="0">
                  <a:solidFill>
                    <a:schemeClr val="bg1"/>
                  </a:solidFill>
                  <a:latin typeface="+mj-lt"/>
                </a:rPr>
                <a:t>More reactionary</a:t>
              </a:r>
            </a:p>
          </p:txBody>
        </p:sp>
      </p:grpSp>
      <p:sp>
        <p:nvSpPr>
          <p:cNvPr id="52" name="TextBox 51"/>
          <p:cNvSpPr txBox="1"/>
          <p:nvPr/>
        </p:nvSpPr>
        <p:spPr>
          <a:xfrm>
            <a:off x="2474155" y="6356531"/>
            <a:ext cx="6907911" cy="376135"/>
          </a:xfrm>
          <a:prstGeom prst="rect">
            <a:avLst/>
          </a:prstGeom>
          <a:noFill/>
        </p:spPr>
        <p:txBody>
          <a:bodyPr wrap="square" lIns="0" tIns="0" rIns="0" bIns="0" rtlCol="0" anchor="ctr">
            <a:noAutofit/>
          </a:bodyPr>
          <a:lstStyle/>
          <a:p>
            <a:pPr>
              <a:lnSpc>
                <a:spcPct val="85000"/>
              </a:lnSpc>
              <a:spcAft>
                <a:spcPts val="600"/>
              </a:spcAft>
              <a:buClr>
                <a:schemeClr val="accent2"/>
              </a:buClr>
              <a:buSzPct val="70000"/>
            </a:pPr>
            <a:r>
              <a:rPr lang="en-US" sz="1000" i="1" dirty="0" smtClean="0">
                <a:solidFill>
                  <a:schemeClr val="bg1"/>
                </a:solidFill>
              </a:rPr>
              <a:t>Note: 1,2,3 - Refer to slide notes for category definition</a:t>
            </a:r>
          </a:p>
        </p:txBody>
      </p:sp>
    </p:spTree>
    <p:extLst>
      <p:ext uri="{BB962C8B-B14F-4D97-AF65-F5344CB8AC3E}">
        <p14:creationId xmlns:p14="http://schemas.microsoft.com/office/powerpoint/2010/main" val="3539193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72341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631"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IN" sz="2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46425"/>
            <a:ext cx="10977034" cy="860400"/>
          </a:xfrm>
        </p:spPr>
        <p:txBody>
          <a:bodyPr/>
          <a:lstStyle/>
          <a:p>
            <a:pPr>
              <a:buClr>
                <a:schemeClr val="accent2"/>
              </a:buClr>
              <a:buSzPct val="70000"/>
            </a:pPr>
            <a:r>
              <a:rPr lang="en-IN" sz="2400" dirty="0">
                <a:latin typeface="+mj-lt"/>
              </a:rPr>
              <a:t>As a result, </a:t>
            </a:r>
            <a:r>
              <a:rPr lang="en-IN" sz="2400" dirty="0" smtClean="0">
                <a:latin typeface="+mj-lt"/>
              </a:rPr>
              <a:t>companies </a:t>
            </a:r>
            <a:r>
              <a:rPr lang="en-IN" sz="2400" dirty="0" smtClean="0">
                <a:latin typeface="+mj-lt"/>
              </a:rPr>
              <a:t>are </a:t>
            </a:r>
            <a:r>
              <a:rPr lang="en-IN" sz="2400" dirty="0">
                <a:latin typeface="+mj-lt"/>
              </a:rPr>
              <a:t>increasingly seeking new ways to connect with their </a:t>
            </a:r>
            <a:r>
              <a:rPr lang="en-IN" sz="2400" dirty="0" smtClean="0">
                <a:latin typeface="+mj-lt"/>
              </a:rPr>
              <a:t>end-consumers</a:t>
            </a:r>
            <a:endParaRPr lang="en-IN" sz="2400" dirty="0">
              <a:latin typeface="+mj-lt"/>
            </a:endParaRPr>
          </a:p>
        </p:txBody>
      </p:sp>
      <p:sp>
        <p:nvSpPr>
          <p:cNvPr id="31" name="TextBox 30"/>
          <p:cNvSpPr txBox="1"/>
          <p:nvPr/>
        </p:nvSpPr>
        <p:spPr>
          <a:xfrm>
            <a:off x="1299186" y="6431281"/>
            <a:ext cx="6767854" cy="29854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smtClean="0">
                <a:solidFill>
                  <a:schemeClr val="bg1"/>
                </a:solidFill>
                <a:latin typeface="+mj-lt"/>
              </a:rPr>
              <a:t>*AM stands for advanced materials which include </a:t>
            </a:r>
            <a:r>
              <a:rPr lang="fr-FR" sz="1000" dirty="0" smtClean="0">
                <a:solidFill>
                  <a:schemeClr val="bg1"/>
                </a:solidFill>
                <a:latin typeface="+mj-lt"/>
              </a:rPr>
              <a:t>composites</a:t>
            </a:r>
            <a:r>
              <a:rPr lang="fr-FR" sz="1000" dirty="0">
                <a:solidFill>
                  <a:schemeClr val="bg1"/>
                </a:solidFill>
                <a:latin typeface="+mj-lt"/>
              </a:rPr>
              <a:t>, ceramics, nanomaterials</a:t>
            </a:r>
            <a:r>
              <a:rPr lang="fr-FR" sz="1000" dirty="0" smtClean="0">
                <a:solidFill>
                  <a:schemeClr val="bg1"/>
                </a:solidFill>
                <a:latin typeface="+mj-lt"/>
              </a:rPr>
              <a:t>, etc.</a:t>
            </a:r>
            <a:r>
              <a:rPr lang="en-IN" sz="1000" dirty="0" smtClean="0">
                <a:solidFill>
                  <a:schemeClr val="bg1"/>
                </a:solidFill>
                <a:latin typeface="+mj-lt"/>
              </a:rPr>
              <a:t/>
            </a:r>
            <a:br>
              <a:rPr lang="en-IN" sz="1000" dirty="0" smtClean="0">
                <a:solidFill>
                  <a:schemeClr val="bg1"/>
                </a:solidFill>
                <a:latin typeface="+mj-lt"/>
              </a:rPr>
            </a:br>
            <a:r>
              <a:rPr lang="en-IN" sz="1000" dirty="0" smtClean="0">
                <a:solidFill>
                  <a:schemeClr val="bg1"/>
                </a:solidFill>
                <a:latin typeface="+mj-lt"/>
              </a:rPr>
              <a:t>**Business-to-business-to-consumer (read EY’s take </a:t>
            </a:r>
            <a:r>
              <a:rPr lang="en-IN" sz="1000" dirty="0">
                <a:solidFill>
                  <a:schemeClr val="bg1"/>
                </a:solidFill>
                <a:latin typeface="+mj-lt"/>
              </a:rPr>
              <a:t>on this - </a:t>
            </a:r>
            <a:r>
              <a:rPr lang="en-IN" sz="1000" dirty="0">
                <a:solidFill>
                  <a:schemeClr val="bg1"/>
                </a:solidFill>
                <a:latin typeface="+mj-lt"/>
                <a:hlinkClick r:id="rId8"/>
              </a:rPr>
              <a:t>Does the “C” in B2B2C stand for customer … or crucial?</a:t>
            </a:r>
            <a:endParaRPr lang="en-IN" sz="1000" dirty="0" smtClean="0">
              <a:solidFill>
                <a:schemeClr val="bg1"/>
              </a:solidFill>
              <a:latin typeface="+mj-lt"/>
            </a:endParaRPr>
          </a:p>
        </p:txBody>
      </p:sp>
      <p:grpSp>
        <p:nvGrpSpPr>
          <p:cNvPr id="40" name="Group 39"/>
          <p:cNvGrpSpPr/>
          <p:nvPr/>
        </p:nvGrpSpPr>
        <p:grpSpPr>
          <a:xfrm>
            <a:off x="609918" y="1436689"/>
            <a:ext cx="10977245" cy="4350855"/>
            <a:chOff x="609918" y="1436689"/>
            <a:chExt cx="10977245" cy="4350855"/>
          </a:xfrm>
        </p:grpSpPr>
        <p:sp>
          <p:nvSpPr>
            <p:cNvPr id="41" name="Rectangle 40"/>
            <p:cNvSpPr/>
            <p:nvPr/>
          </p:nvSpPr>
          <p:spPr>
            <a:xfrm flipV="1">
              <a:off x="609918" y="4521487"/>
              <a:ext cx="3008318" cy="1252478"/>
            </a:xfrm>
            <a:prstGeom prst="rect">
              <a:avLst/>
            </a:prstGeom>
            <a:noFill/>
            <a:ln w="1905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latin typeface="+mj-lt"/>
              </a:endParaRPr>
            </a:p>
          </p:txBody>
        </p:sp>
        <p:sp>
          <p:nvSpPr>
            <p:cNvPr id="42" name="Rectangle 41"/>
            <p:cNvSpPr/>
            <p:nvPr/>
          </p:nvSpPr>
          <p:spPr>
            <a:xfrm flipV="1">
              <a:off x="5350532" y="4521487"/>
              <a:ext cx="3008318" cy="1252478"/>
            </a:xfrm>
            <a:prstGeom prst="rect">
              <a:avLst/>
            </a:prstGeom>
            <a:noFill/>
            <a:ln w="1905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latin typeface="+mj-lt"/>
              </a:endParaRPr>
            </a:p>
          </p:txBody>
        </p:sp>
        <p:sp>
          <p:nvSpPr>
            <p:cNvPr id="43" name="Rectangle 42"/>
            <p:cNvSpPr/>
            <p:nvPr/>
          </p:nvSpPr>
          <p:spPr>
            <a:xfrm flipV="1">
              <a:off x="609918" y="1724886"/>
              <a:ext cx="3008318" cy="1252478"/>
            </a:xfrm>
            <a:prstGeom prst="rect">
              <a:avLst/>
            </a:prstGeom>
            <a:noFill/>
            <a:ln w="1905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latin typeface="+mj-lt"/>
              </a:endParaRPr>
            </a:p>
          </p:txBody>
        </p:sp>
        <p:sp>
          <p:nvSpPr>
            <p:cNvPr id="44" name="Rectangle 43"/>
            <p:cNvSpPr/>
            <p:nvPr/>
          </p:nvSpPr>
          <p:spPr>
            <a:xfrm flipV="1">
              <a:off x="5350532" y="1724886"/>
              <a:ext cx="3008318" cy="1252478"/>
            </a:xfrm>
            <a:prstGeom prst="rect">
              <a:avLst/>
            </a:prstGeom>
            <a:noFill/>
            <a:ln w="19050">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latin typeface="+mj-lt"/>
              </a:endParaRPr>
            </a:p>
          </p:txBody>
        </p:sp>
        <p:sp>
          <p:nvSpPr>
            <p:cNvPr id="45" name="Text Box 12"/>
            <p:cNvSpPr txBox="1">
              <a:spLocks noChangeArrowheads="1"/>
            </p:cNvSpPr>
            <p:nvPr/>
          </p:nvSpPr>
          <p:spPr bwMode="auto">
            <a:xfrm>
              <a:off x="6174874" y="1807820"/>
              <a:ext cx="1979326" cy="1077218"/>
            </a:xfrm>
            <a:prstGeom prst="rect">
              <a:avLst/>
            </a:prstGeom>
            <a:noFill/>
            <a:ln w="12700" algn="ctr">
              <a:noFill/>
              <a:miter lim="800000"/>
              <a:headEnd/>
              <a:tailEnd/>
            </a:ln>
            <a:effectLst/>
          </p:spPr>
          <p:txBody>
            <a:bodyPr wrap="square" lIns="0" tIns="0" rIns="0" bIns="0">
              <a:spAutoFit/>
            </a:bodyPr>
            <a:lstStyle/>
            <a:p>
              <a:pPr>
                <a:spcBef>
                  <a:spcPts val="500"/>
                </a:spcBef>
              </a:pPr>
              <a:r>
                <a:rPr lang="en-IN" sz="1400" dirty="0">
                  <a:solidFill>
                    <a:schemeClr val="bg1"/>
                  </a:solidFill>
                  <a:latin typeface="+mj-lt"/>
                </a:rPr>
                <a:t>Sensor-based quality control; remote monitoring and predictive maintenance; </a:t>
              </a:r>
              <a:r>
                <a:rPr lang="en-IN" sz="1400" dirty="0" smtClean="0">
                  <a:solidFill>
                    <a:schemeClr val="bg1"/>
                  </a:solidFill>
                  <a:latin typeface="+mj-lt"/>
                </a:rPr>
                <a:t>3D Printing </a:t>
              </a:r>
              <a:r>
                <a:rPr lang="en-IN" sz="1400" dirty="0">
                  <a:solidFill>
                    <a:schemeClr val="bg1"/>
                  </a:solidFill>
                  <a:latin typeface="+mj-lt"/>
                </a:rPr>
                <a:t>and AMs</a:t>
              </a:r>
              <a:r>
                <a:rPr lang="en-IN" sz="1400" dirty="0" smtClean="0">
                  <a:solidFill>
                    <a:schemeClr val="bg1"/>
                  </a:solidFill>
                  <a:latin typeface="+mj-lt"/>
                </a:rPr>
                <a:t>*</a:t>
              </a:r>
              <a:endParaRPr lang="en-IN" sz="1400" dirty="0">
                <a:solidFill>
                  <a:schemeClr val="bg1"/>
                </a:solidFill>
                <a:latin typeface="+mj-lt"/>
              </a:endParaRPr>
            </a:p>
          </p:txBody>
        </p:sp>
        <p:sp>
          <p:nvSpPr>
            <p:cNvPr id="46" name="Text Box 12"/>
            <p:cNvSpPr txBox="1">
              <a:spLocks noChangeArrowheads="1"/>
            </p:cNvSpPr>
            <p:nvPr/>
          </p:nvSpPr>
          <p:spPr bwMode="auto">
            <a:xfrm>
              <a:off x="674036" y="1807820"/>
              <a:ext cx="2323807" cy="646331"/>
            </a:xfrm>
            <a:prstGeom prst="rect">
              <a:avLst/>
            </a:prstGeom>
            <a:noFill/>
            <a:ln w="12700" algn="ctr">
              <a:noFill/>
              <a:miter lim="800000"/>
              <a:headEnd/>
              <a:tailEnd/>
            </a:ln>
            <a:effectLst/>
          </p:spPr>
          <p:txBody>
            <a:bodyPr wrap="square" lIns="0" tIns="0" rIns="0" bIns="0">
              <a:spAutoFit/>
            </a:bodyPr>
            <a:lstStyle/>
            <a:p>
              <a:pPr>
                <a:spcBef>
                  <a:spcPts val="500"/>
                </a:spcBef>
              </a:pPr>
              <a:r>
                <a:rPr lang="en-IN" sz="1400" dirty="0">
                  <a:solidFill>
                    <a:schemeClr val="bg1"/>
                  </a:solidFill>
                  <a:latin typeface="+mj-lt"/>
                </a:rPr>
                <a:t>Localizing via regional supply chains, R&amp;D centres and local partners</a:t>
              </a:r>
            </a:p>
          </p:txBody>
        </p:sp>
        <p:sp>
          <p:nvSpPr>
            <p:cNvPr id="47" name="Text Box 12"/>
            <p:cNvSpPr txBox="1">
              <a:spLocks noChangeArrowheads="1"/>
            </p:cNvSpPr>
            <p:nvPr/>
          </p:nvSpPr>
          <p:spPr bwMode="auto">
            <a:xfrm>
              <a:off x="6169306" y="4637703"/>
              <a:ext cx="2126548" cy="861774"/>
            </a:xfrm>
            <a:prstGeom prst="rect">
              <a:avLst/>
            </a:prstGeom>
            <a:noFill/>
            <a:ln w="12700" algn="ctr">
              <a:noFill/>
              <a:miter lim="800000"/>
              <a:headEnd/>
              <a:tailEnd/>
            </a:ln>
            <a:effectLst/>
          </p:spPr>
          <p:txBody>
            <a:bodyPr wrap="square" lIns="0" tIns="0" rIns="0" bIns="0">
              <a:spAutoFit/>
            </a:bodyPr>
            <a:lstStyle/>
            <a:p>
              <a:pPr>
                <a:spcBef>
                  <a:spcPts val="500"/>
                </a:spcBef>
              </a:pPr>
              <a:r>
                <a:rPr lang="en-IN" sz="1400" dirty="0" smtClean="0">
                  <a:solidFill>
                    <a:schemeClr val="bg1"/>
                  </a:solidFill>
                  <a:latin typeface="+mj-lt"/>
                </a:rPr>
                <a:t>Connected equipment, software-based services, </a:t>
              </a:r>
              <a:r>
                <a:rPr lang="en-IN" sz="1400" dirty="0">
                  <a:solidFill>
                    <a:schemeClr val="bg1"/>
                  </a:solidFill>
                  <a:latin typeface="+mj-lt"/>
                </a:rPr>
                <a:t>and data monetization </a:t>
              </a:r>
              <a:r>
                <a:rPr lang="en-IN" sz="1400" dirty="0" smtClean="0">
                  <a:solidFill>
                    <a:schemeClr val="bg1"/>
                  </a:solidFill>
                  <a:latin typeface="+mj-lt"/>
                </a:rPr>
                <a:t>— </a:t>
              </a:r>
              <a:r>
                <a:rPr lang="en-IN" sz="1400" dirty="0">
                  <a:solidFill>
                    <a:schemeClr val="bg1"/>
                  </a:solidFill>
                  <a:latin typeface="+mj-lt"/>
                </a:rPr>
                <a:t>the new normal</a:t>
              </a:r>
            </a:p>
          </p:txBody>
        </p:sp>
        <p:sp>
          <p:nvSpPr>
            <p:cNvPr id="48" name="Text Box 12"/>
            <p:cNvSpPr txBox="1">
              <a:spLocks noChangeArrowheads="1"/>
            </p:cNvSpPr>
            <p:nvPr/>
          </p:nvSpPr>
          <p:spPr bwMode="auto">
            <a:xfrm>
              <a:off x="674036" y="4637703"/>
              <a:ext cx="2025910" cy="1077218"/>
            </a:xfrm>
            <a:prstGeom prst="rect">
              <a:avLst/>
            </a:prstGeom>
            <a:noFill/>
            <a:ln w="12700" algn="ctr">
              <a:noFill/>
              <a:miter lim="800000"/>
              <a:headEnd/>
              <a:tailEnd/>
            </a:ln>
            <a:effectLst/>
          </p:spPr>
          <p:txBody>
            <a:bodyPr wrap="square" lIns="0" tIns="0" rIns="0" bIns="0">
              <a:spAutoFit/>
            </a:bodyPr>
            <a:lstStyle/>
            <a:p>
              <a:pPr>
                <a:spcBef>
                  <a:spcPts val="500"/>
                </a:spcBef>
              </a:pPr>
              <a:r>
                <a:rPr lang="en-IN" sz="1400" dirty="0">
                  <a:solidFill>
                    <a:schemeClr val="bg1"/>
                  </a:solidFill>
                  <a:latin typeface="+mj-lt"/>
                </a:rPr>
                <a:t>B2B2C** the new paradigm </a:t>
              </a:r>
              <a:r>
                <a:rPr lang="en-IN" sz="1400" dirty="0" smtClean="0">
                  <a:solidFill>
                    <a:schemeClr val="bg1"/>
                  </a:solidFill>
                  <a:latin typeface="+mj-lt"/>
                </a:rPr>
                <a:t>— </a:t>
              </a:r>
              <a:r>
                <a:rPr lang="en-IN" sz="1400" dirty="0">
                  <a:solidFill>
                    <a:schemeClr val="bg1"/>
                  </a:solidFill>
                  <a:latin typeface="+mj-lt"/>
                </a:rPr>
                <a:t>web channels, data analytics to predict customer needs </a:t>
              </a:r>
              <a:r>
                <a:rPr lang="en-IN" sz="1400" dirty="0" smtClean="0">
                  <a:solidFill>
                    <a:schemeClr val="bg1"/>
                  </a:solidFill>
                  <a:latin typeface="+mj-lt"/>
                </a:rPr>
                <a:t>and </a:t>
              </a:r>
              <a:r>
                <a:rPr lang="en-IN" sz="1400" dirty="0">
                  <a:solidFill>
                    <a:schemeClr val="bg1"/>
                  </a:solidFill>
                  <a:latin typeface="+mj-lt"/>
                </a:rPr>
                <a:t>tailor offerings</a:t>
              </a:r>
            </a:p>
          </p:txBody>
        </p:sp>
        <p:sp>
          <p:nvSpPr>
            <p:cNvPr id="49" name="Plaque 48"/>
            <p:cNvSpPr/>
            <p:nvPr/>
          </p:nvSpPr>
          <p:spPr>
            <a:xfrm rot="5400000">
              <a:off x="3484320" y="2563805"/>
              <a:ext cx="2129446" cy="2345819"/>
            </a:xfrm>
            <a:prstGeom prst="plaque">
              <a:avLst>
                <a:gd name="adj" fmla="val 3076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latin typeface="+mj-lt"/>
              </a:endParaRPr>
            </a:p>
          </p:txBody>
        </p:sp>
        <p:sp>
          <p:nvSpPr>
            <p:cNvPr id="50" name="Rectangle 49"/>
            <p:cNvSpPr/>
            <p:nvPr/>
          </p:nvSpPr>
          <p:spPr>
            <a:xfrm>
              <a:off x="3478011" y="4055440"/>
              <a:ext cx="2204090" cy="246221"/>
            </a:xfrm>
            <a:prstGeom prst="rect">
              <a:avLst/>
            </a:prstGeom>
            <a:noFill/>
            <a:ln w="9525">
              <a:noFill/>
              <a:round/>
              <a:headEnd/>
              <a:tailEnd/>
            </a:ln>
          </p:spPr>
          <p:txBody>
            <a:bodyPr wrap="square" lIns="0" tIns="0" rIns="0" bIns="0">
              <a:spAutoFit/>
            </a:bodyPr>
            <a:lstStyle/>
            <a:p>
              <a:pPr algn="ctr" fontAlgn="auto">
                <a:spcBef>
                  <a:spcPts val="0"/>
                </a:spcBef>
                <a:spcAft>
                  <a:spcPts val="0"/>
                </a:spcAft>
                <a:defRPr/>
              </a:pPr>
              <a:r>
                <a:rPr lang="pt-BR" sz="1600" b="1" kern="0" dirty="0">
                  <a:solidFill>
                    <a:srgbClr val="333333"/>
                  </a:solidFill>
                  <a:latin typeface="+mj-lt"/>
                </a:rPr>
                <a:t>Customer</a:t>
              </a:r>
            </a:p>
          </p:txBody>
        </p:sp>
        <p:sp>
          <p:nvSpPr>
            <p:cNvPr id="51" name="Oval 50"/>
            <p:cNvSpPr/>
            <p:nvPr/>
          </p:nvSpPr>
          <p:spPr>
            <a:xfrm>
              <a:off x="5117662" y="2278341"/>
              <a:ext cx="984265" cy="9842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2" name="Oval 51"/>
            <p:cNvSpPr/>
            <p:nvPr/>
          </p:nvSpPr>
          <p:spPr>
            <a:xfrm>
              <a:off x="5183637" y="2344317"/>
              <a:ext cx="852314" cy="85231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3" name="Oval 52"/>
            <p:cNvSpPr/>
            <p:nvPr/>
          </p:nvSpPr>
          <p:spPr>
            <a:xfrm>
              <a:off x="2970929" y="2278341"/>
              <a:ext cx="984265" cy="9842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4" name="Oval 53"/>
            <p:cNvSpPr/>
            <p:nvPr/>
          </p:nvSpPr>
          <p:spPr>
            <a:xfrm>
              <a:off x="3036905" y="2344317"/>
              <a:ext cx="852314" cy="85231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5" name="Oval 54"/>
            <p:cNvSpPr/>
            <p:nvPr/>
          </p:nvSpPr>
          <p:spPr>
            <a:xfrm>
              <a:off x="2970929" y="4213747"/>
              <a:ext cx="984265" cy="9842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6" name="Oval 55"/>
            <p:cNvSpPr/>
            <p:nvPr/>
          </p:nvSpPr>
          <p:spPr>
            <a:xfrm>
              <a:off x="3036905" y="4279722"/>
              <a:ext cx="852314" cy="85231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7" name="Oval 56"/>
            <p:cNvSpPr/>
            <p:nvPr/>
          </p:nvSpPr>
          <p:spPr>
            <a:xfrm>
              <a:off x="5117662" y="4213747"/>
              <a:ext cx="984265" cy="9842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8" name="Oval 57"/>
            <p:cNvSpPr/>
            <p:nvPr/>
          </p:nvSpPr>
          <p:spPr>
            <a:xfrm>
              <a:off x="5183637" y="4279722"/>
              <a:ext cx="852314" cy="85231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9" name="Rectangle 58"/>
            <p:cNvSpPr/>
            <p:nvPr/>
          </p:nvSpPr>
          <p:spPr>
            <a:xfrm>
              <a:off x="5587257" y="1474808"/>
              <a:ext cx="2771593" cy="215444"/>
            </a:xfrm>
            <a:prstGeom prst="rect">
              <a:avLst/>
            </a:prstGeom>
          </p:spPr>
          <p:txBody>
            <a:bodyPr wrap="none" lIns="0" tIns="0" rIns="0" bIns="0">
              <a:spAutoFit/>
            </a:bodyPr>
            <a:lstStyle/>
            <a:p>
              <a:pPr algn="r"/>
              <a:r>
                <a:rPr lang="en-US" sz="1400" b="1" dirty="0">
                  <a:solidFill>
                    <a:schemeClr val="bg1"/>
                  </a:solidFill>
                  <a:latin typeface="+mj-lt"/>
                </a:rPr>
                <a:t>Quality of products </a:t>
              </a:r>
              <a:r>
                <a:rPr lang="en-US" sz="1400" b="1" dirty="0" smtClean="0">
                  <a:solidFill>
                    <a:schemeClr val="bg1"/>
                  </a:solidFill>
                  <a:latin typeface="+mj-lt"/>
                </a:rPr>
                <a:t>and </a:t>
              </a:r>
              <a:r>
                <a:rPr lang="en-US" sz="1400" b="1" dirty="0">
                  <a:solidFill>
                    <a:schemeClr val="bg1"/>
                  </a:solidFill>
                  <a:latin typeface="+mj-lt"/>
                </a:rPr>
                <a:t>services</a:t>
              </a:r>
            </a:p>
          </p:txBody>
        </p:sp>
        <p:sp>
          <p:nvSpPr>
            <p:cNvPr id="60" name="Rectangle 59"/>
            <p:cNvSpPr/>
            <p:nvPr/>
          </p:nvSpPr>
          <p:spPr>
            <a:xfrm>
              <a:off x="609918" y="1464789"/>
              <a:ext cx="1481175" cy="215444"/>
            </a:xfrm>
            <a:prstGeom prst="rect">
              <a:avLst/>
            </a:prstGeom>
          </p:spPr>
          <p:txBody>
            <a:bodyPr wrap="none" lIns="0" tIns="0" rIns="0" bIns="0">
              <a:spAutoFit/>
            </a:bodyPr>
            <a:lstStyle/>
            <a:p>
              <a:r>
                <a:rPr lang="en-US" sz="1400" b="1" dirty="0">
                  <a:solidFill>
                    <a:schemeClr val="bg1"/>
                  </a:solidFill>
                  <a:latin typeface="+mj-lt"/>
                </a:rPr>
                <a:t>Speed of delivery</a:t>
              </a:r>
            </a:p>
          </p:txBody>
        </p:sp>
        <p:sp>
          <p:nvSpPr>
            <p:cNvPr id="61" name="Rectangle 60"/>
            <p:cNvSpPr/>
            <p:nvPr/>
          </p:nvSpPr>
          <p:spPr>
            <a:xfrm>
              <a:off x="609918" y="4257380"/>
              <a:ext cx="1580561" cy="215444"/>
            </a:xfrm>
            <a:prstGeom prst="rect">
              <a:avLst/>
            </a:prstGeom>
          </p:spPr>
          <p:txBody>
            <a:bodyPr wrap="none" lIns="0" tIns="0" rIns="0" bIns="0">
              <a:spAutoFit/>
            </a:bodyPr>
            <a:lstStyle/>
            <a:p>
              <a:r>
                <a:rPr lang="en-US" sz="1400" b="1" dirty="0">
                  <a:solidFill>
                    <a:schemeClr val="bg1"/>
                  </a:solidFill>
                  <a:latin typeface="+mj-lt"/>
                </a:rPr>
                <a:t>Ordering channels</a:t>
              </a:r>
            </a:p>
          </p:txBody>
        </p:sp>
        <p:sp>
          <p:nvSpPr>
            <p:cNvPr id="62" name="Rectangle 61"/>
            <p:cNvSpPr/>
            <p:nvPr/>
          </p:nvSpPr>
          <p:spPr>
            <a:xfrm>
              <a:off x="6209224" y="4257380"/>
              <a:ext cx="2149626" cy="215444"/>
            </a:xfrm>
            <a:prstGeom prst="rect">
              <a:avLst/>
            </a:prstGeom>
          </p:spPr>
          <p:txBody>
            <a:bodyPr wrap="none" lIns="0" tIns="0" rIns="0" bIns="0">
              <a:spAutoFit/>
            </a:bodyPr>
            <a:lstStyle/>
            <a:p>
              <a:pPr algn="r"/>
              <a:r>
                <a:rPr lang="en-US" sz="1400" b="1" dirty="0">
                  <a:solidFill>
                    <a:schemeClr val="bg1"/>
                  </a:solidFill>
                  <a:latin typeface="+mj-lt"/>
                </a:rPr>
                <a:t>Service-driven enterprise</a:t>
              </a:r>
            </a:p>
          </p:txBody>
        </p:sp>
        <p:grpSp>
          <p:nvGrpSpPr>
            <p:cNvPr id="63" name="Group 62"/>
            <p:cNvGrpSpPr/>
            <p:nvPr/>
          </p:nvGrpSpPr>
          <p:grpSpPr>
            <a:xfrm>
              <a:off x="4391849" y="2815621"/>
              <a:ext cx="305125" cy="680351"/>
              <a:chOff x="6162128" y="1543384"/>
              <a:chExt cx="1186937" cy="2648463"/>
            </a:xfrm>
          </p:grpSpPr>
          <p:sp>
            <p:nvSpPr>
              <p:cNvPr id="82" name="Freeform 401"/>
              <p:cNvSpPr>
                <a:spLocks/>
              </p:cNvSpPr>
              <p:nvPr/>
            </p:nvSpPr>
            <p:spPr bwMode="gray">
              <a:xfrm>
                <a:off x="6749365" y="3479685"/>
                <a:ext cx="204054" cy="165423"/>
              </a:xfrm>
              <a:custGeom>
                <a:avLst/>
                <a:gdLst/>
                <a:ahLst/>
                <a:cxnLst>
                  <a:cxn ang="0">
                    <a:pos x="14" y="40"/>
                  </a:cxn>
                  <a:cxn ang="0">
                    <a:pos x="110" y="21"/>
                  </a:cxn>
                  <a:cxn ang="0">
                    <a:pos x="204" y="165"/>
                  </a:cxn>
                  <a:cxn ang="0">
                    <a:pos x="2" y="201"/>
                  </a:cxn>
                  <a:cxn ang="0">
                    <a:pos x="2" y="171"/>
                  </a:cxn>
                  <a:cxn ang="0">
                    <a:pos x="184" y="138"/>
                  </a:cxn>
                  <a:cxn ang="0">
                    <a:pos x="14" y="53"/>
                  </a:cxn>
                </a:cxnLst>
                <a:rect l="0" t="0" r="r" b="b"/>
                <a:pathLst>
                  <a:path w="277" h="225">
                    <a:moveTo>
                      <a:pt x="14" y="40"/>
                    </a:moveTo>
                    <a:cubicBezTo>
                      <a:pt x="25" y="0"/>
                      <a:pt x="77" y="13"/>
                      <a:pt x="110" y="21"/>
                    </a:cubicBezTo>
                    <a:cubicBezTo>
                      <a:pt x="146" y="65"/>
                      <a:pt x="277" y="65"/>
                      <a:pt x="204" y="165"/>
                    </a:cubicBezTo>
                    <a:cubicBezTo>
                      <a:pt x="165" y="220"/>
                      <a:pt x="59" y="225"/>
                      <a:pt x="2" y="201"/>
                    </a:cubicBezTo>
                    <a:cubicBezTo>
                      <a:pt x="0" y="192"/>
                      <a:pt x="0" y="181"/>
                      <a:pt x="2" y="171"/>
                    </a:cubicBezTo>
                    <a:cubicBezTo>
                      <a:pt x="46" y="169"/>
                      <a:pt x="173" y="202"/>
                      <a:pt x="184" y="138"/>
                    </a:cubicBezTo>
                    <a:cubicBezTo>
                      <a:pt x="196" y="62"/>
                      <a:pt x="58" y="65"/>
                      <a:pt x="14" y="53"/>
                    </a:cubicBezTo>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4" name="Freeform 409"/>
              <p:cNvSpPr>
                <a:spLocks/>
              </p:cNvSpPr>
              <p:nvPr/>
            </p:nvSpPr>
            <p:spPr bwMode="gray">
              <a:xfrm>
                <a:off x="6615407" y="2137294"/>
                <a:ext cx="328355" cy="403122"/>
              </a:xfrm>
              <a:custGeom>
                <a:avLst/>
                <a:gdLst/>
                <a:ahLst/>
                <a:cxnLst>
                  <a:cxn ang="0">
                    <a:pos x="26" y="83"/>
                  </a:cxn>
                  <a:cxn ang="0">
                    <a:pos x="386" y="365"/>
                  </a:cxn>
                  <a:cxn ang="0">
                    <a:pos x="370" y="110"/>
                  </a:cxn>
                  <a:cxn ang="0">
                    <a:pos x="46" y="102"/>
                  </a:cxn>
                </a:cxnLst>
                <a:rect l="0" t="0" r="r" b="b"/>
                <a:pathLst>
                  <a:path w="446" h="548">
                    <a:moveTo>
                      <a:pt x="26" y="83"/>
                    </a:moveTo>
                    <a:cubicBezTo>
                      <a:pt x="0" y="271"/>
                      <a:pt x="191" y="548"/>
                      <a:pt x="386" y="365"/>
                    </a:cubicBezTo>
                    <a:cubicBezTo>
                      <a:pt x="446" y="309"/>
                      <a:pt x="413" y="170"/>
                      <a:pt x="370" y="110"/>
                    </a:cubicBezTo>
                    <a:cubicBezTo>
                      <a:pt x="290" y="0"/>
                      <a:pt x="139" y="48"/>
                      <a:pt x="46" y="102"/>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5" name="Freeform 410"/>
              <p:cNvSpPr>
                <a:spLocks/>
              </p:cNvSpPr>
              <p:nvPr/>
            </p:nvSpPr>
            <p:spPr bwMode="gray">
              <a:xfrm>
                <a:off x="6625064" y="2176236"/>
                <a:ext cx="290659" cy="196577"/>
              </a:xfrm>
              <a:custGeom>
                <a:avLst/>
                <a:gdLst/>
                <a:ahLst/>
                <a:cxnLst>
                  <a:cxn ang="0">
                    <a:pos x="0" y="57"/>
                  </a:cxn>
                  <a:cxn ang="0">
                    <a:pos x="114" y="220"/>
                  </a:cxn>
                  <a:cxn ang="0">
                    <a:pos x="327" y="207"/>
                  </a:cxn>
                  <a:cxn ang="0">
                    <a:pos x="390" y="0"/>
                  </a:cxn>
                </a:cxnLst>
                <a:rect l="0" t="0" r="r" b="b"/>
                <a:pathLst>
                  <a:path w="395" h="267">
                    <a:moveTo>
                      <a:pt x="0" y="57"/>
                    </a:moveTo>
                    <a:cubicBezTo>
                      <a:pt x="21" y="138"/>
                      <a:pt x="43" y="178"/>
                      <a:pt x="114" y="220"/>
                    </a:cubicBezTo>
                    <a:cubicBezTo>
                      <a:pt x="179" y="260"/>
                      <a:pt x="261" y="267"/>
                      <a:pt x="327" y="207"/>
                    </a:cubicBezTo>
                    <a:cubicBezTo>
                      <a:pt x="395" y="147"/>
                      <a:pt x="385" y="88"/>
                      <a:pt x="390"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7" name="Freeform 412"/>
              <p:cNvSpPr>
                <a:spLocks/>
              </p:cNvSpPr>
              <p:nvPr/>
            </p:nvSpPr>
            <p:spPr bwMode="gray">
              <a:xfrm>
                <a:off x="6297644" y="3567849"/>
                <a:ext cx="224303" cy="290036"/>
              </a:xfrm>
              <a:custGeom>
                <a:avLst/>
                <a:gdLst/>
                <a:ahLst/>
                <a:cxnLst>
                  <a:cxn ang="0">
                    <a:pos x="54" y="180"/>
                  </a:cxn>
                  <a:cxn ang="0">
                    <a:pos x="124" y="312"/>
                  </a:cxn>
                  <a:cxn ang="0">
                    <a:pos x="248" y="388"/>
                  </a:cxn>
                  <a:cxn ang="0">
                    <a:pos x="295" y="278"/>
                  </a:cxn>
                  <a:cxn ang="0">
                    <a:pos x="225" y="166"/>
                  </a:cxn>
                  <a:cxn ang="0">
                    <a:pos x="27" y="161"/>
                  </a:cxn>
                </a:cxnLst>
                <a:rect l="0" t="0" r="r" b="b"/>
                <a:pathLst>
                  <a:path w="305" h="394">
                    <a:moveTo>
                      <a:pt x="54"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8" name="Freeform 413"/>
              <p:cNvSpPr>
                <a:spLocks/>
              </p:cNvSpPr>
              <p:nvPr/>
            </p:nvSpPr>
            <p:spPr bwMode="gray">
              <a:xfrm>
                <a:off x="7153422" y="3553207"/>
                <a:ext cx="180377" cy="270098"/>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9" name="Freeform 414"/>
              <p:cNvSpPr>
                <a:spLocks/>
              </p:cNvSpPr>
              <p:nvPr/>
            </p:nvSpPr>
            <p:spPr bwMode="gray">
              <a:xfrm>
                <a:off x="6348424" y="3672212"/>
                <a:ext cx="136140" cy="190034"/>
              </a:xfrm>
              <a:custGeom>
                <a:avLst/>
                <a:gdLst/>
                <a:ahLst/>
                <a:cxnLst>
                  <a:cxn ang="0">
                    <a:pos x="110" y="4"/>
                  </a:cxn>
                  <a:cxn ang="0">
                    <a:pos x="74"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2" y="37"/>
                      <a:pt x="94" y="53"/>
                      <a:pt x="74" y="71"/>
                    </a:cubicBezTo>
                    <a:cubicBezTo>
                      <a:pt x="44" y="99"/>
                      <a:pt x="53" y="104"/>
                      <a:pt x="74" y="134"/>
                    </a:cubicBezTo>
                    <a:cubicBezTo>
                      <a:pt x="106" y="179"/>
                      <a:pt x="109" y="228"/>
                      <a:pt x="178" y="229"/>
                    </a:cubicBezTo>
                    <a:cubicBezTo>
                      <a:pt x="185" y="258"/>
                      <a:pt x="143" y="255"/>
                      <a:pt x="126" y="249"/>
                    </a:cubicBezTo>
                    <a:cubicBezTo>
                      <a:pt x="110" y="244"/>
                      <a:pt x="85" y="223"/>
                      <a:pt x="73" y="210"/>
                    </a:cubicBezTo>
                    <a:cubicBezTo>
                      <a:pt x="46" y="182"/>
                      <a:pt x="0" y="133"/>
                      <a:pt x="10" y="90"/>
                    </a:cubicBezTo>
                    <a:cubicBezTo>
                      <a:pt x="20" y="49"/>
                      <a:pt x="76" y="24"/>
                      <a:pt x="107" y="0"/>
                    </a:cubicBezTo>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0" name="Freeform 419"/>
              <p:cNvSpPr>
                <a:spLocks/>
              </p:cNvSpPr>
              <p:nvPr/>
            </p:nvSpPr>
            <p:spPr bwMode="gray">
              <a:xfrm>
                <a:off x="6762761" y="2319852"/>
                <a:ext cx="239880" cy="247045"/>
              </a:xfrm>
              <a:custGeom>
                <a:avLst/>
                <a:gdLst/>
                <a:ahLst/>
                <a:cxnLst>
                  <a:cxn ang="0">
                    <a:pos x="177" y="266"/>
                  </a:cxn>
                  <a:cxn ang="0">
                    <a:pos x="267" y="187"/>
                  </a:cxn>
                  <a:cxn ang="0">
                    <a:pos x="282" y="34"/>
                  </a:cxn>
                  <a:cxn ang="0">
                    <a:pos x="180" y="188"/>
                  </a:cxn>
                  <a:cxn ang="0">
                    <a:pos x="170"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70"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1" y="200"/>
                      <a:pt x="144" y="155"/>
                    </a:cubicBezTo>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1" name="Freeform 420"/>
              <p:cNvSpPr>
                <a:spLocks/>
              </p:cNvSpPr>
              <p:nvPr/>
            </p:nvSpPr>
            <p:spPr bwMode="gray">
              <a:xfrm>
                <a:off x="6588303" y="2355990"/>
                <a:ext cx="182558" cy="211842"/>
              </a:xfrm>
              <a:custGeom>
                <a:avLst/>
                <a:gdLst/>
                <a:ahLst/>
                <a:cxnLst>
                  <a:cxn ang="0">
                    <a:pos x="0" y="38"/>
                  </a:cxn>
                  <a:cxn ang="0">
                    <a:pos x="23" y="96"/>
                  </a:cxn>
                  <a:cxn ang="0">
                    <a:pos x="54" y="156"/>
                  </a:cxn>
                  <a:cxn ang="0">
                    <a:pos x="91" y="288"/>
                  </a:cxn>
                  <a:cxn ang="0">
                    <a:pos x="107" y="237"/>
                  </a:cxn>
                  <a:cxn ang="0">
                    <a:pos x="157" y="244"/>
                  </a:cxn>
                  <a:cxn ang="0">
                    <a:pos x="189" y="230"/>
                  </a:cxn>
                  <a:cxn ang="0">
                    <a:pos x="212" y="247"/>
                  </a:cxn>
                  <a:cxn ang="0">
                    <a:pos x="232" y="216"/>
                  </a:cxn>
                  <a:cxn ang="0">
                    <a:pos x="173" y="180"/>
                  </a:cxn>
                  <a:cxn ang="0">
                    <a:pos x="114" y="110"/>
                  </a:cxn>
                  <a:cxn ang="0">
                    <a:pos x="75" y="35"/>
                  </a:cxn>
                  <a:cxn ang="0">
                    <a:pos x="0" y="41"/>
                  </a:cxn>
                </a:cxnLst>
                <a:rect l="0" t="0" r="r" b="b"/>
                <a:pathLst>
                  <a:path w="248" h="288">
                    <a:moveTo>
                      <a:pt x="0" y="38"/>
                    </a:moveTo>
                    <a:cubicBezTo>
                      <a:pt x="14" y="53"/>
                      <a:pt x="14" y="78"/>
                      <a:pt x="23" y="96"/>
                    </a:cubicBezTo>
                    <a:cubicBezTo>
                      <a:pt x="34" y="117"/>
                      <a:pt x="46" y="134"/>
                      <a:pt x="54" y="156"/>
                    </a:cubicBezTo>
                    <a:cubicBezTo>
                      <a:pt x="72" y="201"/>
                      <a:pt x="78" y="242"/>
                      <a:pt x="91" y="288"/>
                    </a:cubicBezTo>
                    <a:cubicBezTo>
                      <a:pt x="91" y="266"/>
                      <a:pt x="86" y="247"/>
                      <a:pt x="107" y="237"/>
                    </a:cubicBezTo>
                    <a:cubicBezTo>
                      <a:pt x="127" y="227"/>
                      <a:pt x="141" y="245"/>
                      <a:pt x="157" y="244"/>
                    </a:cubicBezTo>
                    <a:cubicBezTo>
                      <a:pt x="169" y="243"/>
                      <a:pt x="174" y="229"/>
                      <a:pt x="189" y="230"/>
                    </a:cubicBezTo>
                    <a:cubicBezTo>
                      <a:pt x="202" y="231"/>
                      <a:pt x="207" y="245"/>
                      <a:pt x="212" y="247"/>
                    </a:cubicBezTo>
                    <a:cubicBezTo>
                      <a:pt x="235" y="252"/>
                      <a:pt x="248" y="241"/>
                      <a:pt x="232" y="216"/>
                    </a:cubicBezTo>
                    <a:cubicBezTo>
                      <a:pt x="222" y="201"/>
                      <a:pt x="189" y="191"/>
                      <a:pt x="173" y="180"/>
                    </a:cubicBezTo>
                    <a:cubicBezTo>
                      <a:pt x="146" y="162"/>
                      <a:pt x="130" y="138"/>
                      <a:pt x="114" y="110"/>
                    </a:cubicBezTo>
                    <a:cubicBezTo>
                      <a:pt x="101" y="85"/>
                      <a:pt x="93" y="57"/>
                      <a:pt x="75" y="35"/>
                    </a:cubicBezTo>
                    <a:cubicBezTo>
                      <a:pt x="46" y="0"/>
                      <a:pt x="34" y="24"/>
                      <a:pt x="0" y="41"/>
                    </a:cubicBezTo>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5" name="Freeform 426"/>
              <p:cNvSpPr>
                <a:spLocks/>
              </p:cNvSpPr>
              <p:nvPr/>
            </p:nvSpPr>
            <p:spPr bwMode="gray">
              <a:xfrm>
                <a:off x="6710424" y="2429511"/>
                <a:ext cx="114021" cy="150158"/>
              </a:xfrm>
              <a:custGeom>
                <a:avLst/>
                <a:gdLst/>
                <a:ahLst/>
                <a:cxnLst>
                  <a:cxn ang="0">
                    <a:pos x="27" y="55"/>
                  </a:cxn>
                  <a:cxn ang="0">
                    <a:pos x="144" y="76"/>
                  </a:cxn>
                  <a:cxn ang="0">
                    <a:pos x="27" y="55"/>
                  </a:cxn>
                </a:cxnLst>
                <a:rect l="0" t="0" r="r" b="b"/>
                <a:pathLst>
                  <a:path w="155" h="204">
                    <a:moveTo>
                      <a:pt x="27" y="55"/>
                    </a:moveTo>
                    <a:cubicBezTo>
                      <a:pt x="77" y="0"/>
                      <a:pt x="89" y="9"/>
                      <a:pt x="144" y="76"/>
                    </a:cubicBezTo>
                    <a:cubicBezTo>
                      <a:pt x="155" y="204"/>
                      <a:pt x="0" y="167"/>
                      <a:pt x="27" y="55"/>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6" name="Freeform 427"/>
              <p:cNvSpPr>
                <a:spLocks/>
              </p:cNvSpPr>
              <p:nvPr/>
            </p:nvSpPr>
            <p:spPr bwMode="gray">
              <a:xfrm>
                <a:off x="6691420" y="2404277"/>
                <a:ext cx="152339" cy="142993"/>
              </a:xfrm>
              <a:custGeom>
                <a:avLst/>
                <a:gdLst/>
                <a:ahLst/>
                <a:cxnLst>
                  <a:cxn ang="0">
                    <a:pos x="27" y="78"/>
                  </a:cxn>
                  <a:cxn ang="0">
                    <a:pos x="196" y="66"/>
                  </a:cxn>
                  <a:cxn ang="0">
                    <a:pos x="27" y="78"/>
                  </a:cxn>
                </a:cxnLst>
                <a:rect l="0" t="0" r="r" b="b"/>
                <a:pathLst>
                  <a:path w="207" h="194">
                    <a:moveTo>
                      <a:pt x="27" y="78"/>
                    </a:moveTo>
                    <a:cubicBezTo>
                      <a:pt x="77" y="23"/>
                      <a:pt x="142" y="0"/>
                      <a:pt x="196" y="66"/>
                    </a:cubicBezTo>
                    <a:cubicBezTo>
                      <a:pt x="207" y="194"/>
                      <a:pt x="0" y="190"/>
                      <a:pt x="27" y="78"/>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7" name="Freeform 428"/>
              <p:cNvSpPr>
                <a:spLocks/>
              </p:cNvSpPr>
              <p:nvPr/>
            </p:nvSpPr>
            <p:spPr bwMode="gray">
              <a:xfrm>
                <a:off x="6592665" y="2313310"/>
                <a:ext cx="158881" cy="236141"/>
              </a:xfrm>
              <a:custGeom>
                <a:avLst/>
                <a:gdLst/>
                <a:ahLst/>
                <a:cxnLst>
                  <a:cxn ang="0">
                    <a:pos x="64" y="0"/>
                  </a:cxn>
                  <a:cxn ang="0">
                    <a:pos x="44" y="157"/>
                  </a:cxn>
                  <a:cxn ang="0">
                    <a:pos x="116" y="321"/>
                  </a:cxn>
                  <a:cxn ang="0">
                    <a:pos x="199" y="157"/>
                  </a:cxn>
                  <a:cxn ang="0">
                    <a:pos x="64" y="0"/>
                  </a:cxn>
                </a:cxnLst>
                <a:rect l="0" t="0" r="r" b="b"/>
                <a:pathLst>
                  <a:path w="216" h="321">
                    <a:moveTo>
                      <a:pt x="64" y="0"/>
                    </a:moveTo>
                    <a:cubicBezTo>
                      <a:pt x="0" y="59"/>
                      <a:pt x="8" y="82"/>
                      <a:pt x="44" y="157"/>
                    </a:cubicBezTo>
                    <a:cubicBezTo>
                      <a:pt x="69" y="212"/>
                      <a:pt x="82" y="269"/>
                      <a:pt x="116" y="321"/>
                    </a:cubicBezTo>
                    <a:cubicBezTo>
                      <a:pt x="139" y="272"/>
                      <a:pt x="216" y="223"/>
                      <a:pt x="199" y="157"/>
                    </a:cubicBezTo>
                    <a:cubicBezTo>
                      <a:pt x="190" y="118"/>
                      <a:pt x="98" y="14"/>
                      <a:pt x="64" y="0"/>
                    </a:cubicBezTo>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8" name="Freeform 429"/>
              <p:cNvSpPr>
                <a:spLocks/>
              </p:cNvSpPr>
              <p:nvPr/>
            </p:nvSpPr>
            <p:spPr bwMode="gray">
              <a:xfrm>
                <a:off x="6809803" y="2256611"/>
                <a:ext cx="209661" cy="280379"/>
              </a:xfrm>
              <a:custGeom>
                <a:avLst/>
                <a:gdLst/>
                <a:ahLst/>
                <a:cxnLst>
                  <a:cxn ang="0">
                    <a:pos x="139" y="0"/>
                  </a:cxn>
                  <a:cxn ang="0">
                    <a:pos x="14" y="230"/>
                  </a:cxn>
                  <a:cxn ang="0">
                    <a:pos x="108" y="381"/>
                  </a:cxn>
                  <a:cxn ang="0">
                    <a:pos x="139" y="0"/>
                  </a:cxn>
                </a:cxnLst>
                <a:rect l="0" t="0" r="r" b="b"/>
                <a:pathLst>
                  <a:path w="285" h="381">
                    <a:moveTo>
                      <a:pt x="139" y="0"/>
                    </a:moveTo>
                    <a:cubicBezTo>
                      <a:pt x="137" y="100"/>
                      <a:pt x="30" y="143"/>
                      <a:pt x="14" y="230"/>
                    </a:cubicBezTo>
                    <a:cubicBezTo>
                      <a:pt x="0" y="301"/>
                      <a:pt x="66" y="333"/>
                      <a:pt x="108" y="381"/>
                    </a:cubicBezTo>
                    <a:cubicBezTo>
                      <a:pt x="181" y="285"/>
                      <a:pt x="285" y="67"/>
                      <a:pt x="139" y="0"/>
                    </a:cubicBez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99" name="Freeform 430"/>
              <p:cNvSpPr>
                <a:spLocks/>
              </p:cNvSpPr>
              <p:nvPr/>
            </p:nvSpPr>
            <p:spPr bwMode="gray">
              <a:xfrm>
                <a:off x="6759646" y="3542926"/>
                <a:ext cx="114021" cy="34580"/>
              </a:xfrm>
              <a:custGeom>
                <a:avLst/>
                <a:gdLst/>
                <a:ahLst/>
                <a:cxnLst>
                  <a:cxn ang="0">
                    <a:pos x="0" y="45"/>
                  </a:cxn>
                  <a:cxn ang="0">
                    <a:pos x="155" y="44"/>
                  </a:cxn>
                  <a:cxn ang="0">
                    <a:pos x="0" y="19"/>
                  </a:cxn>
                </a:cxnLst>
                <a:rect l="0" t="0" r="r" b="b"/>
                <a:pathLst>
                  <a:path w="155" h="47">
                    <a:moveTo>
                      <a:pt x="0" y="45"/>
                    </a:moveTo>
                    <a:cubicBezTo>
                      <a:pt x="51" y="45"/>
                      <a:pt x="104" y="47"/>
                      <a:pt x="155" y="44"/>
                    </a:cubicBezTo>
                    <a:cubicBezTo>
                      <a:pt x="142" y="0"/>
                      <a:pt x="41" y="19"/>
                      <a:pt x="0" y="19"/>
                    </a:cubicBezTo>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0" name="Freeform 431"/>
              <p:cNvSpPr>
                <a:spLocks/>
              </p:cNvSpPr>
              <p:nvPr/>
            </p:nvSpPr>
            <p:spPr bwMode="gray">
              <a:xfrm>
                <a:off x="6783945" y="1717973"/>
                <a:ext cx="205300" cy="330224"/>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1" name="Freeform 432"/>
              <p:cNvSpPr>
                <a:spLocks/>
              </p:cNvSpPr>
              <p:nvPr/>
            </p:nvSpPr>
            <p:spPr bwMode="gray">
              <a:xfrm>
                <a:off x="6783945" y="1717973"/>
                <a:ext cx="205300" cy="330224"/>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2" name="Freeform 433"/>
              <p:cNvSpPr>
                <a:spLocks/>
              </p:cNvSpPr>
              <p:nvPr/>
            </p:nvSpPr>
            <p:spPr bwMode="gray">
              <a:xfrm>
                <a:off x="6519766" y="1695854"/>
                <a:ext cx="424618" cy="386299"/>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4" name="Freeform 444"/>
              <p:cNvSpPr>
                <a:spLocks/>
              </p:cNvSpPr>
              <p:nvPr/>
            </p:nvSpPr>
            <p:spPr bwMode="gray">
              <a:xfrm>
                <a:off x="7233798" y="3867231"/>
                <a:ext cx="115267" cy="324616"/>
              </a:xfrm>
              <a:custGeom>
                <a:avLst/>
                <a:gdLst/>
                <a:ahLst/>
                <a:cxnLst>
                  <a:cxn ang="0">
                    <a:pos x="0" y="0"/>
                  </a:cxn>
                  <a:cxn ang="0">
                    <a:pos x="8" y="130"/>
                  </a:cxn>
                  <a:cxn ang="0">
                    <a:pos x="44" y="243"/>
                  </a:cxn>
                  <a:cxn ang="0">
                    <a:pos x="139" y="441"/>
                  </a:cxn>
                  <a:cxn ang="0">
                    <a:pos x="98" y="202"/>
                  </a:cxn>
                  <a:cxn ang="0">
                    <a:pos x="26" y="0"/>
                  </a:cxn>
                </a:cxnLst>
                <a:rect l="0" t="0" r="r" b="b"/>
                <a:pathLst>
                  <a:path w="157" h="441">
                    <a:moveTo>
                      <a:pt x="0" y="0"/>
                    </a:moveTo>
                    <a:cubicBezTo>
                      <a:pt x="25" y="31"/>
                      <a:pt x="10" y="89"/>
                      <a:pt x="8" y="130"/>
                    </a:cubicBezTo>
                    <a:cubicBezTo>
                      <a:pt x="5" y="187"/>
                      <a:pt x="14" y="198"/>
                      <a:pt x="44" y="243"/>
                    </a:cubicBezTo>
                    <a:cubicBezTo>
                      <a:pt x="84" y="302"/>
                      <a:pt x="97" y="379"/>
                      <a:pt x="139" y="441"/>
                    </a:cubicBezTo>
                    <a:cubicBezTo>
                      <a:pt x="157" y="374"/>
                      <a:pt x="122" y="264"/>
                      <a:pt x="98" y="202"/>
                    </a:cubicBezTo>
                    <a:cubicBezTo>
                      <a:pt x="84" y="166"/>
                      <a:pt x="57" y="9"/>
                      <a:pt x="26"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5" name="Freeform 445"/>
              <p:cNvSpPr>
                <a:spLocks/>
              </p:cNvSpPr>
              <p:nvPr/>
            </p:nvSpPr>
            <p:spPr bwMode="gray">
              <a:xfrm>
                <a:off x="6998902" y="2492129"/>
                <a:ext cx="172900" cy="1040516"/>
              </a:xfrm>
              <a:custGeom>
                <a:avLst/>
                <a:gdLst/>
                <a:ahLst/>
                <a:cxnLst>
                  <a:cxn ang="0">
                    <a:pos x="182" y="6"/>
                  </a:cxn>
                  <a:cxn ang="0">
                    <a:pos x="153" y="153"/>
                  </a:cxn>
                  <a:cxn ang="0">
                    <a:pos x="113" y="319"/>
                  </a:cxn>
                  <a:cxn ang="0">
                    <a:pos x="12" y="625"/>
                  </a:cxn>
                  <a:cxn ang="0">
                    <a:pos x="13" y="772"/>
                  </a:cxn>
                  <a:cxn ang="0">
                    <a:pos x="61" y="907"/>
                  </a:cxn>
                  <a:cxn ang="0">
                    <a:pos x="159" y="1190"/>
                  </a:cxn>
                  <a:cxn ang="0">
                    <a:pos x="172" y="1414"/>
                  </a:cxn>
                  <a:cxn ang="0">
                    <a:pos x="221" y="1268"/>
                  </a:cxn>
                  <a:cxn ang="0">
                    <a:pos x="215" y="1104"/>
                  </a:cxn>
                  <a:cxn ang="0">
                    <a:pos x="186" y="1037"/>
                  </a:cxn>
                  <a:cxn ang="0">
                    <a:pos x="171" y="962"/>
                  </a:cxn>
                  <a:cxn ang="0">
                    <a:pos x="109" y="812"/>
                  </a:cxn>
                  <a:cxn ang="0">
                    <a:pos x="58" y="678"/>
                  </a:cxn>
                  <a:cxn ang="0">
                    <a:pos x="74" y="514"/>
                  </a:cxn>
                  <a:cxn ang="0">
                    <a:pos x="140" y="392"/>
                  </a:cxn>
                  <a:cxn ang="0">
                    <a:pos x="182" y="231"/>
                  </a:cxn>
                  <a:cxn ang="0">
                    <a:pos x="179" y="0"/>
                  </a:cxn>
                </a:cxnLst>
                <a:rect l="0" t="0" r="r" b="b"/>
                <a:pathLst>
                  <a:path w="235" h="1414">
                    <a:moveTo>
                      <a:pt x="182" y="6"/>
                    </a:moveTo>
                    <a:cubicBezTo>
                      <a:pt x="187" y="55"/>
                      <a:pt x="160" y="106"/>
                      <a:pt x="153" y="153"/>
                    </a:cubicBezTo>
                    <a:cubicBezTo>
                      <a:pt x="143" y="209"/>
                      <a:pt x="124" y="263"/>
                      <a:pt x="113" y="319"/>
                    </a:cubicBezTo>
                    <a:cubicBezTo>
                      <a:pt x="94" y="425"/>
                      <a:pt x="35" y="523"/>
                      <a:pt x="12" y="625"/>
                    </a:cubicBezTo>
                    <a:cubicBezTo>
                      <a:pt x="0" y="678"/>
                      <a:pt x="0" y="720"/>
                      <a:pt x="13" y="772"/>
                    </a:cubicBezTo>
                    <a:cubicBezTo>
                      <a:pt x="24" y="821"/>
                      <a:pt x="44" y="860"/>
                      <a:pt x="61" y="907"/>
                    </a:cubicBezTo>
                    <a:cubicBezTo>
                      <a:pt x="92" y="1001"/>
                      <a:pt x="129" y="1095"/>
                      <a:pt x="159" y="1190"/>
                    </a:cubicBezTo>
                    <a:cubicBezTo>
                      <a:pt x="180" y="1256"/>
                      <a:pt x="174" y="1340"/>
                      <a:pt x="172" y="1414"/>
                    </a:cubicBezTo>
                    <a:cubicBezTo>
                      <a:pt x="227" y="1400"/>
                      <a:pt x="221" y="1312"/>
                      <a:pt x="221" y="1268"/>
                    </a:cubicBezTo>
                    <a:cubicBezTo>
                      <a:pt x="221" y="1215"/>
                      <a:pt x="235" y="1154"/>
                      <a:pt x="215" y="1104"/>
                    </a:cubicBezTo>
                    <a:cubicBezTo>
                      <a:pt x="207" y="1083"/>
                      <a:pt x="193" y="1060"/>
                      <a:pt x="186" y="1037"/>
                    </a:cubicBezTo>
                    <a:cubicBezTo>
                      <a:pt x="178" y="1012"/>
                      <a:pt x="179" y="986"/>
                      <a:pt x="171" y="962"/>
                    </a:cubicBezTo>
                    <a:cubicBezTo>
                      <a:pt x="154" y="910"/>
                      <a:pt x="129" y="862"/>
                      <a:pt x="109" y="812"/>
                    </a:cubicBezTo>
                    <a:cubicBezTo>
                      <a:pt x="92" y="767"/>
                      <a:pt x="67" y="724"/>
                      <a:pt x="58" y="678"/>
                    </a:cubicBezTo>
                    <a:cubicBezTo>
                      <a:pt x="47" y="622"/>
                      <a:pt x="65" y="567"/>
                      <a:pt x="74" y="514"/>
                    </a:cubicBezTo>
                    <a:cubicBezTo>
                      <a:pt x="82" y="461"/>
                      <a:pt x="109" y="435"/>
                      <a:pt x="140" y="392"/>
                    </a:cubicBezTo>
                    <a:cubicBezTo>
                      <a:pt x="173" y="346"/>
                      <a:pt x="182" y="291"/>
                      <a:pt x="182" y="231"/>
                    </a:cubicBezTo>
                    <a:cubicBezTo>
                      <a:pt x="182" y="161"/>
                      <a:pt x="203" y="66"/>
                      <a:pt x="179"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6" name="Freeform 446"/>
              <p:cNvSpPr>
                <a:spLocks/>
              </p:cNvSpPr>
              <p:nvPr/>
            </p:nvSpPr>
            <p:spPr bwMode="gray">
              <a:xfrm>
                <a:off x="7054978" y="2357236"/>
                <a:ext cx="87541" cy="118694"/>
              </a:xfrm>
              <a:custGeom>
                <a:avLst/>
                <a:gdLst/>
                <a:ahLst/>
                <a:cxnLst>
                  <a:cxn ang="0">
                    <a:pos x="2" y="150"/>
                  </a:cxn>
                  <a:cxn ang="0">
                    <a:pos x="74" y="85"/>
                  </a:cxn>
                  <a:cxn ang="0">
                    <a:pos x="0" y="0"/>
                  </a:cxn>
                  <a:cxn ang="0">
                    <a:pos x="58" y="46"/>
                  </a:cxn>
                  <a:cxn ang="0">
                    <a:pos x="119" y="97"/>
                  </a:cxn>
                  <a:cxn ang="0">
                    <a:pos x="5" y="156"/>
                  </a:cxn>
                </a:cxnLst>
                <a:rect l="0" t="0" r="r" b="b"/>
                <a:pathLst>
                  <a:path w="119" h="161">
                    <a:moveTo>
                      <a:pt x="2" y="150"/>
                    </a:moveTo>
                    <a:cubicBezTo>
                      <a:pt x="25" y="129"/>
                      <a:pt x="51" y="107"/>
                      <a:pt x="74" y="85"/>
                    </a:cubicBezTo>
                    <a:cubicBezTo>
                      <a:pt x="44" y="60"/>
                      <a:pt x="26" y="28"/>
                      <a:pt x="0" y="0"/>
                    </a:cubicBezTo>
                    <a:cubicBezTo>
                      <a:pt x="23" y="7"/>
                      <a:pt x="42" y="29"/>
                      <a:pt x="58" y="46"/>
                    </a:cubicBezTo>
                    <a:cubicBezTo>
                      <a:pt x="77" y="65"/>
                      <a:pt x="99" y="78"/>
                      <a:pt x="119" y="97"/>
                    </a:cubicBezTo>
                    <a:cubicBezTo>
                      <a:pt x="84" y="117"/>
                      <a:pt x="50" y="161"/>
                      <a:pt x="5" y="156"/>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7" name="Freeform 452"/>
              <p:cNvSpPr>
                <a:spLocks/>
              </p:cNvSpPr>
              <p:nvPr/>
            </p:nvSpPr>
            <p:spPr bwMode="gray">
              <a:xfrm>
                <a:off x="7238159" y="2486833"/>
                <a:ext cx="69783" cy="374461"/>
              </a:xfrm>
              <a:custGeom>
                <a:avLst/>
                <a:gdLst/>
                <a:ahLst/>
                <a:cxnLst>
                  <a:cxn ang="0">
                    <a:pos x="60" y="135"/>
                  </a:cxn>
                  <a:cxn ang="0">
                    <a:pos x="36" y="251"/>
                  </a:cxn>
                  <a:cxn ang="0">
                    <a:pos x="26" y="385"/>
                  </a:cxn>
                  <a:cxn ang="0">
                    <a:pos x="17" y="509"/>
                  </a:cxn>
                  <a:cxn ang="0">
                    <a:pos x="17" y="411"/>
                  </a:cxn>
                  <a:cxn ang="0">
                    <a:pos x="27" y="301"/>
                  </a:cxn>
                  <a:cxn ang="0">
                    <a:pos x="36" y="183"/>
                  </a:cxn>
                  <a:cxn ang="0">
                    <a:pos x="95" y="0"/>
                  </a:cxn>
                  <a:cxn ang="0">
                    <a:pos x="60" y="135"/>
                  </a:cxn>
                </a:cxnLst>
                <a:rect l="0" t="0" r="r" b="b"/>
                <a:pathLst>
                  <a:path w="95" h="509">
                    <a:moveTo>
                      <a:pt x="60" y="135"/>
                    </a:moveTo>
                    <a:cubicBezTo>
                      <a:pt x="52" y="173"/>
                      <a:pt x="44" y="211"/>
                      <a:pt x="36" y="251"/>
                    </a:cubicBezTo>
                    <a:cubicBezTo>
                      <a:pt x="28" y="296"/>
                      <a:pt x="30" y="339"/>
                      <a:pt x="26" y="385"/>
                    </a:cubicBezTo>
                    <a:cubicBezTo>
                      <a:pt x="22" y="420"/>
                      <a:pt x="29" y="479"/>
                      <a:pt x="17" y="509"/>
                    </a:cubicBezTo>
                    <a:cubicBezTo>
                      <a:pt x="0" y="486"/>
                      <a:pt x="13" y="438"/>
                      <a:pt x="17" y="411"/>
                    </a:cubicBezTo>
                    <a:cubicBezTo>
                      <a:pt x="23" y="375"/>
                      <a:pt x="22" y="337"/>
                      <a:pt x="27" y="301"/>
                    </a:cubicBezTo>
                    <a:cubicBezTo>
                      <a:pt x="33" y="263"/>
                      <a:pt x="36" y="224"/>
                      <a:pt x="36" y="183"/>
                    </a:cubicBezTo>
                    <a:cubicBezTo>
                      <a:pt x="36" y="118"/>
                      <a:pt x="59" y="51"/>
                      <a:pt x="95" y="0"/>
                    </a:cubicBezTo>
                    <a:cubicBezTo>
                      <a:pt x="91" y="46"/>
                      <a:pt x="69" y="89"/>
                      <a:pt x="60" y="135"/>
                    </a:cubicBez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8" name="Freeform 454"/>
              <p:cNvSpPr>
                <a:spLocks/>
              </p:cNvSpPr>
              <p:nvPr/>
            </p:nvSpPr>
            <p:spPr bwMode="gray">
              <a:xfrm>
                <a:off x="7058405" y="2467830"/>
                <a:ext cx="76637" cy="29907"/>
              </a:xfrm>
              <a:custGeom>
                <a:avLst/>
                <a:gdLst/>
                <a:ahLst/>
                <a:cxnLst>
                  <a:cxn ang="0">
                    <a:pos x="6" y="6"/>
                  </a:cxn>
                  <a:cxn ang="0">
                    <a:pos x="104" y="38"/>
                  </a:cxn>
                  <a:cxn ang="0">
                    <a:pos x="0" y="0"/>
                  </a:cxn>
                </a:cxnLst>
                <a:rect l="0" t="0" r="r" b="b"/>
                <a:pathLst>
                  <a:path w="104" h="41">
                    <a:moveTo>
                      <a:pt x="6" y="6"/>
                    </a:moveTo>
                    <a:cubicBezTo>
                      <a:pt x="44" y="26"/>
                      <a:pt x="69" y="33"/>
                      <a:pt x="104" y="38"/>
                    </a:cubicBezTo>
                    <a:cubicBezTo>
                      <a:pt x="74" y="41"/>
                      <a:pt x="9" y="19"/>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09" name="Freeform 455"/>
              <p:cNvSpPr>
                <a:spLocks/>
              </p:cNvSpPr>
              <p:nvPr/>
            </p:nvSpPr>
            <p:spPr bwMode="gray">
              <a:xfrm>
                <a:off x="6433160" y="2396178"/>
                <a:ext cx="177262" cy="676336"/>
              </a:xfrm>
              <a:custGeom>
                <a:avLst/>
                <a:gdLst/>
                <a:ahLst/>
                <a:cxnLst>
                  <a:cxn ang="0">
                    <a:pos x="113" y="15"/>
                  </a:cxn>
                  <a:cxn ang="0">
                    <a:pos x="54" y="101"/>
                  </a:cxn>
                  <a:cxn ang="0">
                    <a:pos x="94" y="129"/>
                  </a:cxn>
                  <a:cxn ang="0">
                    <a:pos x="129" y="171"/>
                  </a:cxn>
                  <a:cxn ang="0">
                    <a:pos x="22" y="186"/>
                  </a:cxn>
                  <a:cxn ang="0">
                    <a:pos x="54" y="374"/>
                  </a:cxn>
                  <a:cxn ang="0">
                    <a:pos x="106" y="540"/>
                  </a:cxn>
                  <a:cxn ang="0">
                    <a:pos x="187" y="685"/>
                  </a:cxn>
                  <a:cxn ang="0">
                    <a:pos x="236" y="831"/>
                  </a:cxn>
                  <a:cxn ang="0">
                    <a:pos x="211" y="919"/>
                  </a:cxn>
                  <a:cxn ang="0">
                    <a:pos x="193" y="763"/>
                  </a:cxn>
                  <a:cxn ang="0">
                    <a:pos x="136" y="634"/>
                  </a:cxn>
                  <a:cxn ang="0">
                    <a:pos x="41" y="355"/>
                  </a:cxn>
                  <a:cxn ang="0">
                    <a:pos x="9" y="166"/>
                  </a:cxn>
                  <a:cxn ang="0">
                    <a:pos x="106" y="175"/>
                  </a:cxn>
                  <a:cxn ang="0">
                    <a:pos x="24" y="100"/>
                  </a:cxn>
                  <a:cxn ang="0">
                    <a:pos x="112" y="0"/>
                  </a:cxn>
                  <a:cxn ang="0">
                    <a:pos x="54" y="110"/>
                  </a:cxn>
                </a:cxnLst>
                <a:rect l="0" t="0" r="r" b="b"/>
                <a:pathLst>
                  <a:path w="241" h="919">
                    <a:moveTo>
                      <a:pt x="113" y="15"/>
                    </a:moveTo>
                    <a:cubicBezTo>
                      <a:pt x="116" y="41"/>
                      <a:pt x="76" y="89"/>
                      <a:pt x="54" y="101"/>
                    </a:cubicBezTo>
                    <a:cubicBezTo>
                      <a:pt x="60" y="116"/>
                      <a:pt x="81" y="117"/>
                      <a:pt x="94" y="129"/>
                    </a:cubicBezTo>
                    <a:cubicBezTo>
                      <a:pt x="108" y="141"/>
                      <a:pt x="113" y="162"/>
                      <a:pt x="129" y="171"/>
                    </a:cubicBezTo>
                    <a:cubicBezTo>
                      <a:pt x="96" y="186"/>
                      <a:pt x="58" y="182"/>
                      <a:pt x="22" y="186"/>
                    </a:cubicBezTo>
                    <a:cubicBezTo>
                      <a:pt x="18" y="259"/>
                      <a:pt x="37" y="306"/>
                      <a:pt x="54" y="374"/>
                    </a:cubicBezTo>
                    <a:cubicBezTo>
                      <a:pt x="68" y="431"/>
                      <a:pt x="81" y="488"/>
                      <a:pt x="106" y="540"/>
                    </a:cubicBezTo>
                    <a:cubicBezTo>
                      <a:pt x="130" y="590"/>
                      <a:pt x="166" y="632"/>
                      <a:pt x="187" y="685"/>
                    </a:cubicBezTo>
                    <a:cubicBezTo>
                      <a:pt x="205" y="732"/>
                      <a:pt x="228" y="780"/>
                      <a:pt x="236" y="831"/>
                    </a:cubicBezTo>
                    <a:cubicBezTo>
                      <a:pt x="241" y="862"/>
                      <a:pt x="237" y="899"/>
                      <a:pt x="211" y="919"/>
                    </a:cubicBezTo>
                    <a:cubicBezTo>
                      <a:pt x="207" y="860"/>
                      <a:pt x="214" y="817"/>
                      <a:pt x="193" y="763"/>
                    </a:cubicBezTo>
                    <a:cubicBezTo>
                      <a:pt x="177" y="721"/>
                      <a:pt x="155" y="678"/>
                      <a:pt x="136" y="634"/>
                    </a:cubicBezTo>
                    <a:cubicBezTo>
                      <a:pt x="98" y="543"/>
                      <a:pt x="56" y="451"/>
                      <a:pt x="41" y="355"/>
                    </a:cubicBezTo>
                    <a:cubicBezTo>
                      <a:pt x="31" y="297"/>
                      <a:pt x="0" y="226"/>
                      <a:pt x="9" y="166"/>
                    </a:cubicBezTo>
                    <a:cubicBezTo>
                      <a:pt x="42" y="164"/>
                      <a:pt x="75" y="180"/>
                      <a:pt x="106" y="175"/>
                    </a:cubicBezTo>
                    <a:cubicBezTo>
                      <a:pt x="99" y="141"/>
                      <a:pt x="25" y="130"/>
                      <a:pt x="24" y="100"/>
                    </a:cubicBezTo>
                    <a:cubicBezTo>
                      <a:pt x="24" y="77"/>
                      <a:pt x="91" y="6"/>
                      <a:pt x="112" y="0"/>
                    </a:cubicBezTo>
                    <a:cubicBezTo>
                      <a:pt x="98" y="36"/>
                      <a:pt x="69" y="74"/>
                      <a:pt x="54" y="11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0" name="Freeform 456"/>
              <p:cNvSpPr>
                <a:spLocks/>
              </p:cNvSpPr>
              <p:nvPr/>
            </p:nvSpPr>
            <p:spPr bwMode="gray">
              <a:xfrm>
                <a:off x="6162128" y="2513314"/>
                <a:ext cx="292840" cy="1079458"/>
              </a:xfrm>
              <a:custGeom>
                <a:avLst/>
                <a:gdLst/>
                <a:ahLst/>
                <a:cxnLst>
                  <a:cxn ang="0">
                    <a:pos x="246" y="894"/>
                  </a:cxn>
                  <a:cxn ang="0">
                    <a:pos x="78" y="946"/>
                  </a:cxn>
                  <a:cxn ang="0">
                    <a:pos x="44" y="1005"/>
                  </a:cxn>
                  <a:cxn ang="0">
                    <a:pos x="124" y="1031"/>
                  </a:cxn>
                  <a:cxn ang="0">
                    <a:pos x="74" y="973"/>
                  </a:cxn>
                  <a:cxn ang="0">
                    <a:pos x="128" y="983"/>
                  </a:cxn>
                  <a:cxn ang="0">
                    <a:pos x="184" y="965"/>
                  </a:cxn>
                  <a:cxn ang="0">
                    <a:pos x="191" y="998"/>
                  </a:cxn>
                  <a:cxn ang="0">
                    <a:pos x="236" y="992"/>
                  </a:cxn>
                  <a:cxn ang="0">
                    <a:pos x="234" y="1083"/>
                  </a:cxn>
                  <a:cxn ang="0">
                    <a:pos x="262" y="1168"/>
                  </a:cxn>
                  <a:cxn ang="0">
                    <a:pos x="203" y="1242"/>
                  </a:cxn>
                  <a:cxn ang="0">
                    <a:pos x="268" y="1259"/>
                  </a:cxn>
                  <a:cxn ang="0">
                    <a:pos x="295" y="1316"/>
                  </a:cxn>
                  <a:cxn ang="0">
                    <a:pos x="291" y="1359"/>
                  </a:cxn>
                  <a:cxn ang="0">
                    <a:pos x="304" y="1439"/>
                  </a:cxn>
                  <a:cxn ang="0">
                    <a:pos x="386" y="1432"/>
                  </a:cxn>
                  <a:cxn ang="0">
                    <a:pos x="392" y="1361"/>
                  </a:cxn>
                  <a:cxn ang="0">
                    <a:pos x="302" y="1190"/>
                  </a:cxn>
                  <a:cxn ang="0">
                    <a:pos x="262" y="988"/>
                  </a:cxn>
                  <a:cxn ang="0">
                    <a:pos x="259" y="766"/>
                  </a:cxn>
                  <a:cxn ang="0">
                    <a:pos x="239" y="541"/>
                  </a:cxn>
                  <a:cxn ang="0">
                    <a:pos x="239" y="381"/>
                  </a:cxn>
                  <a:cxn ang="0">
                    <a:pos x="204" y="267"/>
                  </a:cxn>
                  <a:cxn ang="0">
                    <a:pos x="161" y="146"/>
                  </a:cxn>
                  <a:cxn ang="0">
                    <a:pos x="145" y="0"/>
                  </a:cxn>
                  <a:cxn ang="0">
                    <a:pos x="170" y="245"/>
                  </a:cxn>
                  <a:cxn ang="0">
                    <a:pos x="193" y="375"/>
                  </a:cxn>
                  <a:cxn ang="0">
                    <a:pos x="209" y="476"/>
                  </a:cxn>
                  <a:cxn ang="0">
                    <a:pos x="184" y="477"/>
                  </a:cxn>
                  <a:cxn ang="0">
                    <a:pos x="217" y="583"/>
                  </a:cxn>
                  <a:cxn ang="0">
                    <a:pos x="226" y="708"/>
                  </a:cxn>
                  <a:cxn ang="0">
                    <a:pos x="249" y="819"/>
                  </a:cxn>
                  <a:cxn ang="0">
                    <a:pos x="252" y="903"/>
                  </a:cxn>
                </a:cxnLst>
                <a:rect l="0" t="0" r="r" b="b"/>
                <a:pathLst>
                  <a:path w="398" h="1467">
                    <a:moveTo>
                      <a:pt x="246" y="894"/>
                    </a:moveTo>
                    <a:cubicBezTo>
                      <a:pt x="249" y="955"/>
                      <a:pt x="115" y="932"/>
                      <a:pt x="78" y="946"/>
                    </a:cubicBezTo>
                    <a:cubicBezTo>
                      <a:pt x="50" y="957"/>
                      <a:pt x="0" y="986"/>
                      <a:pt x="44" y="1005"/>
                    </a:cubicBezTo>
                    <a:cubicBezTo>
                      <a:pt x="71" y="1016"/>
                      <a:pt x="102" y="1008"/>
                      <a:pt x="124" y="1031"/>
                    </a:cubicBezTo>
                    <a:cubicBezTo>
                      <a:pt x="119" y="1009"/>
                      <a:pt x="55" y="994"/>
                      <a:pt x="74" y="973"/>
                    </a:cubicBezTo>
                    <a:cubicBezTo>
                      <a:pt x="89" y="955"/>
                      <a:pt x="115" y="980"/>
                      <a:pt x="128" y="983"/>
                    </a:cubicBezTo>
                    <a:cubicBezTo>
                      <a:pt x="152" y="987"/>
                      <a:pt x="163" y="976"/>
                      <a:pt x="184" y="965"/>
                    </a:cubicBezTo>
                    <a:cubicBezTo>
                      <a:pt x="191" y="973"/>
                      <a:pt x="192" y="986"/>
                      <a:pt x="191" y="998"/>
                    </a:cubicBezTo>
                    <a:cubicBezTo>
                      <a:pt x="205" y="995"/>
                      <a:pt x="219" y="989"/>
                      <a:pt x="236" y="992"/>
                    </a:cubicBezTo>
                    <a:cubicBezTo>
                      <a:pt x="238" y="1036"/>
                      <a:pt x="205" y="1048"/>
                      <a:pt x="234" y="1083"/>
                    </a:cubicBezTo>
                    <a:cubicBezTo>
                      <a:pt x="257" y="1110"/>
                      <a:pt x="271" y="1125"/>
                      <a:pt x="262" y="1168"/>
                    </a:cubicBezTo>
                    <a:cubicBezTo>
                      <a:pt x="254" y="1208"/>
                      <a:pt x="214" y="1200"/>
                      <a:pt x="203" y="1242"/>
                    </a:cubicBezTo>
                    <a:cubicBezTo>
                      <a:pt x="188" y="1298"/>
                      <a:pt x="235" y="1264"/>
                      <a:pt x="268" y="1259"/>
                    </a:cubicBezTo>
                    <a:cubicBezTo>
                      <a:pt x="271" y="1285"/>
                      <a:pt x="284" y="1295"/>
                      <a:pt x="295" y="1316"/>
                    </a:cubicBezTo>
                    <a:cubicBezTo>
                      <a:pt x="309" y="1343"/>
                      <a:pt x="302" y="1341"/>
                      <a:pt x="291" y="1359"/>
                    </a:cubicBezTo>
                    <a:cubicBezTo>
                      <a:pt x="278" y="1381"/>
                      <a:pt x="247" y="1439"/>
                      <a:pt x="304" y="1439"/>
                    </a:cubicBezTo>
                    <a:cubicBezTo>
                      <a:pt x="319" y="1467"/>
                      <a:pt x="369" y="1455"/>
                      <a:pt x="386" y="1432"/>
                    </a:cubicBezTo>
                    <a:cubicBezTo>
                      <a:pt x="398" y="1416"/>
                      <a:pt x="394" y="1386"/>
                      <a:pt x="392" y="1361"/>
                    </a:cubicBezTo>
                    <a:cubicBezTo>
                      <a:pt x="338" y="1323"/>
                      <a:pt x="318" y="1253"/>
                      <a:pt x="302" y="1190"/>
                    </a:cubicBezTo>
                    <a:cubicBezTo>
                      <a:pt x="285" y="1123"/>
                      <a:pt x="264" y="1060"/>
                      <a:pt x="262" y="988"/>
                    </a:cubicBezTo>
                    <a:cubicBezTo>
                      <a:pt x="261" y="914"/>
                      <a:pt x="266" y="842"/>
                      <a:pt x="259" y="766"/>
                    </a:cubicBezTo>
                    <a:cubicBezTo>
                      <a:pt x="252" y="690"/>
                      <a:pt x="239" y="619"/>
                      <a:pt x="239" y="541"/>
                    </a:cubicBezTo>
                    <a:cubicBezTo>
                      <a:pt x="239" y="491"/>
                      <a:pt x="249" y="430"/>
                      <a:pt x="239" y="381"/>
                    </a:cubicBezTo>
                    <a:cubicBezTo>
                      <a:pt x="232" y="345"/>
                      <a:pt x="215" y="303"/>
                      <a:pt x="204" y="267"/>
                    </a:cubicBezTo>
                    <a:cubicBezTo>
                      <a:pt x="191" y="227"/>
                      <a:pt x="171" y="188"/>
                      <a:pt x="161" y="146"/>
                    </a:cubicBezTo>
                    <a:cubicBezTo>
                      <a:pt x="151" y="101"/>
                      <a:pt x="158" y="42"/>
                      <a:pt x="145" y="0"/>
                    </a:cubicBezTo>
                    <a:cubicBezTo>
                      <a:pt x="136" y="85"/>
                      <a:pt x="159" y="162"/>
                      <a:pt x="170" y="245"/>
                    </a:cubicBezTo>
                    <a:cubicBezTo>
                      <a:pt x="176" y="290"/>
                      <a:pt x="181" y="331"/>
                      <a:pt x="193" y="375"/>
                    </a:cubicBezTo>
                    <a:cubicBezTo>
                      <a:pt x="200" y="404"/>
                      <a:pt x="215" y="446"/>
                      <a:pt x="209" y="476"/>
                    </a:cubicBezTo>
                    <a:cubicBezTo>
                      <a:pt x="202" y="474"/>
                      <a:pt x="192" y="478"/>
                      <a:pt x="184" y="477"/>
                    </a:cubicBezTo>
                    <a:cubicBezTo>
                      <a:pt x="178" y="514"/>
                      <a:pt x="208" y="549"/>
                      <a:pt x="217" y="583"/>
                    </a:cubicBezTo>
                    <a:cubicBezTo>
                      <a:pt x="229" y="624"/>
                      <a:pt x="224" y="664"/>
                      <a:pt x="226" y="708"/>
                    </a:cubicBezTo>
                    <a:cubicBezTo>
                      <a:pt x="228" y="743"/>
                      <a:pt x="257" y="784"/>
                      <a:pt x="249" y="819"/>
                    </a:cubicBezTo>
                    <a:cubicBezTo>
                      <a:pt x="241" y="858"/>
                      <a:pt x="217" y="866"/>
                      <a:pt x="252" y="903"/>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1" name="Freeform 458"/>
              <p:cNvSpPr>
                <a:spLocks/>
              </p:cNvSpPr>
              <p:nvPr/>
            </p:nvSpPr>
            <p:spPr bwMode="gray">
              <a:xfrm>
                <a:off x="6186427" y="3125473"/>
                <a:ext cx="137697" cy="42680"/>
              </a:xfrm>
              <a:custGeom>
                <a:avLst/>
                <a:gdLst/>
                <a:ahLst/>
                <a:cxnLst>
                  <a:cxn ang="0">
                    <a:pos x="174" y="58"/>
                  </a:cxn>
                  <a:cxn ang="0">
                    <a:pos x="105" y="26"/>
                  </a:cxn>
                  <a:cxn ang="0">
                    <a:pos x="8" y="35"/>
                  </a:cxn>
                  <a:cxn ang="0">
                    <a:pos x="108" y="6"/>
                  </a:cxn>
                  <a:cxn ang="0">
                    <a:pos x="187" y="55"/>
                  </a:cxn>
                </a:cxnLst>
                <a:rect l="0" t="0" r="r" b="b"/>
                <a:pathLst>
                  <a:path w="187" h="58">
                    <a:moveTo>
                      <a:pt x="174" y="58"/>
                    </a:moveTo>
                    <a:cubicBezTo>
                      <a:pt x="176" y="32"/>
                      <a:pt x="125" y="23"/>
                      <a:pt x="105" y="26"/>
                    </a:cubicBezTo>
                    <a:cubicBezTo>
                      <a:pt x="70" y="30"/>
                      <a:pt x="46" y="44"/>
                      <a:pt x="8" y="35"/>
                    </a:cubicBezTo>
                    <a:cubicBezTo>
                      <a:pt x="0" y="0"/>
                      <a:pt x="85" y="2"/>
                      <a:pt x="108" y="6"/>
                    </a:cubicBezTo>
                    <a:cubicBezTo>
                      <a:pt x="143" y="13"/>
                      <a:pt x="162" y="33"/>
                      <a:pt x="187" y="55"/>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2" name="Freeform 461"/>
              <p:cNvSpPr>
                <a:spLocks/>
              </p:cNvSpPr>
              <p:nvPr/>
            </p:nvSpPr>
            <p:spPr bwMode="gray">
              <a:xfrm>
                <a:off x="6558708" y="2407393"/>
                <a:ext cx="43614" cy="175081"/>
              </a:xfrm>
              <a:custGeom>
                <a:avLst/>
                <a:gdLst/>
                <a:ahLst/>
                <a:cxnLst>
                  <a:cxn ang="0">
                    <a:pos x="59" y="39"/>
                  </a:cxn>
                  <a:cxn ang="0">
                    <a:pos x="45" y="238"/>
                  </a:cxn>
                  <a:cxn ang="0">
                    <a:pos x="56" y="0"/>
                  </a:cxn>
                </a:cxnLst>
                <a:rect l="0" t="0" r="r" b="b"/>
                <a:pathLst>
                  <a:path w="59" h="238">
                    <a:moveTo>
                      <a:pt x="59" y="39"/>
                    </a:moveTo>
                    <a:cubicBezTo>
                      <a:pt x="26" y="97"/>
                      <a:pt x="49" y="175"/>
                      <a:pt x="45" y="238"/>
                    </a:cubicBezTo>
                    <a:cubicBezTo>
                      <a:pt x="0" y="222"/>
                      <a:pt x="51" y="36"/>
                      <a:pt x="56" y="0"/>
                    </a:cubicBezTo>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3" name="Freeform 462"/>
              <p:cNvSpPr>
                <a:spLocks/>
              </p:cNvSpPr>
              <p:nvPr/>
            </p:nvSpPr>
            <p:spPr bwMode="gray">
              <a:xfrm>
                <a:off x="6736904" y="3212391"/>
                <a:ext cx="170096" cy="269475"/>
              </a:xfrm>
              <a:custGeom>
                <a:avLst/>
                <a:gdLst/>
                <a:ahLst/>
                <a:cxnLst>
                  <a:cxn ang="0">
                    <a:pos x="39" y="283"/>
                  </a:cxn>
                  <a:cxn ang="0">
                    <a:pos x="84" y="296"/>
                  </a:cxn>
                  <a:cxn ang="0">
                    <a:pos x="208" y="215"/>
                  </a:cxn>
                  <a:cxn ang="0">
                    <a:pos x="212" y="0"/>
                  </a:cxn>
                  <a:cxn ang="0">
                    <a:pos x="228" y="156"/>
                  </a:cxn>
                  <a:cxn ang="0">
                    <a:pos x="228" y="244"/>
                  </a:cxn>
                  <a:cxn ang="0">
                    <a:pos x="186" y="300"/>
                  </a:cxn>
                  <a:cxn ang="0">
                    <a:pos x="74" y="333"/>
                  </a:cxn>
                  <a:cxn ang="0">
                    <a:pos x="0" y="245"/>
                  </a:cxn>
                  <a:cxn ang="0">
                    <a:pos x="42" y="289"/>
                  </a:cxn>
                </a:cxnLst>
                <a:rect l="0" t="0" r="r" b="b"/>
                <a:pathLst>
                  <a:path w="231" h="366">
                    <a:moveTo>
                      <a:pt x="39" y="283"/>
                    </a:moveTo>
                    <a:cubicBezTo>
                      <a:pt x="54" y="286"/>
                      <a:pt x="69" y="293"/>
                      <a:pt x="84" y="296"/>
                    </a:cubicBezTo>
                    <a:cubicBezTo>
                      <a:pt x="128" y="362"/>
                      <a:pt x="201" y="258"/>
                      <a:pt x="208" y="215"/>
                    </a:cubicBezTo>
                    <a:cubicBezTo>
                      <a:pt x="220" y="144"/>
                      <a:pt x="222" y="70"/>
                      <a:pt x="212" y="0"/>
                    </a:cubicBezTo>
                    <a:cubicBezTo>
                      <a:pt x="212" y="56"/>
                      <a:pt x="228" y="99"/>
                      <a:pt x="228" y="156"/>
                    </a:cubicBezTo>
                    <a:cubicBezTo>
                      <a:pt x="228" y="184"/>
                      <a:pt x="231" y="215"/>
                      <a:pt x="228" y="244"/>
                    </a:cubicBezTo>
                    <a:cubicBezTo>
                      <a:pt x="225" y="279"/>
                      <a:pt x="213" y="284"/>
                      <a:pt x="186" y="300"/>
                    </a:cubicBezTo>
                    <a:cubicBezTo>
                      <a:pt x="143" y="326"/>
                      <a:pt x="122" y="366"/>
                      <a:pt x="74" y="333"/>
                    </a:cubicBezTo>
                    <a:cubicBezTo>
                      <a:pt x="52" y="317"/>
                      <a:pt x="1" y="270"/>
                      <a:pt x="0" y="245"/>
                    </a:cubicBezTo>
                    <a:cubicBezTo>
                      <a:pt x="11" y="262"/>
                      <a:pt x="34" y="272"/>
                      <a:pt x="42" y="289"/>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4" name="Freeform 463"/>
              <p:cNvSpPr>
                <a:spLocks/>
              </p:cNvSpPr>
              <p:nvPr/>
            </p:nvSpPr>
            <p:spPr bwMode="gray">
              <a:xfrm>
                <a:off x="6734723" y="2534809"/>
                <a:ext cx="33957" cy="136140"/>
              </a:xfrm>
              <a:custGeom>
                <a:avLst/>
                <a:gdLst/>
                <a:ahLst/>
                <a:cxnLst>
                  <a:cxn ang="0">
                    <a:pos x="35" y="10"/>
                  </a:cxn>
                  <a:cxn ang="0">
                    <a:pos x="3" y="185"/>
                  </a:cxn>
                  <a:cxn ang="0">
                    <a:pos x="22" y="95"/>
                  </a:cxn>
                  <a:cxn ang="0">
                    <a:pos x="32" y="0"/>
                  </a:cxn>
                </a:cxnLst>
                <a:rect l="0" t="0" r="r" b="b"/>
                <a:pathLst>
                  <a:path w="46" h="185">
                    <a:moveTo>
                      <a:pt x="35" y="10"/>
                    </a:moveTo>
                    <a:cubicBezTo>
                      <a:pt x="46" y="74"/>
                      <a:pt x="39" y="134"/>
                      <a:pt x="3" y="185"/>
                    </a:cubicBezTo>
                    <a:cubicBezTo>
                      <a:pt x="0" y="153"/>
                      <a:pt x="21" y="128"/>
                      <a:pt x="22" y="95"/>
                    </a:cubicBezTo>
                    <a:cubicBezTo>
                      <a:pt x="24" y="72"/>
                      <a:pt x="13" y="7"/>
                      <a:pt x="32"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5" name="Freeform 464"/>
              <p:cNvSpPr>
                <a:spLocks/>
              </p:cNvSpPr>
              <p:nvPr/>
            </p:nvSpPr>
            <p:spPr bwMode="gray">
              <a:xfrm>
                <a:off x="6714162" y="2443530"/>
                <a:ext cx="34580" cy="69783"/>
              </a:xfrm>
              <a:custGeom>
                <a:avLst/>
                <a:gdLst/>
                <a:ahLst/>
                <a:cxnLst>
                  <a:cxn ang="0">
                    <a:pos x="41" y="0"/>
                  </a:cxn>
                  <a:cxn ang="0">
                    <a:pos x="42" y="50"/>
                  </a:cxn>
                  <a:cxn ang="0">
                    <a:pos x="30" y="95"/>
                  </a:cxn>
                  <a:cxn ang="0">
                    <a:pos x="2" y="85"/>
                  </a:cxn>
                  <a:cxn ang="0">
                    <a:pos x="37" y="0"/>
                  </a:cxn>
                </a:cxnLst>
                <a:rect l="0" t="0" r="r" b="b"/>
                <a:pathLst>
                  <a:path w="47" h="95">
                    <a:moveTo>
                      <a:pt x="41" y="0"/>
                    </a:moveTo>
                    <a:cubicBezTo>
                      <a:pt x="42" y="16"/>
                      <a:pt x="47" y="34"/>
                      <a:pt x="42" y="50"/>
                    </a:cubicBezTo>
                    <a:cubicBezTo>
                      <a:pt x="35" y="67"/>
                      <a:pt x="8" y="78"/>
                      <a:pt x="30" y="95"/>
                    </a:cubicBezTo>
                    <a:cubicBezTo>
                      <a:pt x="20" y="93"/>
                      <a:pt x="11" y="89"/>
                      <a:pt x="2" y="85"/>
                    </a:cubicBezTo>
                    <a:cubicBezTo>
                      <a:pt x="0" y="56"/>
                      <a:pt x="43" y="38"/>
                      <a:pt x="37"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6" name="Freeform 465"/>
              <p:cNvSpPr>
                <a:spLocks/>
              </p:cNvSpPr>
              <p:nvPr/>
            </p:nvSpPr>
            <p:spPr bwMode="gray">
              <a:xfrm>
                <a:off x="6775222" y="2443530"/>
                <a:ext cx="58257" cy="7726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8"/>
                      <a:pt x="20" y="86"/>
                      <a:pt x="0" y="89"/>
                    </a:cubicBezTo>
                    <a:cubicBezTo>
                      <a:pt x="16" y="105"/>
                      <a:pt x="47" y="79"/>
                      <a:pt x="58" y="65"/>
                    </a:cubicBezTo>
                    <a:cubicBezTo>
                      <a:pt x="79" y="39"/>
                      <a:pt x="66" y="28"/>
                      <a:pt x="59" y="0"/>
                    </a:cubicBezTo>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7" name="Freeform 466"/>
              <p:cNvSpPr>
                <a:spLocks/>
              </p:cNvSpPr>
              <p:nvPr/>
            </p:nvSpPr>
            <p:spPr bwMode="gray">
              <a:xfrm>
                <a:off x="6620703" y="2318918"/>
                <a:ext cx="50157" cy="177573"/>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7" y="112"/>
                      <a:pt x="27" y="133"/>
                    </a:cubicBezTo>
                    <a:cubicBezTo>
                      <a:pt x="36" y="151"/>
                      <a:pt x="45" y="158"/>
                      <a:pt x="50" y="182"/>
                    </a:cubicBezTo>
                    <a:cubicBezTo>
                      <a:pt x="54" y="201"/>
                      <a:pt x="57" y="226"/>
                      <a:pt x="68" y="241"/>
                    </a:cubicBezTo>
                    <a:cubicBezTo>
                      <a:pt x="43" y="205"/>
                      <a:pt x="33" y="160"/>
                      <a:pt x="14" y="120"/>
                    </a:cubicBezTo>
                    <a:cubicBezTo>
                      <a:pt x="0" y="90"/>
                      <a:pt x="1" y="83"/>
                      <a:pt x="11" y="53"/>
                    </a:cubicBezTo>
                    <a:cubicBezTo>
                      <a:pt x="17" y="35"/>
                      <a:pt x="20" y="2"/>
                      <a:pt x="42" y="0"/>
                    </a:cubicBezTo>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8" name="Freeform 467"/>
              <p:cNvSpPr>
                <a:spLocks/>
              </p:cNvSpPr>
              <p:nvPr/>
            </p:nvSpPr>
            <p:spPr bwMode="gray">
              <a:xfrm>
                <a:off x="6885505" y="2262530"/>
                <a:ext cx="76637" cy="100002"/>
              </a:xfrm>
              <a:custGeom>
                <a:avLst/>
                <a:gdLst/>
                <a:ahLst/>
                <a:cxnLst>
                  <a:cxn ang="0">
                    <a:pos x="7" y="83"/>
                  </a:cxn>
                  <a:cxn ang="0">
                    <a:pos x="56" y="31"/>
                  </a:cxn>
                  <a:cxn ang="0">
                    <a:pos x="98" y="136"/>
                  </a:cxn>
                  <a:cxn ang="0">
                    <a:pos x="42" y="0"/>
                  </a:cxn>
                  <a:cxn ang="0">
                    <a:pos x="0" y="80"/>
                  </a:cxn>
                </a:cxnLst>
                <a:rect l="0" t="0" r="r" b="b"/>
                <a:pathLst>
                  <a:path w="104" h="136">
                    <a:moveTo>
                      <a:pt x="7" y="83"/>
                    </a:moveTo>
                    <a:cubicBezTo>
                      <a:pt x="40" y="86"/>
                      <a:pt x="38" y="46"/>
                      <a:pt x="56" y="31"/>
                    </a:cubicBezTo>
                    <a:cubicBezTo>
                      <a:pt x="77" y="53"/>
                      <a:pt x="104" y="105"/>
                      <a:pt x="98" y="136"/>
                    </a:cubicBezTo>
                    <a:cubicBezTo>
                      <a:pt x="98" y="87"/>
                      <a:pt x="97" y="20"/>
                      <a:pt x="42" y="0"/>
                    </a:cubicBezTo>
                    <a:cubicBezTo>
                      <a:pt x="28" y="23"/>
                      <a:pt x="29" y="70"/>
                      <a:pt x="0" y="80"/>
                    </a:cubicBezTo>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19" name="Freeform 468"/>
              <p:cNvSpPr>
                <a:spLocks/>
              </p:cNvSpPr>
              <p:nvPr/>
            </p:nvSpPr>
            <p:spPr bwMode="gray">
              <a:xfrm>
                <a:off x="7193298" y="3644485"/>
                <a:ext cx="91279" cy="180065"/>
              </a:xfrm>
              <a:custGeom>
                <a:avLst/>
                <a:gdLst/>
                <a:ahLst/>
                <a:cxnLst>
                  <a:cxn ang="0">
                    <a:pos x="0" y="19"/>
                  </a:cxn>
                  <a:cxn ang="0">
                    <a:pos x="39" y="71"/>
                  </a:cxn>
                  <a:cxn ang="0">
                    <a:pos x="77" y="121"/>
                  </a:cxn>
                  <a:cxn ang="0">
                    <a:pos x="0" y="221"/>
                  </a:cxn>
                  <a:cxn ang="0">
                    <a:pos x="0" y="234"/>
                  </a:cxn>
                  <a:cxn ang="0">
                    <a:pos x="120" y="111"/>
                  </a:cxn>
                  <a:cxn ang="0">
                    <a:pos x="16" y="9"/>
                  </a:cxn>
                </a:cxnLst>
                <a:rect l="0" t="0" r="r" b="b"/>
                <a:pathLst>
                  <a:path w="124" h="245">
                    <a:moveTo>
                      <a:pt x="0" y="19"/>
                    </a:moveTo>
                    <a:cubicBezTo>
                      <a:pt x="19" y="33"/>
                      <a:pt x="28" y="52"/>
                      <a:pt x="39" y="71"/>
                    </a:cubicBezTo>
                    <a:cubicBezTo>
                      <a:pt x="48" y="88"/>
                      <a:pt x="67" y="103"/>
                      <a:pt x="77" y="121"/>
                    </a:cubicBezTo>
                    <a:cubicBezTo>
                      <a:pt x="102" y="165"/>
                      <a:pt x="43" y="222"/>
                      <a:pt x="0" y="221"/>
                    </a:cubicBezTo>
                    <a:cubicBezTo>
                      <a:pt x="0" y="226"/>
                      <a:pt x="0" y="229"/>
                      <a:pt x="0" y="234"/>
                    </a:cubicBezTo>
                    <a:cubicBezTo>
                      <a:pt x="73" y="245"/>
                      <a:pt x="124" y="177"/>
                      <a:pt x="120" y="111"/>
                    </a:cubicBezTo>
                    <a:cubicBezTo>
                      <a:pt x="77" y="83"/>
                      <a:pt x="85" y="0"/>
                      <a:pt x="16" y="9"/>
                    </a:cubicBezTo>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0" name="Freeform 469"/>
              <p:cNvSpPr>
                <a:spLocks/>
              </p:cNvSpPr>
              <p:nvPr/>
            </p:nvSpPr>
            <p:spPr bwMode="gray">
              <a:xfrm>
                <a:off x="6633787" y="1720153"/>
                <a:ext cx="119317" cy="70406"/>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1" name="Freeform 470"/>
              <p:cNvSpPr>
                <a:spLocks/>
              </p:cNvSpPr>
              <p:nvPr/>
            </p:nvSpPr>
            <p:spPr bwMode="gray">
              <a:xfrm>
                <a:off x="6633787" y="1720153"/>
                <a:ext cx="119317" cy="70406"/>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2" name="Freeform 471"/>
              <p:cNvSpPr>
                <a:spLocks/>
              </p:cNvSpPr>
              <p:nvPr/>
            </p:nvSpPr>
            <p:spPr bwMode="gray">
              <a:xfrm>
                <a:off x="6530981" y="1812678"/>
                <a:ext cx="92525" cy="171654"/>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3" name="Freeform 472"/>
              <p:cNvSpPr>
                <a:spLocks/>
              </p:cNvSpPr>
              <p:nvPr/>
            </p:nvSpPr>
            <p:spPr bwMode="gray">
              <a:xfrm>
                <a:off x="6530981" y="1812678"/>
                <a:ext cx="92525" cy="171654"/>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4" name="Freeform 473"/>
              <p:cNvSpPr>
                <a:spLocks/>
              </p:cNvSpPr>
              <p:nvPr/>
            </p:nvSpPr>
            <p:spPr bwMode="gray">
              <a:xfrm>
                <a:off x="6861205" y="1808940"/>
                <a:ext cx="72275" cy="127417"/>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6" name="Freeform 475"/>
              <p:cNvSpPr>
                <a:spLocks/>
              </p:cNvSpPr>
              <p:nvPr/>
            </p:nvSpPr>
            <p:spPr bwMode="gray">
              <a:xfrm>
                <a:off x="6771484" y="2991515"/>
                <a:ext cx="114955" cy="326797"/>
              </a:xfrm>
              <a:custGeom>
                <a:avLst/>
                <a:gdLst/>
                <a:ahLst/>
                <a:cxnLst>
                  <a:cxn ang="0">
                    <a:pos x="125" y="272"/>
                  </a:cxn>
                  <a:cxn ang="0">
                    <a:pos x="39" y="423"/>
                  </a:cxn>
                  <a:cxn ang="0">
                    <a:pos x="49" y="415"/>
                  </a:cxn>
                  <a:cxn ang="0">
                    <a:pos x="8" y="444"/>
                  </a:cxn>
                  <a:cxn ang="0">
                    <a:pos x="43" y="384"/>
                  </a:cxn>
                  <a:cxn ang="0">
                    <a:pos x="86" y="251"/>
                  </a:cxn>
                  <a:cxn ang="0">
                    <a:pos x="113" y="158"/>
                  </a:cxn>
                  <a:cxn ang="0">
                    <a:pos x="126" y="64"/>
                  </a:cxn>
                  <a:cxn ang="0">
                    <a:pos x="138" y="0"/>
                  </a:cxn>
                  <a:cxn ang="0">
                    <a:pos x="125" y="272"/>
                  </a:cxn>
                </a:cxnLst>
                <a:rect l="0" t="0" r="r" b="b"/>
                <a:pathLst>
                  <a:path w="156" h="444">
                    <a:moveTo>
                      <a:pt x="125" y="272"/>
                    </a:moveTo>
                    <a:cubicBezTo>
                      <a:pt x="108" y="320"/>
                      <a:pt x="77" y="388"/>
                      <a:pt x="39" y="423"/>
                    </a:cubicBezTo>
                    <a:cubicBezTo>
                      <a:pt x="43" y="419"/>
                      <a:pt x="47" y="417"/>
                      <a:pt x="49" y="415"/>
                    </a:cubicBezTo>
                    <a:cubicBezTo>
                      <a:pt x="42" y="431"/>
                      <a:pt x="24" y="442"/>
                      <a:pt x="8" y="444"/>
                    </a:cubicBezTo>
                    <a:cubicBezTo>
                      <a:pt x="0" y="412"/>
                      <a:pt x="25" y="402"/>
                      <a:pt x="43" y="384"/>
                    </a:cubicBezTo>
                    <a:cubicBezTo>
                      <a:pt x="80" y="348"/>
                      <a:pt x="82" y="304"/>
                      <a:pt x="86" y="251"/>
                    </a:cubicBezTo>
                    <a:cubicBezTo>
                      <a:pt x="89" y="213"/>
                      <a:pt x="102" y="192"/>
                      <a:pt x="113" y="158"/>
                    </a:cubicBezTo>
                    <a:cubicBezTo>
                      <a:pt x="124" y="128"/>
                      <a:pt x="119" y="95"/>
                      <a:pt x="126" y="64"/>
                    </a:cubicBezTo>
                    <a:cubicBezTo>
                      <a:pt x="130" y="42"/>
                      <a:pt x="139" y="24"/>
                      <a:pt x="138" y="0"/>
                    </a:cubicBezTo>
                    <a:cubicBezTo>
                      <a:pt x="138" y="88"/>
                      <a:pt x="156" y="187"/>
                      <a:pt x="125" y="272"/>
                    </a:cubicBez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29" name="Freeform 6"/>
              <p:cNvSpPr>
                <a:spLocks/>
              </p:cNvSpPr>
              <p:nvPr/>
            </p:nvSpPr>
            <p:spPr bwMode="gray">
              <a:xfrm>
                <a:off x="6495018" y="1543384"/>
                <a:ext cx="550194" cy="213385"/>
              </a:xfrm>
              <a:custGeom>
                <a:avLst/>
                <a:gdLst>
                  <a:gd name="T0" fmla="*/ 0 w 2996"/>
                  <a:gd name="T1" fmla="*/ 328 h 914"/>
                  <a:gd name="T2" fmla="*/ 787 w 2996"/>
                  <a:gd name="T3" fmla="*/ 629 h 914"/>
                  <a:gd name="T4" fmla="*/ 1497 w 2996"/>
                  <a:gd name="T5" fmla="*/ 0 h 914"/>
                  <a:gd name="T6" fmla="*/ 2210 w 2996"/>
                  <a:gd name="T7" fmla="*/ 629 h 914"/>
                  <a:gd name="T8" fmla="*/ 2996 w 2996"/>
                  <a:gd name="T9" fmla="*/ 328 h 914"/>
                  <a:gd name="T10" fmla="*/ 2148 w 2996"/>
                  <a:gd name="T11" fmla="*/ 914 h 914"/>
                  <a:gd name="T12" fmla="*/ 1497 w 2996"/>
                  <a:gd name="T13" fmla="*/ 328 h 914"/>
                  <a:gd name="T14" fmla="*/ 848 w 2996"/>
                  <a:gd name="T15" fmla="*/ 914 h 914"/>
                  <a:gd name="T16" fmla="*/ 0 w 2996"/>
                  <a:gd name="T17" fmla="*/ 328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6" h="914">
                    <a:moveTo>
                      <a:pt x="0" y="328"/>
                    </a:moveTo>
                    <a:lnTo>
                      <a:pt x="787" y="629"/>
                    </a:lnTo>
                    <a:lnTo>
                      <a:pt x="1497" y="0"/>
                    </a:lnTo>
                    <a:lnTo>
                      <a:pt x="2210" y="629"/>
                    </a:lnTo>
                    <a:lnTo>
                      <a:pt x="2996" y="328"/>
                    </a:lnTo>
                    <a:lnTo>
                      <a:pt x="2148" y="914"/>
                    </a:lnTo>
                    <a:lnTo>
                      <a:pt x="1497" y="328"/>
                    </a:lnTo>
                    <a:lnTo>
                      <a:pt x="848" y="914"/>
                    </a:lnTo>
                    <a:lnTo>
                      <a:pt x="0" y="328"/>
                    </a:lnTo>
                    <a:close/>
                  </a:path>
                </a:pathLst>
              </a:custGeom>
              <a:solidFill>
                <a:srgbClr val="333333"/>
              </a:solidFill>
              <a:ln>
                <a:noFill/>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0" name="Ellipse 129"/>
              <p:cNvSpPr/>
              <p:nvPr/>
            </p:nvSpPr>
            <p:spPr bwMode="gray">
              <a:xfrm>
                <a:off x="6980599" y="1612457"/>
                <a:ext cx="92429" cy="75241"/>
              </a:xfrm>
              <a:prstGeom prst="ellipse">
                <a:avLst/>
              </a:prstGeom>
              <a:gradFill flip="none" rotWithShape="1">
                <a:gsLst>
                  <a:gs pos="1000">
                    <a:srgbClr val="FFFFFF"/>
                  </a:gs>
                  <a:gs pos="100000">
                    <a:srgbClr val="FFFFFF">
                      <a:alpha val="0"/>
                    </a:srgbClr>
                  </a:gs>
                </a:gsLst>
                <a:path path="shape">
                  <a:fillToRect l="50000" t="50000" r="50000" b="50000"/>
                </a:path>
                <a:tileRect/>
              </a:gradFill>
              <a:ln w="12700">
                <a:noFill/>
                <a:round/>
                <a:headEnd/>
                <a:tailEnd/>
              </a:ln>
            </p:spPr>
            <p:txBody>
              <a:bodyPr rtlCol="0" anchor="ctr"/>
              <a:lstStyle/>
              <a:p>
                <a:pPr algn="ctr"/>
                <a:endParaRPr lang="en-US" dirty="0">
                  <a:latin typeface="+mj-lt"/>
                </a:endParaRPr>
              </a:p>
            </p:txBody>
          </p:sp>
          <p:sp>
            <p:nvSpPr>
              <p:cNvPr id="131" name="Stern mit 4 Zacken 130"/>
              <p:cNvSpPr/>
              <p:nvPr/>
            </p:nvSpPr>
            <p:spPr bwMode="gray">
              <a:xfrm>
                <a:off x="6953727" y="1590582"/>
                <a:ext cx="146172" cy="118989"/>
              </a:xfrm>
              <a:prstGeom prst="star4">
                <a:avLst>
                  <a:gd name="adj" fmla="val 2866"/>
                </a:avLst>
              </a:prstGeom>
              <a:gradFill flip="none" rotWithShape="1">
                <a:gsLst>
                  <a:gs pos="1000">
                    <a:srgbClr val="FFFFFF"/>
                  </a:gs>
                  <a:gs pos="100000">
                    <a:srgbClr val="FFFFFF">
                      <a:alpha val="0"/>
                    </a:srgbClr>
                  </a:gs>
                </a:gsLst>
                <a:path path="shape">
                  <a:fillToRect l="50000" t="50000" r="50000" b="50000"/>
                </a:path>
                <a:tileRect/>
              </a:gradFill>
              <a:ln w="12700">
                <a:noFill/>
                <a:round/>
                <a:headEnd/>
                <a:tailEnd/>
              </a:ln>
            </p:spPr>
            <p:txBody>
              <a:bodyPr rtlCol="0" anchor="ctr"/>
              <a:lstStyle/>
              <a:p>
                <a:pPr algn="ctr"/>
                <a:endParaRPr lang="en-US" dirty="0">
                  <a:latin typeface="+mj-lt"/>
                </a:endParaRPr>
              </a:p>
            </p:txBody>
          </p:sp>
        </p:grpSp>
        <p:sp>
          <p:nvSpPr>
            <p:cNvPr id="64" name="Freeform 148"/>
            <p:cNvSpPr>
              <a:spLocks noEditPoints="1"/>
            </p:cNvSpPr>
            <p:nvPr/>
          </p:nvSpPr>
          <p:spPr bwMode="auto">
            <a:xfrm>
              <a:off x="3200293" y="2526220"/>
              <a:ext cx="547156" cy="410020"/>
            </a:xfrm>
            <a:custGeom>
              <a:avLst/>
              <a:gdLst>
                <a:gd name="T0" fmla="*/ 0 w 192"/>
                <a:gd name="T1" fmla="*/ 97 h 144"/>
                <a:gd name="T2" fmla="*/ 16 w 192"/>
                <a:gd name="T3" fmla="*/ 132 h 144"/>
                <a:gd name="T4" fmla="*/ 96 w 192"/>
                <a:gd name="T5" fmla="*/ 144 h 144"/>
                <a:gd name="T6" fmla="*/ 176 w 192"/>
                <a:gd name="T7" fmla="*/ 132 h 144"/>
                <a:gd name="T8" fmla="*/ 192 w 192"/>
                <a:gd name="T9" fmla="*/ 97 h 144"/>
                <a:gd name="T10" fmla="*/ 134 w 192"/>
                <a:gd name="T11" fmla="*/ 116 h 144"/>
                <a:gd name="T12" fmla="*/ 96 w 192"/>
                <a:gd name="T13" fmla="*/ 128 h 144"/>
                <a:gd name="T14" fmla="*/ 75 w 192"/>
                <a:gd name="T15" fmla="*/ 116 h 144"/>
                <a:gd name="T16" fmla="*/ 16 w 192"/>
                <a:gd name="T17" fmla="*/ 116 h 144"/>
                <a:gd name="T18" fmla="*/ 96 w 192"/>
                <a:gd name="T19" fmla="*/ 16 h 144"/>
                <a:gd name="T20" fmla="*/ 176 w 192"/>
                <a:gd name="T21" fmla="*/ 116 h 144"/>
                <a:gd name="T22" fmla="*/ 107 w 192"/>
                <a:gd name="T23" fmla="*/ 116 h 144"/>
                <a:gd name="T24" fmla="*/ 85 w 192"/>
                <a:gd name="T25" fmla="*/ 116 h 144"/>
                <a:gd name="T26" fmla="*/ 112 w 192"/>
                <a:gd name="T27" fmla="*/ 104 h 144"/>
                <a:gd name="T28" fmla="*/ 80 w 192"/>
                <a:gd name="T29" fmla="*/ 104 h 144"/>
                <a:gd name="T30" fmla="*/ 68 w 192"/>
                <a:gd name="T31" fmla="*/ 28 h 144"/>
                <a:gd name="T32" fmla="*/ 112 w 192"/>
                <a:gd name="T33" fmla="*/ 104 h 144"/>
                <a:gd name="T34" fmla="*/ 32 w 192"/>
                <a:gd name="T35" fmla="*/ 100 h 144"/>
                <a:gd name="T36" fmla="*/ 32 w 192"/>
                <a:gd name="T37" fmla="*/ 92 h 144"/>
                <a:gd name="T38" fmla="*/ 44 w 192"/>
                <a:gd name="T39" fmla="*/ 68 h 144"/>
                <a:gd name="T40" fmla="*/ 36 w 192"/>
                <a:gd name="T41" fmla="*/ 68 h 144"/>
                <a:gd name="T42" fmla="*/ 44 w 192"/>
                <a:gd name="T43" fmla="*/ 68 h 144"/>
                <a:gd name="T44" fmla="*/ 60 w 192"/>
                <a:gd name="T45" fmla="*/ 48 h 144"/>
                <a:gd name="T46" fmla="*/ 60 w 192"/>
                <a:gd name="T47" fmla="*/ 40 h 144"/>
                <a:gd name="T48" fmla="*/ 88 w 192"/>
                <a:gd name="T49" fmla="*/ 32 h 144"/>
                <a:gd name="T50" fmla="*/ 80 w 192"/>
                <a:gd name="T51" fmla="*/ 32 h 144"/>
                <a:gd name="T52" fmla="*/ 88 w 192"/>
                <a:gd name="T53" fmla="*/ 32 h 144"/>
                <a:gd name="T54" fmla="*/ 108 w 192"/>
                <a:gd name="T55" fmla="*/ 36 h 144"/>
                <a:gd name="T56" fmla="*/ 108 w 192"/>
                <a:gd name="T57" fmla="*/ 28 h 144"/>
                <a:gd name="T58" fmla="*/ 136 w 192"/>
                <a:gd name="T59" fmla="*/ 44 h 144"/>
                <a:gd name="T60" fmla="*/ 128 w 192"/>
                <a:gd name="T61" fmla="*/ 44 h 144"/>
                <a:gd name="T62" fmla="*/ 136 w 192"/>
                <a:gd name="T63" fmla="*/ 44 h 144"/>
                <a:gd name="T64" fmla="*/ 152 w 192"/>
                <a:gd name="T65" fmla="*/ 72 h 144"/>
                <a:gd name="T66" fmla="*/ 152 w 192"/>
                <a:gd name="T67" fmla="*/ 64 h 144"/>
                <a:gd name="T68" fmla="*/ 164 w 192"/>
                <a:gd name="T69" fmla="*/ 96 h 144"/>
                <a:gd name="T70" fmla="*/ 156 w 192"/>
                <a:gd name="T71" fmla="*/ 96 h 144"/>
                <a:gd name="T72" fmla="*/ 164 w 192"/>
                <a:gd name="T73"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2" h="144">
                  <a:moveTo>
                    <a:pt x="96" y="0"/>
                  </a:moveTo>
                  <a:cubicBezTo>
                    <a:pt x="43" y="0"/>
                    <a:pt x="0" y="44"/>
                    <a:pt x="0" y="97"/>
                  </a:cubicBezTo>
                  <a:cubicBezTo>
                    <a:pt x="0" y="116"/>
                    <a:pt x="0" y="116"/>
                    <a:pt x="0" y="116"/>
                  </a:cubicBezTo>
                  <a:cubicBezTo>
                    <a:pt x="0" y="125"/>
                    <a:pt x="7" y="132"/>
                    <a:pt x="16" y="132"/>
                  </a:cubicBezTo>
                  <a:cubicBezTo>
                    <a:pt x="67" y="132"/>
                    <a:pt x="67" y="132"/>
                    <a:pt x="67" y="132"/>
                  </a:cubicBezTo>
                  <a:cubicBezTo>
                    <a:pt x="75" y="140"/>
                    <a:pt x="85" y="144"/>
                    <a:pt x="96" y="144"/>
                  </a:cubicBezTo>
                  <a:cubicBezTo>
                    <a:pt x="107" y="144"/>
                    <a:pt x="117" y="140"/>
                    <a:pt x="125" y="132"/>
                  </a:cubicBezTo>
                  <a:cubicBezTo>
                    <a:pt x="176" y="132"/>
                    <a:pt x="176" y="132"/>
                    <a:pt x="176" y="132"/>
                  </a:cubicBezTo>
                  <a:cubicBezTo>
                    <a:pt x="185" y="132"/>
                    <a:pt x="192" y="125"/>
                    <a:pt x="192" y="116"/>
                  </a:cubicBezTo>
                  <a:cubicBezTo>
                    <a:pt x="192" y="97"/>
                    <a:pt x="192" y="97"/>
                    <a:pt x="192" y="97"/>
                  </a:cubicBezTo>
                  <a:cubicBezTo>
                    <a:pt x="192" y="44"/>
                    <a:pt x="149" y="0"/>
                    <a:pt x="96" y="0"/>
                  </a:cubicBezTo>
                  <a:close/>
                  <a:moveTo>
                    <a:pt x="134" y="116"/>
                  </a:moveTo>
                  <a:cubicBezTo>
                    <a:pt x="117" y="116"/>
                    <a:pt x="117" y="116"/>
                    <a:pt x="117" y="116"/>
                  </a:cubicBezTo>
                  <a:cubicBezTo>
                    <a:pt x="113" y="123"/>
                    <a:pt x="105" y="128"/>
                    <a:pt x="96" y="128"/>
                  </a:cubicBezTo>
                  <a:cubicBezTo>
                    <a:pt x="87" y="128"/>
                    <a:pt x="79" y="123"/>
                    <a:pt x="75" y="116"/>
                  </a:cubicBezTo>
                  <a:cubicBezTo>
                    <a:pt x="75" y="116"/>
                    <a:pt x="75" y="116"/>
                    <a:pt x="75" y="116"/>
                  </a:cubicBezTo>
                  <a:cubicBezTo>
                    <a:pt x="58" y="116"/>
                    <a:pt x="58" y="116"/>
                    <a:pt x="58" y="116"/>
                  </a:cubicBezTo>
                  <a:cubicBezTo>
                    <a:pt x="16" y="116"/>
                    <a:pt x="16" y="116"/>
                    <a:pt x="16" y="116"/>
                  </a:cubicBezTo>
                  <a:cubicBezTo>
                    <a:pt x="16" y="97"/>
                    <a:pt x="16" y="97"/>
                    <a:pt x="16" y="97"/>
                  </a:cubicBezTo>
                  <a:cubicBezTo>
                    <a:pt x="16" y="53"/>
                    <a:pt x="52" y="16"/>
                    <a:pt x="96" y="16"/>
                  </a:cubicBezTo>
                  <a:cubicBezTo>
                    <a:pt x="140" y="16"/>
                    <a:pt x="176" y="53"/>
                    <a:pt x="176" y="97"/>
                  </a:cubicBezTo>
                  <a:cubicBezTo>
                    <a:pt x="176" y="116"/>
                    <a:pt x="176" y="116"/>
                    <a:pt x="176" y="116"/>
                  </a:cubicBezTo>
                  <a:lnTo>
                    <a:pt x="134" y="116"/>
                  </a:lnTo>
                  <a:close/>
                  <a:moveTo>
                    <a:pt x="107" y="116"/>
                  </a:moveTo>
                  <a:cubicBezTo>
                    <a:pt x="104" y="119"/>
                    <a:pt x="100" y="120"/>
                    <a:pt x="96" y="120"/>
                  </a:cubicBezTo>
                  <a:cubicBezTo>
                    <a:pt x="92" y="120"/>
                    <a:pt x="88" y="119"/>
                    <a:pt x="85" y="116"/>
                  </a:cubicBezTo>
                  <a:lnTo>
                    <a:pt x="107" y="116"/>
                  </a:lnTo>
                  <a:close/>
                  <a:moveTo>
                    <a:pt x="112" y="104"/>
                  </a:moveTo>
                  <a:cubicBezTo>
                    <a:pt x="112" y="113"/>
                    <a:pt x="105" y="120"/>
                    <a:pt x="96" y="120"/>
                  </a:cubicBezTo>
                  <a:cubicBezTo>
                    <a:pt x="87" y="120"/>
                    <a:pt x="80" y="113"/>
                    <a:pt x="80" y="104"/>
                  </a:cubicBezTo>
                  <a:cubicBezTo>
                    <a:pt x="80" y="100"/>
                    <a:pt x="82" y="96"/>
                    <a:pt x="85" y="93"/>
                  </a:cubicBezTo>
                  <a:cubicBezTo>
                    <a:pt x="68" y="28"/>
                    <a:pt x="68" y="28"/>
                    <a:pt x="68" y="28"/>
                  </a:cubicBezTo>
                  <a:cubicBezTo>
                    <a:pt x="98" y="88"/>
                    <a:pt x="98" y="88"/>
                    <a:pt x="98" y="88"/>
                  </a:cubicBezTo>
                  <a:cubicBezTo>
                    <a:pt x="106" y="90"/>
                    <a:pt x="112" y="96"/>
                    <a:pt x="112" y="104"/>
                  </a:cubicBezTo>
                  <a:close/>
                  <a:moveTo>
                    <a:pt x="36" y="96"/>
                  </a:moveTo>
                  <a:cubicBezTo>
                    <a:pt x="36" y="98"/>
                    <a:pt x="34" y="100"/>
                    <a:pt x="32" y="100"/>
                  </a:cubicBezTo>
                  <a:cubicBezTo>
                    <a:pt x="30" y="100"/>
                    <a:pt x="28" y="98"/>
                    <a:pt x="28" y="96"/>
                  </a:cubicBezTo>
                  <a:cubicBezTo>
                    <a:pt x="28" y="94"/>
                    <a:pt x="30" y="92"/>
                    <a:pt x="32" y="92"/>
                  </a:cubicBezTo>
                  <a:cubicBezTo>
                    <a:pt x="34" y="92"/>
                    <a:pt x="36" y="94"/>
                    <a:pt x="36" y="96"/>
                  </a:cubicBezTo>
                  <a:close/>
                  <a:moveTo>
                    <a:pt x="44" y="68"/>
                  </a:moveTo>
                  <a:cubicBezTo>
                    <a:pt x="44" y="70"/>
                    <a:pt x="42" y="72"/>
                    <a:pt x="40" y="72"/>
                  </a:cubicBezTo>
                  <a:cubicBezTo>
                    <a:pt x="38" y="72"/>
                    <a:pt x="36" y="70"/>
                    <a:pt x="36" y="68"/>
                  </a:cubicBezTo>
                  <a:cubicBezTo>
                    <a:pt x="36" y="66"/>
                    <a:pt x="38" y="64"/>
                    <a:pt x="40" y="64"/>
                  </a:cubicBezTo>
                  <a:cubicBezTo>
                    <a:pt x="42" y="64"/>
                    <a:pt x="44" y="66"/>
                    <a:pt x="44" y="68"/>
                  </a:cubicBezTo>
                  <a:close/>
                  <a:moveTo>
                    <a:pt x="64" y="44"/>
                  </a:moveTo>
                  <a:cubicBezTo>
                    <a:pt x="64" y="46"/>
                    <a:pt x="62" y="48"/>
                    <a:pt x="60" y="48"/>
                  </a:cubicBezTo>
                  <a:cubicBezTo>
                    <a:pt x="58" y="48"/>
                    <a:pt x="56" y="46"/>
                    <a:pt x="56" y="44"/>
                  </a:cubicBezTo>
                  <a:cubicBezTo>
                    <a:pt x="56" y="42"/>
                    <a:pt x="58" y="40"/>
                    <a:pt x="60" y="40"/>
                  </a:cubicBezTo>
                  <a:cubicBezTo>
                    <a:pt x="62" y="40"/>
                    <a:pt x="64" y="42"/>
                    <a:pt x="64" y="44"/>
                  </a:cubicBezTo>
                  <a:close/>
                  <a:moveTo>
                    <a:pt x="88" y="32"/>
                  </a:moveTo>
                  <a:cubicBezTo>
                    <a:pt x="88" y="34"/>
                    <a:pt x="86" y="36"/>
                    <a:pt x="84" y="36"/>
                  </a:cubicBezTo>
                  <a:cubicBezTo>
                    <a:pt x="82" y="36"/>
                    <a:pt x="80" y="34"/>
                    <a:pt x="80" y="32"/>
                  </a:cubicBezTo>
                  <a:cubicBezTo>
                    <a:pt x="80" y="30"/>
                    <a:pt x="82" y="28"/>
                    <a:pt x="84" y="28"/>
                  </a:cubicBezTo>
                  <a:cubicBezTo>
                    <a:pt x="86" y="28"/>
                    <a:pt x="88" y="30"/>
                    <a:pt x="88" y="32"/>
                  </a:cubicBezTo>
                  <a:close/>
                  <a:moveTo>
                    <a:pt x="112" y="32"/>
                  </a:moveTo>
                  <a:cubicBezTo>
                    <a:pt x="112" y="34"/>
                    <a:pt x="110" y="36"/>
                    <a:pt x="108" y="36"/>
                  </a:cubicBezTo>
                  <a:cubicBezTo>
                    <a:pt x="106" y="36"/>
                    <a:pt x="104" y="34"/>
                    <a:pt x="104" y="32"/>
                  </a:cubicBezTo>
                  <a:cubicBezTo>
                    <a:pt x="104" y="30"/>
                    <a:pt x="106" y="28"/>
                    <a:pt x="108" y="28"/>
                  </a:cubicBezTo>
                  <a:cubicBezTo>
                    <a:pt x="110" y="28"/>
                    <a:pt x="112" y="30"/>
                    <a:pt x="112" y="32"/>
                  </a:cubicBezTo>
                  <a:close/>
                  <a:moveTo>
                    <a:pt x="136" y="44"/>
                  </a:moveTo>
                  <a:cubicBezTo>
                    <a:pt x="136" y="46"/>
                    <a:pt x="134" y="48"/>
                    <a:pt x="132" y="48"/>
                  </a:cubicBezTo>
                  <a:cubicBezTo>
                    <a:pt x="130" y="48"/>
                    <a:pt x="128" y="46"/>
                    <a:pt x="128" y="44"/>
                  </a:cubicBezTo>
                  <a:cubicBezTo>
                    <a:pt x="128" y="42"/>
                    <a:pt x="130" y="40"/>
                    <a:pt x="132" y="40"/>
                  </a:cubicBezTo>
                  <a:cubicBezTo>
                    <a:pt x="134" y="40"/>
                    <a:pt x="136" y="42"/>
                    <a:pt x="136" y="44"/>
                  </a:cubicBezTo>
                  <a:close/>
                  <a:moveTo>
                    <a:pt x="156" y="68"/>
                  </a:moveTo>
                  <a:cubicBezTo>
                    <a:pt x="156" y="70"/>
                    <a:pt x="154" y="72"/>
                    <a:pt x="152" y="72"/>
                  </a:cubicBezTo>
                  <a:cubicBezTo>
                    <a:pt x="150" y="72"/>
                    <a:pt x="148" y="70"/>
                    <a:pt x="148" y="68"/>
                  </a:cubicBezTo>
                  <a:cubicBezTo>
                    <a:pt x="148" y="66"/>
                    <a:pt x="150" y="64"/>
                    <a:pt x="152" y="64"/>
                  </a:cubicBezTo>
                  <a:cubicBezTo>
                    <a:pt x="154" y="64"/>
                    <a:pt x="156" y="66"/>
                    <a:pt x="156" y="68"/>
                  </a:cubicBezTo>
                  <a:close/>
                  <a:moveTo>
                    <a:pt x="164" y="96"/>
                  </a:moveTo>
                  <a:cubicBezTo>
                    <a:pt x="164" y="98"/>
                    <a:pt x="162" y="100"/>
                    <a:pt x="160" y="100"/>
                  </a:cubicBezTo>
                  <a:cubicBezTo>
                    <a:pt x="158" y="100"/>
                    <a:pt x="156" y="98"/>
                    <a:pt x="156" y="96"/>
                  </a:cubicBezTo>
                  <a:cubicBezTo>
                    <a:pt x="156" y="94"/>
                    <a:pt x="158" y="92"/>
                    <a:pt x="160" y="92"/>
                  </a:cubicBezTo>
                  <a:cubicBezTo>
                    <a:pt x="162" y="92"/>
                    <a:pt x="164" y="94"/>
                    <a:pt x="164" y="96"/>
                  </a:cubicBez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65" name="Group 38"/>
            <p:cNvGrpSpPr>
              <a:grpSpLocks noChangeAspect="1"/>
            </p:cNvGrpSpPr>
            <p:nvPr/>
          </p:nvGrpSpPr>
          <p:grpSpPr bwMode="auto">
            <a:xfrm>
              <a:off x="5423731" y="2502380"/>
              <a:ext cx="372127" cy="536188"/>
              <a:chOff x="1568" y="17"/>
              <a:chExt cx="2182" cy="3144"/>
            </a:xfrm>
            <a:solidFill>
              <a:schemeClr val="tx2"/>
            </a:solidFill>
          </p:grpSpPr>
          <p:sp>
            <p:nvSpPr>
              <p:cNvPr id="73" name="Freeform 39"/>
              <p:cNvSpPr>
                <a:spLocks noEditPoints="1"/>
              </p:cNvSpPr>
              <p:nvPr/>
            </p:nvSpPr>
            <p:spPr bwMode="auto">
              <a:xfrm>
                <a:off x="1674" y="17"/>
                <a:ext cx="1960" cy="1918"/>
              </a:xfrm>
              <a:custGeom>
                <a:avLst/>
                <a:gdLst>
                  <a:gd name="T0" fmla="*/ 876 w 1960"/>
                  <a:gd name="T1" fmla="*/ 1914 h 1918"/>
                  <a:gd name="T2" fmla="*/ 686 w 1960"/>
                  <a:gd name="T3" fmla="*/ 1876 h 1918"/>
                  <a:gd name="T4" fmla="*/ 514 w 1960"/>
                  <a:gd name="T5" fmla="*/ 1806 h 1918"/>
                  <a:gd name="T6" fmla="*/ 362 w 1960"/>
                  <a:gd name="T7" fmla="*/ 1708 h 1918"/>
                  <a:gd name="T8" fmla="*/ 234 w 1960"/>
                  <a:gd name="T9" fmla="*/ 1584 h 1918"/>
                  <a:gd name="T10" fmla="*/ 130 w 1960"/>
                  <a:gd name="T11" fmla="*/ 1442 h 1918"/>
                  <a:gd name="T12" fmla="*/ 54 w 1960"/>
                  <a:gd name="T13" fmla="*/ 1282 h 1918"/>
                  <a:gd name="T14" fmla="*/ 12 w 1960"/>
                  <a:gd name="T15" fmla="*/ 1110 h 1918"/>
                  <a:gd name="T16" fmla="*/ 0 w 1960"/>
                  <a:gd name="T17" fmla="*/ 962 h 1918"/>
                  <a:gd name="T18" fmla="*/ 24 w 1960"/>
                  <a:gd name="T19" fmla="*/ 744 h 1918"/>
                  <a:gd name="T20" fmla="*/ 92 w 1960"/>
                  <a:gd name="T21" fmla="*/ 550 h 1918"/>
                  <a:gd name="T22" fmla="*/ 194 w 1960"/>
                  <a:gd name="T23" fmla="*/ 380 h 1918"/>
                  <a:gd name="T24" fmla="*/ 328 w 1960"/>
                  <a:gd name="T25" fmla="*/ 240 h 1918"/>
                  <a:gd name="T26" fmla="*/ 488 w 1960"/>
                  <a:gd name="T27" fmla="*/ 128 h 1918"/>
                  <a:gd name="T28" fmla="*/ 664 w 1960"/>
                  <a:gd name="T29" fmla="*/ 50 h 1918"/>
                  <a:gd name="T30" fmla="*/ 854 w 1960"/>
                  <a:gd name="T31" fmla="*/ 6 h 1918"/>
                  <a:gd name="T32" fmla="*/ 1002 w 1960"/>
                  <a:gd name="T33" fmla="*/ 0 h 1918"/>
                  <a:gd name="T34" fmla="*/ 1194 w 1960"/>
                  <a:gd name="T35" fmla="*/ 22 h 1918"/>
                  <a:gd name="T36" fmla="*/ 1374 w 1960"/>
                  <a:gd name="T37" fmla="*/ 80 h 1918"/>
                  <a:gd name="T38" fmla="*/ 1536 w 1960"/>
                  <a:gd name="T39" fmla="*/ 168 h 1918"/>
                  <a:gd name="T40" fmla="*/ 1678 w 1960"/>
                  <a:gd name="T41" fmla="*/ 282 h 1918"/>
                  <a:gd name="T42" fmla="*/ 1796 w 1960"/>
                  <a:gd name="T43" fmla="*/ 424 h 1918"/>
                  <a:gd name="T44" fmla="*/ 1884 w 1960"/>
                  <a:gd name="T45" fmla="*/ 586 h 1918"/>
                  <a:gd name="T46" fmla="*/ 1940 w 1960"/>
                  <a:gd name="T47" fmla="*/ 766 h 1918"/>
                  <a:gd name="T48" fmla="*/ 1960 w 1960"/>
                  <a:gd name="T49" fmla="*/ 964 h 1918"/>
                  <a:gd name="T50" fmla="*/ 1948 w 1960"/>
                  <a:gd name="T51" fmla="*/ 1110 h 1918"/>
                  <a:gd name="T52" fmla="*/ 1898 w 1960"/>
                  <a:gd name="T53" fmla="*/ 1294 h 1918"/>
                  <a:gd name="T54" fmla="*/ 1816 w 1960"/>
                  <a:gd name="T55" fmla="*/ 1462 h 1918"/>
                  <a:gd name="T56" fmla="*/ 1702 w 1960"/>
                  <a:gd name="T57" fmla="*/ 1610 h 1918"/>
                  <a:gd name="T58" fmla="*/ 1562 w 1960"/>
                  <a:gd name="T59" fmla="*/ 1732 h 1918"/>
                  <a:gd name="T60" fmla="*/ 1402 w 1960"/>
                  <a:gd name="T61" fmla="*/ 1828 h 1918"/>
                  <a:gd name="T62" fmla="*/ 1222 w 1960"/>
                  <a:gd name="T63" fmla="*/ 1890 h 1918"/>
                  <a:gd name="T64" fmla="*/ 1028 w 1960"/>
                  <a:gd name="T65" fmla="*/ 1918 h 1918"/>
                  <a:gd name="T66" fmla="*/ 982 w 1960"/>
                  <a:gd name="T67" fmla="*/ 428 h 1918"/>
                  <a:gd name="T68" fmla="*/ 898 w 1960"/>
                  <a:gd name="T69" fmla="*/ 630 h 1918"/>
                  <a:gd name="T70" fmla="*/ 832 w 1960"/>
                  <a:gd name="T71" fmla="*/ 808 h 1918"/>
                  <a:gd name="T72" fmla="*/ 796 w 1960"/>
                  <a:gd name="T73" fmla="*/ 846 h 1918"/>
                  <a:gd name="T74" fmla="*/ 754 w 1960"/>
                  <a:gd name="T75" fmla="*/ 852 h 1918"/>
                  <a:gd name="T76" fmla="*/ 494 w 1960"/>
                  <a:gd name="T77" fmla="*/ 850 h 1918"/>
                  <a:gd name="T78" fmla="*/ 758 w 1960"/>
                  <a:gd name="T79" fmla="*/ 1066 h 1918"/>
                  <a:gd name="T80" fmla="*/ 670 w 1960"/>
                  <a:gd name="T81" fmla="*/ 1448 h 1918"/>
                  <a:gd name="T82" fmla="*/ 870 w 1960"/>
                  <a:gd name="T83" fmla="*/ 1316 h 1918"/>
                  <a:gd name="T84" fmla="*/ 940 w 1960"/>
                  <a:gd name="T85" fmla="*/ 1276 h 1918"/>
                  <a:gd name="T86" fmla="*/ 992 w 1960"/>
                  <a:gd name="T87" fmla="*/ 1270 h 1918"/>
                  <a:gd name="T88" fmla="*/ 1060 w 1960"/>
                  <a:gd name="T89" fmla="*/ 1296 h 1918"/>
                  <a:gd name="T90" fmla="*/ 1152 w 1960"/>
                  <a:gd name="T91" fmla="*/ 1364 h 1918"/>
                  <a:gd name="T92" fmla="*/ 1364 w 1960"/>
                  <a:gd name="T93" fmla="*/ 1496 h 1918"/>
                  <a:gd name="T94" fmla="*/ 1506 w 1960"/>
                  <a:gd name="T95" fmla="*/ 864 h 1918"/>
                  <a:gd name="T96" fmla="*/ 1270 w 1960"/>
                  <a:gd name="T97" fmla="*/ 850 h 1918"/>
                  <a:gd name="T98" fmla="*/ 1168 w 1960"/>
                  <a:gd name="T99" fmla="*/ 850 h 1918"/>
                  <a:gd name="T100" fmla="*/ 1136 w 1960"/>
                  <a:gd name="T101" fmla="*/ 826 h 1918"/>
                  <a:gd name="T102" fmla="*/ 1092 w 1960"/>
                  <a:gd name="T103" fmla="*/ 712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60" h="1918">
                    <a:moveTo>
                      <a:pt x="976" y="1918"/>
                    </a:moveTo>
                    <a:lnTo>
                      <a:pt x="976" y="1918"/>
                    </a:lnTo>
                    <a:lnTo>
                      <a:pt x="926" y="1918"/>
                    </a:lnTo>
                    <a:lnTo>
                      <a:pt x="876" y="1914"/>
                    </a:lnTo>
                    <a:lnTo>
                      <a:pt x="828" y="1906"/>
                    </a:lnTo>
                    <a:lnTo>
                      <a:pt x="780" y="1898"/>
                    </a:lnTo>
                    <a:lnTo>
                      <a:pt x="732" y="1888"/>
                    </a:lnTo>
                    <a:lnTo>
                      <a:pt x="686" y="1876"/>
                    </a:lnTo>
                    <a:lnTo>
                      <a:pt x="642" y="1860"/>
                    </a:lnTo>
                    <a:lnTo>
                      <a:pt x="598" y="1844"/>
                    </a:lnTo>
                    <a:lnTo>
                      <a:pt x="556" y="1826"/>
                    </a:lnTo>
                    <a:lnTo>
                      <a:pt x="514" y="1806"/>
                    </a:lnTo>
                    <a:lnTo>
                      <a:pt x="474" y="1784"/>
                    </a:lnTo>
                    <a:lnTo>
                      <a:pt x="436" y="1760"/>
                    </a:lnTo>
                    <a:lnTo>
                      <a:pt x="398" y="1734"/>
                    </a:lnTo>
                    <a:lnTo>
                      <a:pt x="362" y="1708"/>
                    </a:lnTo>
                    <a:lnTo>
                      <a:pt x="328" y="1678"/>
                    </a:lnTo>
                    <a:lnTo>
                      <a:pt x="294" y="1648"/>
                    </a:lnTo>
                    <a:lnTo>
                      <a:pt x="264" y="1618"/>
                    </a:lnTo>
                    <a:lnTo>
                      <a:pt x="234" y="1584"/>
                    </a:lnTo>
                    <a:lnTo>
                      <a:pt x="204" y="1550"/>
                    </a:lnTo>
                    <a:lnTo>
                      <a:pt x="178" y="1516"/>
                    </a:lnTo>
                    <a:lnTo>
                      <a:pt x="154" y="1480"/>
                    </a:lnTo>
                    <a:lnTo>
                      <a:pt x="130" y="1442"/>
                    </a:lnTo>
                    <a:lnTo>
                      <a:pt x="108" y="1404"/>
                    </a:lnTo>
                    <a:lnTo>
                      <a:pt x="88" y="1364"/>
                    </a:lnTo>
                    <a:lnTo>
                      <a:pt x="70" y="1324"/>
                    </a:lnTo>
                    <a:lnTo>
                      <a:pt x="54" y="1282"/>
                    </a:lnTo>
                    <a:lnTo>
                      <a:pt x="42" y="1240"/>
                    </a:lnTo>
                    <a:lnTo>
                      <a:pt x="30" y="1196"/>
                    </a:lnTo>
                    <a:lnTo>
                      <a:pt x="20" y="1154"/>
                    </a:lnTo>
                    <a:lnTo>
                      <a:pt x="12" y="1110"/>
                    </a:lnTo>
                    <a:lnTo>
                      <a:pt x="6" y="1064"/>
                    </a:lnTo>
                    <a:lnTo>
                      <a:pt x="2" y="1018"/>
                    </a:lnTo>
                    <a:lnTo>
                      <a:pt x="2" y="1018"/>
                    </a:lnTo>
                    <a:lnTo>
                      <a:pt x="0" y="962"/>
                    </a:lnTo>
                    <a:lnTo>
                      <a:pt x="2" y="906"/>
                    </a:lnTo>
                    <a:lnTo>
                      <a:pt x="6" y="850"/>
                    </a:lnTo>
                    <a:lnTo>
                      <a:pt x="14" y="796"/>
                    </a:lnTo>
                    <a:lnTo>
                      <a:pt x="24" y="744"/>
                    </a:lnTo>
                    <a:lnTo>
                      <a:pt x="38" y="694"/>
                    </a:lnTo>
                    <a:lnTo>
                      <a:pt x="52" y="644"/>
                    </a:lnTo>
                    <a:lnTo>
                      <a:pt x="70" y="596"/>
                    </a:lnTo>
                    <a:lnTo>
                      <a:pt x="92" y="550"/>
                    </a:lnTo>
                    <a:lnTo>
                      <a:pt x="114" y="506"/>
                    </a:lnTo>
                    <a:lnTo>
                      <a:pt x="138" y="462"/>
                    </a:lnTo>
                    <a:lnTo>
                      <a:pt x="166" y="420"/>
                    </a:lnTo>
                    <a:lnTo>
                      <a:pt x="194" y="380"/>
                    </a:lnTo>
                    <a:lnTo>
                      <a:pt x="226" y="342"/>
                    </a:lnTo>
                    <a:lnTo>
                      <a:pt x="258" y="306"/>
                    </a:lnTo>
                    <a:lnTo>
                      <a:pt x="292" y="272"/>
                    </a:lnTo>
                    <a:lnTo>
                      <a:pt x="328" y="240"/>
                    </a:lnTo>
                    <a:lnTo>
                      <a:pt x="366" y="208"/>
                    </a:lnTo>
                    <a:lnTo>
                      <a:pt x="406" y="180"/>
                    </a:lnTo>
                    <a:lnTo>
                      <a:pt x="446" y="152"/>
                    </a:lnTo>
                    <a:lnTo>
                      <a:pt x="488" y="128"/>
                    </a:lnTo>
                    <a:lnTo>
                      <a:pt x="530" y="106"/>
                    </a:lnTo>
                    <a:lnTo>
                      <a:pt x="574" y="84"/>
                    </a:lnTo>
                    <a:lnTo>
                      <a:pt x="618" y="66"/>
                    </a:lnTo>
                    <a:lnTo>
                      <a:pt x="664" y="50"/>
                    </a:lnTo>
                    <a:lnTo>
                      <a:pt x="712" y="36"/>
                    </a:lnTo>
                    <a:lnTo>
                      <a:pt x="758" y="24"/>
                    </a:lnTo>
                    <a:lnTo>
                      <a:pt x="806" y="14"/>
                    </a:lnTo>
                    <a:lnTo>
                      <a:pt x="854" y="6"/>
                    </a:lnTo>
                    <a:lnTo>
                      <a:pt x="904" y="2"/>
                    </a:lnTo>
                    <a:lnTo>
                      <a:pt x="952" y="0"/>
                    </a:lnTo>
                    <a:lnTo>
                      <a:pt x="1002" y="0"/>
                    </a:lnTo>
                    <a:lnTo>
                      <a:pt x="1002" y="0"/>
                    </a:lnTo>
                    <a:lnTo>
                      <a:pt x="1052" y="2"/>
                    </a:lnTo>
                    <a:lnTo>
                      <a:pt x="1100" y="6"/>
                    </a:lnTo>
                    <a:lnTo>
                      <a:pt x="1146" y="14"/>
                    </a:lnTo>
                    <a:lnTo>
                      <a:pt x="1194" y="22"/>
                    </a:lnTo>
                    <a:lnTo>
                      <a:pt x="1240" y="34"/>
                    </a:lnTo>
                    <a:lnTo>
                      <a:pt x="1286" y="48"/>
                    </a:lnTo>
                    <a:lnTo>
                      <a:pt x="1330" y="62"/>
                    </a:lnTo>
                    <a:lnTo>
                      <a:pt x="1374" y="80"/>
                    </a:lnTo>
                    <a:lnTo>
                      <a:pt x="1416" y="98"/>
                    </a:lnTo>
                    <a:lnTo>
                      <a:pt x="1456" y="120"/>
                    </a:lnTo>
                    <a:lnTo>
                      <a:pt x="1496" y="142"/>
                    </a:lnTo>
                    <a:lnTo>
                      <a:pt x="1536" y="168"/>
                    </a:lnTo>
                    <a:lnTo>
                      <a:pt x="1574" y="194"/>
                    </a:lnTo>
                    <a:lnTo>
                      <a:pt x="1610" y="222"/>
                    </a:lnTo>
                    <a:lnTo>
                      <a:pt x="1644" y="252"/>
                    </a:lnTo>
                    <a:lnTo>
                      <a:pt x="1678" y="282"/>
                    </a:lnTo>
                    <a:lnTo>
                      <a:pt x="1710" y="316"/>
                    </a:lnTo>
                    <a:lnTo>
                      <a:pt x="1740" y="350"/>
                    </a:lnTo>
                    <a:lnTo>
                      <a:pt x="1768" y="386"/>
                    </a:lnTo>
                    <a:lnTo>
                      <a:pt x="1796" y="424"/>
                    </a:lnTo>
                    <a:lnTo>
                      <a:pt x="1820" y="462"/>
                    </a:lnTo>
                    <a:lnTo>
                      <a:pt x="1844" y="502"/>
                    </a:lnTo>
                    <a:lnTo>
                      <a:pt x="1864" y="544"/>
                    </a:lnTo>
                    <a:lnTo>
                      <a:pt x="1884" y="586"/>
                    </a:lnTo>
                    <a:lnTo>
                      <a:pt x="1902" y="630"/>
                    </a:lnTo>
                    <a:lnTo>
                      <a:pt x="1916" y="674"/>
                    </a:lnTo>
                    <a:lnTo>
                      <a:pt x="1930" y="720"/>
                    </a:lnTo>
                    <a:lnTo>
                      <a:pt x="1940" y="766"/>
                    </a:lnTo>
                    <a:lnTo>
                      <a:pt x="1948" y="814"/>
                    </a:lnTo>
                    <a:lnTo>
                      <a:pt x="1954" y="862"/>
                    </a:lnTo>
                    <a:lnTo>
                      <a:pt x="1958" y="912"/>
                    </a:lnTo>
                    <a:lnTo>
                      <a:pt x="1960" y="964"/>
                    </a:lnTo>
                    <a:lnTo>
                      <a:pt x="1960" y="964"/>
                    </a:lnTo>
                    <a:lnTo>
                      <a:pt x="1958" y="1012"/>
                    </a:lnTo>
                    <a:lnTo>
                      <a:pt x="1954" y="1062"/>
                    </a:lnTo>
                    <a:lnTo>
                      <a:pt x="1948" y="1110"/>
                    </a:lnTo>
                    <a:lnTo>
                      <a:pt x="1938" y="1158"/>
                    </a:lnTo>
                    <a:lnTo>
                      <a:pt x="1928" y="1204"/>
                    </a:lnTo>
                    <a:lnTo>
                      <a:pt x="1914" y="1250"/>
                    </a:lnTo>
                    <a:lnTo>
                      <a:pt x="1898" y="1294"/>
                    </a:lnTo>
                    <a:lnTo>
                      <a:pt x="1882" y="1338"/>
                    </a:lnTo>
                    <a:lnTo>
                      <a:pt x="1862" y="1382"/>
                    </a:lnTo>
                    <a:lnTo>
                      <a:pt x="1840" y="1422"/>
                    </a:lnTo>
                    <a:lnTo>
                      <a:pt x="1816" y="1462"/>
                    </a:lnTo>
                    <a:lnTo>
                      <a:pt x="1790" y="1502"/>
                    </a:lnTo>
                    <a:lnTo>
                      <a:pt x="1762" y="1540"/>
                    </a:lnTo>
                    <a:lnTo>
                      <a:pt x="1734" y="1576"/>
                    </a:lnTo>
                    <a:lnTo>
                      <a:pt x="1702" y="1610"/>
                    </a:lnTo>
                    <a:lnTo>
                      <a:pt x="1670" y="1642"/>
                    </a:lnTo>
                    <a:lnTo>
                      <a:pt x="1636" y="1674"/>
                    </a:lnTo>
                    <a:lnTo>
                      <a:pt x="1600" y="1704"/>
                    </a:lnTo>
                    <a:lnTo>
                      <a:pt x="1562" y="1732"/>
                    </a:lnTo>
                    <a:lnTo>
                      <a:pt x="1524" y="1760"/>
                    </a:lnTo>
                    <a:lnTo>
                      <a:pt x="1484" y="1784"/>
                    </a:lnTo>
                    <a:lnTo>
                      <a:pt x="1444" y="1806"/>
                    </a:lnTo>
                    <a:lnTo>
                      <a:pt x="1402" y="1828"/>
                    </a:lnTo>
                    <a:lnTo>
                      <a:pt x="1358" y="1846"/>
                    </a:lnTo>
                    <a:lnTo>
                      <a:pt x="1314" y="1864"/>
                    </a:lnTo>
                    <a:lnTo>
                      <a:pt x="1268" y="1878"/>
                    </a:lnTo>
                    <a:lnTo>
                      <a:pt x="1222" y="1890"/>
                    </a:lnTo>
                    <a:lnTo>
                      <a:pt x="1174" y="1900"/>
                    </a:lnTo>
                    <a:lnTo>
                      <a:pt x="1126" y="1908"/>
                    </a:lnTo>
                    <a:lnTo>
                      <a:pt x="1076" y="1914"/>
                    </a:lnTo>
                    <a:lnTo>
                      <a:pt x="1028" y="1918"/>
                    </a:lnTo>
                    <a:lnTo>
                      <a:pt x="976" y="1918"/>
                    </a:lnTo>
                    <a:lnTo>
                      <a:pt x="976" y="1918"/>
                    </a:lnTo>
                    <a:close/>
                    <a:moveTo>
                      <a:pt x="982" y="428"/>
                    </a:moveTo>
                    <a:lnTo>
                      <a:pt x="982" y="428"/>
                    </a:lnTo>
                    <a:lnTo>
                      <a:pt x="970" y="452"/>
                    </a:lnTo>
                    <a:lnTo>
                      <a:pt x="962" y="468"/>
                    </a:lnTo>
                    <a:lnTo>
                      <a:pt x="962" y="468"/>
                    </a:lnTo>
                    <a:lnTo>
                      <a:pt x="898" y="630"/>
                    </a:lnTo>
                    <a:lnTo>
                      <a:pt x="868" y="710"/>
                    </a:lnTo>
                    <a:lnTo>
                      <a:pt x="838" y="792"/>
                    </a:lnTo>
                    <a:lnTo>
                      <a:pt x="838" y="792"/>
                    </a:lnTo>
                    <a:lnTo>
                      <a:pt x="832" y="808"/>
                    </a:lnTo>
                    <a:lnTo>
                      <a:pt x="824" y="822"/>
                    </a:lnTo>
                    <a:lnTo>
                      <a:pt x="816" y="832"/>
                    </a:lnTo>
                    <a:lnTo>
                      <a:pt x="808" y="840"/>
                    </a:lnTo>
                    <a:lnTo>
                      <a:pt x="796" y="846"/>
                    </a:lnTo>
                    <a:lnTo>
                      <a:pt x="784" y="850"/>
                    </a:lnTo>
                    <a:lnTo>
                      <a:pt x="770" y="852"/>
                    </a:lnTo>
                    <a:lnTo>
                      <a:pt x="754" y="852"/>
                    </a:lnTo>
                    <a:lnTo>
                      <a:pt x="754" y="852"/>
                    </a:lnTo>
                    <a:lnTo>
                      <a:pt x="688" y="850"/>
                    </a:lnTo>
                    <a:lnTo>
                      <a:pt x="624" y="850"/>
                    </a:lnTo>
                    <a:lnTo>
                      <a:pt x="494" y="850"/>
                    </a:lnTo>
                    <a:lnTo>
                      <a:pt x="494" y="850"/>
                    </a:lnTo>
                    <a:lnTo>
                      <a:pt x="472" y="852"/>
                    </a:lnTo>
                    <a:lnTo>
                      <a:pt x="442" y="858"/>
                    </a:lnTo>
                    <a:lnTo>
                      <a:pt x="442" y="858"/>
                    </a:lnTo>
                    <a:lnTo>
                      <a:pt x="758" y="1066"/>
                    </a:lnTo>
                    <a:lnTo>
                      <a:pt x="758" y="1066"/>
                    </a:lnTo>
                    <a:lnTo>
                      <a:pt x="596" y="1496"/>
                    </a:lnTo>
                    <a:lnTo>
                      <a:pt x="596" y="1496"/>
                    </a:lnTo>
                    <a:lnTo>
                      <a:pt x="670" y="1448"/>
                    </a:lnTo>
                    <a:lnTo>
                      <a:pt x="742" y="1406"/>
                    </a:lnTo>
                    <a:lnTo>
                      <a:pt x="808" y="1362"/>
                    </a:lnTo>
                    <a:lnTo>
                      <a:pt x="840" y="1340"/>
                    </a:lnTo>
                    <a:lnTo>
                      <a:pt x="870" y="1316"/>
                    </a:lnTo>
                    <a:lnTo>
                      <a:pt x="870" y="1316"/>
                    </a:lnTo>
                    <a:lnTo>
                      <a:pt x="898" y="1296"/>
                    </a:lnTo>
                    <a:lnTo>
                      <a:pt x="926" y="1282"/>
                    </a:lnTo>
                    <a:lnTo>
                      <a:pt x="940" y="1276"/>
                    </a:lnTo>
                    <a:lnTo>
                      <a:pt x="954" y="1272"/>
                    </a:lnTo>
                    <a:lnTo>
                      <a:pt x="966" y="1270"/>
                    </a:lnTo>
                    <a:lnTo>
                      <a:pt x="980" y="1270"/>
                    </a:lnTo>
                    <a:lnTo>
                      <a:pt x="992" y="1270"/>
                    </a:lnTo>
                    <a:lnTo>
                      <a:pt x="1006" y="1274"/>
                    </a:lnTo>
                    <a:lnTo>
                      <a:pt x="1020" y="1276"/>
                    </a:lnTo>
                    <a:lnTo>
                      <a:pt x="1032" y="1282"/>
                    </a:lnTo>
                    <a:lnTo>
                      <a:pt x="1060" y="1296"/>
                    </a:lnTo>
                    <a:lnTo>
                      <a:pt x="1088" y="1318"/>
                    </a:lnTo>
                    <a:lnTo>
                      <a:pt x="1088" y="1318"/>
                    </a:lnTo>
                    <a:lnTo>
                      <a:pt x="1120" y="1340"/>
                    </a:lnTo>
                    <a:lnTo>
                      <a:pt x="1152" y="1364"/>
                    </a:lnTo>
                    <a:lnTo>
                      <a:pt x="1218" y="1406"/>
                    </a:lnTo>
                    <a:lnTo>
                      <a:pt x="1290" y="1450"/>
                    </a:lnTo>
                    <a:lnTo>
                      <a:pt x="1364" y="1496"/>
                    </a:lnTo>
                    <a:lnTo>
                      <a:pt x="1364" y="1496"/>
                    </a:lnTo>
                    <a:lnTo>
                      <a:pt x="1200" y="1068"/>
                    </a:lnTo>
                    <a:lnTo>
                      <a:pt x="1200" y="1068"/>
                    </a:lnTo>
                    <a:lnTo>
                      <a:pt x="1506" y="864"/>
                    </a:lnTo>
                    <a:lnTo>
                      <a:pt x="1506" y="864"/>
                    </a:lnTo>
                    <a:lnTo>
                      <a:pt x="1500" y="850"/>
                    </a:lnTo>
                    <a:lnTo>
                      <a:pt x="1500" y="850"/>
                    </a:lnTo>
                    <a:lnTo>
                      <a:pt x="1346" y="850"/>
                    </a:lnTo>
                    <a:lnTo>
                      <a:pt x="1270" y="850"/>
                    </a:lnTo>
                    <a:lnTo>
                      <a:pt x="1194" y="852"/>
                    </a:lnTo>
                    <a:lnTo>
                      <a:pt x="1194" y="852"/>
                    </a:lnTo>
                    <a:lnTo>
                      <a:pt x="1180" y="850"/>
                    </a:lnTo>
                    <a:lnTo>
                      <a:pt x="1168" y="850"/>
                    </a:lnTo>
                    <a:lnTo>
                      <a:pt x="1158" y="846"/>
                    </a:lnTo>
                    <a:lnTo>
                      <a:pt x="1150" y="842"/>
                    </a:lnTo>
                    <a:lnTo>
                      <a:pt x="1142" y="834"/>
                    </a:lnTo>
                    <a:lnTo>
                      <a:pt x="1136" y="826"/>
                    </a:lnTo>
                    <a:lnTo>
                      <a:pt x="1130" y="816"/>
                    </a:lnTo>
                    <a:lnTo>
                      <a:pt x="1124" y="802"/>
                    </a:lnTo>
                    <a:lnTo>
                      <a:pt x="1124" y="802"/>
                    </a:lnTo>
                    <a:lnTo>
                      <a:pt x="1092" y="712"/>
                    </a:lnTo>
                    <a:lnTo>
                      <a:pt x="1056" y="618"/>
                    </a:lnTo>
                    <a:lnTo>
                      <a:pt x="982" y="428"/>
                    </a:lnTo>
                    <a:lnTo>
                      <a:pt x="982" y="4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000000"/>
                  </a:solidFill>
                  <a:effectLst/>
                  <a:uLnTx/>
                  <a:uFillTx/>
                  <a:latin typeface="+mj-lt"/>
                </a:endParaRPr>
              </a:p>
            </p:txBody>
          </p:sp>
          <p:sp>
            <p:nvSpPr>
              <p:cNvPr id="74" name="Freeform 40"/>
              <p:cNvSpPr>
                <a:spLocks/>
              </p:cNvSpPr>
              <p:nvPr/>
            </p:nvSpPr>
            <p:spPr bwMode="auto">
              <a:xfrm>
                <a:off x="2714" y="1845"/>
                <a:ext cx="1036" cy="1316"/>
              </a:xfrm>
              <a:custGeom>
                <a:avLst/>
                <a:gdLst>
                  <a:gd name="T0" fmla="*/ 1036 w 1036"/>
                  <a:gd name="T1" fmla="*/ 1082 h 1316"/>
                  <a:gd name="T2" fmla="*/ 1036 w 1036"/>
                  <a:gd name="T3" fmla="*/ 1082 h 1316"/>
                  <a:gd name="T4" fmla="*/ 614 w 1036"/>
                  <a:gd name="T5" fmla="*/ 902 h 1316"/>
                  <a:gd name="T6" fmla="*/ 614 w 1036"/>
                  <a:gd name="T7" fmla="*/ 902 h 1316"/>
                  <a:gd name="T8" fmla="*/ 430 w 1036"/>
                  <a:gd name="T9" fmla="*/ 1316 h 1316"/>
                  <a:gd name="T10" fmla="*/ 430 w 1036"/>
                  <a:gd name="T11" fmla="*/ 1316 h 1316"/>
                  <a:gd name="T12" fmla="*/ 0 w 1036"/>
                  <a:gd name="T13" fmla="*/ 212 h 1316"/>
                  <a:gd name="T14" fmla="*/ 0 w 1036"/>
                  <a:gd name="T15" fmla="*/ 212 h 1316"/>
                  <a:gd name="T16" fmla="*/ 80 w 1036"/>
                  <a:gd name="T17" fmla="*/ 194 h 1316"/>
                  <a:gd name="T18" fmla="*/ 158 w 1036"/>
                  <a:gd name="T19" fmla="*/ 178 h 1316"/>
                  <a:gd name="T20" fmla="*/ 236 w 1036"/>
                  <a:gd name="T21" fmla="*/ 160 h 1316"/>
                  <a:gd name="T22" fmla="*/ 274 w 1036"/>
                  <a:gd name="T23" fmla="*/ 150 h 1316"/>
                  <a:gd name="T24" fmla="*/ 312 w 1036"/>
                  <a:gd name="T25" fmla="*/ 138 h 1316"/>
                  <a:gd name="T26" fmla="*/ 312 w 1036"/>
                  <a:gd name="T27" fmla="*/ 138 h 1316"/>
                  <a:gd name="T28" fmla="*/ 350 w 1036"/>
                  <a:gd name="T29" fmla="*/ 124 h 1316"/>
                  <a:gd name="T30" fmla="*/ 386 w 1036"/>
                  <a:gd name="T31" fmla="*/ 108 h 1316"/>
                  <a:gd name="T32" fmla="*/ 458 w 1036"/>
                  <a:gd name="T33" fmla="*/ 74 h 1316"/>
                  <a:gd name="T34" fmla="*/ 532 w 1036"/>
                  <a:gd name="T35" fmla="*/ 38 h 1316"/>
                  <a:gd name="T36" fmla="*/ 608 w 1036"/>
                  <a:gd name="T37" fmla="*/ 0 h 1316"/>
                  <a:gd name="T38" fmla="*/ 608 w 1036"/>
                  <a:gd name="T39" fmla="*/ 0 h 1316"/>
                  <a:gd name="T40" fmla="*/ 1036 w 1036"/>
                  <a:gd name="T41" fmla="*/ 1082 h 1316"/>
                  <a:gd name="T42" fmla="*/ 1036 w 1036"/>
                  <a:gd name="T43" fmla="*/ 1082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6" h="1316">
                    <a:moveTo>
                      <a:pt x="1036" y="1082"/>
                    </a:moveTo>
                    <a:lnTo>
                      <a:pt x="1036" y="1082"/>
                    </a:lnTo>
                    <a:lnTo>
                      <a:pt x="614" y="902"/>
                    </a:lnTo>
                    <a:lnTo>
                      <a:pt x="614" y="902"/>
                    </a:lnTo>
                    <a:lnTo>
                      <a:pt x="430" y="1316"/>
                    </a:lnTo>
                    <a:lnTo>
                      <a:pt x="430" y="1316"/>
                    </a:lnTo>
                    <a:lnTo>
                      <a:pt x="0" y="212"/>
                    </a:lnTo>
                    <a:lnTo>
                      <a:pt x="0" y="212"/>
                    </a:lnTo>
                    <a:lnTo>
                      <a:pt x="80" y="194"/>
                    </a:lnTo>
                    <a:lnTo>
                      <a:pt x="158" y="178"/>
                    </a:lnTo>
                    <a:lnTo>
                      <a:pt x="236" y="160"/>
                    </a:lnTo>
                    <a:lnTo>
                      <a:pt x="274" y="150"/>
                    </a:lnTo>
                    <a:lnTo>
                      <a:pt x="312" y="138"/>
                    </a:lnTo>
                    <a:lnTo>
                      <a:pt x="312" y="138"/>
                    </a:lnTo>
                    <a:lnTo>
                      <a:pt x="350" y="124"/>
                    </a:lnTo>
                    <a:lnTo>
                      <a:pt x="386" y="108"/>
                    </a:lnTo>
                    <a:lnTo>
                      <a:pt x="458" y="74"/>
                    </a:lnTo>
                    <a:lnTo>
                      <a:pt x="532" y="38"/>
                    </a:lnTo>
                    <a:lnTo>
                      <a:pt x="608" y="0"/>
                    </a:lnTo>
                    <a:lnTo>
                      <a:pt x="608" y="0"/>
                    </a:lnTo>
                    <a:lnTo>
                      <a:pt x="1036" y="1082"/>
                    </a:lnTo>
                    <a:lnTo>
                      <a:pt x="1036" y="10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000000"/>
                  </a:solidFill>
                  <a:effectLst/>
                  <a:uLnTx/>
                  <a:uFillTx/>
                  <a:latin typeface="+mj-lt"/>
                </a:endParaRPr>
              </a:p>
            </p:txBody>
          </p:sp>
          <p:sp>
            <p:nvSpPr>
              <p:cNvPr id="75" name="Freeform 41"/>
              <p:cNvSpPr>
                <a:spLocks/>
              </p:cNvSpPr>
              <p:nvPr/>
            </p:nvSpPr>
            <p:spPr bwMode="auto">
              <a:xfrm>
                <a:off x="1568" y="1835"/>
                <a:ext cx="1038" cy="1326"/>
              </a:xfrm>
              <a:custGeom>
                <a:avLst/>
                <a:gdLst>
                  <a:gd name="T0" fmla="*/ 1038 w 1038"/>
                  <a:gd name="T1" fmla="*/ 212 h 1326"/>
                  <a:gd name="T2" fmla="*/ 1038 w 1038"/>
                  <a:gd name="T3" fmla="*/ 212 h 1326"/>
                  <a:gd name="T4" fmla="*/ 606 w 1038"/>
                  <a:gd name="T5" fmla="*/ 1326 h 1326"/>
                  <a:gd name="T6" fmla="*/ 606 w 1038"/>
                  <a:gd name="T7" fmla="*/ 1326 h 1326"/>
                  <a:gd name="T8" fmla="*/ 420 w 1038"/>
                  <a:gd name="T9" fmla="*/ 912 h 1326"/>
                  <a:gd name="T10" fmla="*/ 420 w 1038"/>
                  <a:gd name="T11" fmla="*/ 912 h 1326"/>
                  <a:gd name="T12" fmla="*/ 0 w 1038"/>
                  <a:gd name="T13" fmla="*/ 1092 h 1326"/>
                  <a:gd name="T14" fmla="*/ 0 w 1038"/>
                  <a:gd name="T15" fmla="*/ 1092 h 1326"/>
                  <a:gd name="T16" fmla="*/ 432 w 1038"/>
                  <a:gd name="T17" fmla="*/ 0 h 1326"/>
                  <a:gd name="T18" fmla="*/ 432 w 1038"/>
                  <a:gd name="T19" fmla="*/ 0 h 1326"/>
                  <a:gd name="T20" fmla="*/ 466 w 1038"/>
                  <a:gd name="T21" fmla="*/ 24 h 1326"/>
                  <a:gd name="T22" fmla="*/ 500 w 1038"/>
                  <a:gd name="T23" fmla="*/ 46 h 1326"/>
                  <a:gd name="T24" fmla="*/ 536 w 1038"/>
                  <a:gd name="T25" fmla="*/ 68 h 1326"/>
                  <a:gd name="T26" fmla="*/ 570 w 1038"/>
                  <a:gd name="T27" fmla="*/ 86 h 1326"/>
                  <a:gd name="T28" fmla="*/ 606 w 1038"/>
                  <a:gd name="T29" fmla="*/ 104 h 1326"/>
                  <a:gd name="T30" fmla="*/ 644 w 1038"/>
                  <a:gd name="T31" fmla="*/ 122 h 1326"/>
                  <a:gd name="T32" fmla="*/ 680 w 1038"/>
                  <a:gd name="T33" fmla="*/ 136 h 1326"/>
                  <a:gd name="T34" fmla="*/ 718 w 1038"/>
                  <a:gd name="T35" fmla="*/ 150 h 1326"/>
                  <a:gd name="T36" fmla="*/ 756 w 1038"/>
                  <a:gd name="T37" fmla="*/ 162 h 1326"/>
                  <a:gd name="T38" fmla="*/ 796 w 1038"/>
                  <a:gd name="T39" fmla="*/ 172 h 1326"/>
                  <a:gd name="T40" fmla="*/ 834 w 1038"/>
                  <a:gd name="T41" fmla="*/ 182 h 1326"/>
                  <a:gd name="T42" fmla="*/ 874 w 1038"/>
                  <a:gd name="T43" fmla="*/ 190 h 1326"/>
                  <a:gd name="T44" fmla="*/ 914 w 1038"/>
                  <a:gd name="T45" fmla="*/ 198 h 1326"/>
                  <a:gd name="T46" fmla="*/ 956 w 1038"/>
                  <a:gd name="T47" fmla="*/ 204 h 1326"/>
                  <a:gd name="T48" fmla="*/ 1038 w 1038"/>
                  <a:gd name="T49" fmla="*/ 212 h 1326"/>
                  <a:gd name="T50" fmla="*/ 1038 w 1038"/>
                  <a:gd name="T51" fmla="*/ 212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8" h="1326">
                    <a:moveTo>
                      <a:pt x="1038" y="212"/>
                    </a:moveTo>
                    <a:lnTo>
                      <a:pt x="1038" y="212"/>
                    </a:lnTo>
                    <a:lnTo>
                      <a:pt x="606" y="1326"/>
                    </a:lnTo>
                    <a:lnTo>
                      <a:pt x="606" y="1326"/>
                    </a:lnTo>
                    <a:lnTo>
                      <a:pt x="420" y="912"/>
                    </a:lnTo>
                    <a:lnTo>
                      <a:pt x="420" y="912"/>
                    </a:lnTo>
                    <a:lnTo>
                      <a:pt x="0" y="1092"/>
                    </a:lnTo>
                    <a:lnTo>
                      <a:pt x="0" y="1092"/>
                    </a:lnTo>
                    <a:lnTo>
                      <a:pt x="432" y="0"/>
                    </a:lnTo>
                    <a:lnTo>
                      <a:pt x="432" y="0"/>
                    </a:lnTo>
                    <a:lnTo>
                      <a:pt x="466" y="24"/>
                    </a:lnTo>
                    <a:lnTo>
                      <a:pt x="500" y="46"/>
                    </a:lnTo>
                    <a:lnTo>
                      <a:pt x="536" y="68"/>
                    </a:lnTo>
                    <a:lnTo>
                      <a:pt x="570" y="86"/>
                    </a:lnTo>
                    <a:lnTo>
                      <a:pt x="606" y="104"/>
                    </a:lnTo>
                    <a:lnTo>
                      <a:pt x="644" y="122"/>
                    </a:lnTo>
                    <a:lnTo>
                      <a:pt x="680" y="136"/>
                    </a:lnTo>
                    <a:lnTo>
                      <a:pt x="718" y="150"/>
                    </a:lnTo>
                    <a:lnTo>
                      <a:pt x="756" y="162"/>
                    </a:lnTo>
                    <a:lnTo>
                      <a:pt x="796" y="172"/>
                    </a:lnTo>
                    <a:lnTo>
                      <a:pt x="834" y="182"/>
                    </a:lnTo>
                    <a:lnTo>
                      <a:pt x="874" y="190"/>
                    </a:lnTo>
                    <a:lnTo>
                      <a:pt x="914" y="198"/>
                    </a:lnTo>
                    <a:lnTo>
                      <a:pt x="956" y="204"/>
                    </a:lnTo>
                    <a:lnTo>
                      <a:pt x="1038" y="212"/>
                    </a:lnTo>
                    <a:lnTo>
                      <a:pt x="1038" y="2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smtClean="0">
                  <a:ln>
                    <a:noFill/>
                  </a:ln>
                  <a:solidFill>
                    <a:srgbClr val="000000"/>
                  </a:solidFill>
                  <a:effectLst/>
                  <a:uLnTx/>
                  <a:uFillTx/>
                  <a:latin typeface="+mj-lt"/>
                </a:endParaRPr>
              </a:p>
            </p:txBody>
          </p:sp>
        </p:grpSp>
        <p:sp>
          <p:nvSpPr>
            <p:cNvPr id="66" name="Freeform 171"/>
            <p:cNvSpPr>
              <a:spLocks noEditPoints="1"/>
            </p:cNvSpPr>
            <p:nvPr/>
          </p:nvSpPr>
          <p:spPr bwMode="auto">
            <a:xfrm>
              <a:off x="3163614" y="4427959"/>
              <a:ext cx="598896" cy="555840"/>
            </a:xfrm>
            <a:custGeom>
              <a:avLst/>
              <a:gdLst>
                <a:gd name="T0" fmla="*/ 995 w 2754"/>
                <a:gd name="T1" fmla="*/ 357 h 2556"/>
                <a:gd name="T2" fmla="*/ 1035 w 2754"/>
                <a:gd name="T3" fmla="*/ 153 h 2556"/>
                <a:gd name="T4" fmla="*/ 871 w 2754"/>
                <a:gd name="T5" fmla="*/ 5 h 2556"/>
                <a:gd name="T6" fmla="*/ 672 w 2754"/>
                <a:gd name="T7" fmla="*/ 64 h 2556"/>
                <a:gd name="T8" fmla="*/ 613 w 2754"/>
                <a:gd name="T9" fmla="*/ 263 h 2556"/>
                <a:gd name="T10" fmla="*/ 761 w 2754"/>
                <a:gd name="T11" fmla="*/ 427 h 2556"/>
                <a:gd name="T12" fmla="*/ 2272 w 2754"/>
                <a:gd name="T13" fmla="*/ 186 h 2556"/>
                <a:gd name="T14" fmla="*/ 2091 w 2754"/>
                <a:gd name="T15" fmla="*/ 89 h 2556"/>
                <a:gd name="T16" fmla="*/ 1899 w 2754"/>
                <a:gd name="T17" fmla="*/ 204 h 2556"/>
                <a:gd name="T18" fmla="*/ 1899 w 2754"/>
                <a:gd name="T19" fmla="*/ 411 h 2556"/>
                <a:gd name="T20" fmla="*/ 2091 w 2754"/>
                <a:gd name="T21" fmla="*/ 526 h 2556"/>
                <a:gd name="T22" fmla="*/ 2272 w 2754"/>
                <a:gd name="T23" fmla="*/ 429 h 2556"/>
                <a:gd name="T24" fmla="*/ 153 w 2754"/>
                <a:gd name="T25" fmla="*/ 1154 h 2556"/>
                <a:gd name="T26" fmla="*/ 5 w 2754"/>
                <a:gd name="T27" fmla="*/ 1319 h 2556"/>
                <a:gd name="T28" fmla="*/ 64 w 2754"/>
                <a:gd name="T29" fmla="*/ 1517 h 2556"/>
                <a:gd name="T30" fmla="*/ 262 w 2754"/>
                <a:gd name="T31" fmla="*/ 1577 h 2556"/>
                <a:gd name="T32" fmla="*/ 427 w 2754"/>
                <a:gd name="T33" fmla="*/ 1428 h 2556"/>
                <a:gd name="T34" fmla="*/ 386 w 2754"/>
                <a:gd name="T35" fmla="*/ 1224 h 2556"/>
                <a:gd name="T36" fmla="*/ 1228 w 2754"/>
                <a:gd name="T37" fmla="*/ 764 h 2556"/>
                <a:gd name="T38" fmla="*/ 1075 w 2754"/>
                <a:gd name="T39" fmla="*/ 807 h 2556"/>
                <a:gd name="T40" fmla="*/ 969 w 2754"/>
                <a:gd name="T41" fmla="*/ 920 h 2556"/>
                <a:gd name="T42" fmla="*/ 933 w 2754"/>
                <a:gd name="T43" fmla="*/ 1060 h 2556"/>
                <a:gd name="T44" fmla="*/ 975 w 2754"/>
                <a:gd name="T45" fmla="*/ 1214 h 2556"/>
                <a:gd name="T46" fmla="*/ 1087 w 2754"/>
                <a:gd name="T47" fmla="*/ 1321 h 2556"/>
                <a:gd name="T48" fmla="*/ 1228 w 2754"/>
                <a:gd name="T49" fmla="*/ 1356 h 2556"/>
                <a:gd name="T50" fmla="*/ 1382 w 2754"/>
                <a:gd name="T51" fmla="*/ 1313 h 2556"/>
                <a:gd name="T52" fmla="*/ 1488 w 2754"/>
                <a:gd name="T53" fmla="*/ 1201 h 2556"/>
                <a:gd name="T54" fmla="*/ 1524 w 2754"/>
                <a:gd name="T55" fmla="*/ 1060 h 2556"/>
                <a:gd name="T56" fmla="*/ 1481 w 2754"/>
                <a:gd name="T57" fmla="*/ 907 h 2556"/>
                <a:gd name="T58" fmla="*/ 1370 w 2754"/>
                <a:gd name="T59" fmla="*/ 800 h 2556"/>
                <a:gd name="T60" fmla="*/ 2458 w 2754"/>
                <a:gd name="T61" fmla="*/ 1225 h 2556"/>
                <a:gd name="T62" fmla="*/ 2317 w 2754"/>
                <a:gd name="T63" fmla="*/ 1261 h 2556"/>
                <a:gd name="T64" fmla="*/ 2205 w 2754"/>
                <a:gd name="T65" fmla="*/ 1367 h 2556"/>
                <a:gd name="T66" fmla="*/ 2163 w 2754"/>
                <a:gd name="T67" fmla="*/ 1520 h 2556"/>
                <a:gd name="T68" fmla="*/ 2198 w 2754"/>
                <a:gd name="T69" fmla="*/ 1662 h 2556"/>
                <a:gd name="T70" fmla="*/ 2305 w 2754"/>
                <a:gd name="T71" fmla="*/ 1774 h 2556"/>
                <a:gd name="T72" fmla="*/ 2458 w 2754"/>
                <a:gd name="T73" fmla="*/ 1817 h 2556"/>
                <a:gd name="T74" fmla="*/ 2599 w 2754"/>
                <a:gd name="T75" fmla="*/ 1781 h 2556"/>
                <a:gd name="T76" fmla="*/ 2711 w 2754"/>
                <a:gd name="T77" fmla="*/ 1675 h 2556"/>
                <a:gd name="T78" fmla="*/ 2754 w 2754"/>
                <a:gd name="T79" fmla="*/ 1520 h 2556"/>
                <a:gd name="T80" fmla="*/ 2718 w 2754"/>
                <a:gd name="T81" fmla="*/ 1379 h 2556"/>
                <a:gd name="T82" fmla="*/ 2611 w 2754"/>
                <a:gd name="T83" fmla="*/ 1268 h 2556"/>
                <a:gd name="T84" fmla="*/ 2458 w 2754"/>
                <a:gd name="T85" fmla="*/ 1225 h 2556"/>
                <a:gd name="T86" fmla="*/ 546 w 2754"/>
                <a:gd name="T87" fmla="*/ 1307 h 2556"/>
                <a:gd name="T88" fmla="*/ 1019 w 2754"/>
                <a:gd name="T89" fmla="*/ 489 h 2556"/>
                <a:gd name="T90" fmla="*/ 1120 w 2754"/>
                <a:gd name="T91" fmla="*/ 1499 h 2556"/>
                <a:gd name="T92" fmla="*/ 2040 w 2754"/>
                <a:gd name="T93" fmla="*/ 1351 h 2556"/>
                <a:gd name="T94" fmla="*/ 1539 w 2754"/>
                <a:gd name="T95" fmla="*/ 733 h 2556"/>
                <a:gd name="T96" fmla="*/ 765 w 2754"/>
                <a:gd name="T97" fmla="*/ 1964 h 2556"/>
                <a:gd name="T98" fmla="*/ 624 w 2754"/>
                <a:gd name="T99" fmla="*/ 1999 h 2556"/>
                <a:gd name="T100" fmla="*/ 511 w 2754"/>
                <a:gd name="T101" fmla="*/ 2106 h 2556"/>
                <a:gd name="T102" fmla="*/ 469 w 2754"/>
                <a:gd name="T103" fmla="*/ 2260 h 2556"/>
                <a:gd name="T104" fmla="*/ 505 w 2754"/>
                <a:gd name="T105" fmla="*/ 2400 h 2556"/>
                <a:gd name="T106" fmla="*/ 612 w 2754"/>
                <a:gd name="T107" fmla="*/ 2513 h 2556"/>
                <a:gd name="T108" fmla="*/ 765 w 2754"/>
                <a:gd name="T109" fmla="*/ 2556 h 2556"/>
                <a:gd name="T110" fmla="*/ 906 w 2754"/>
                <a:gd name="T111" fmla="*/ 2520 h 2556"/>
                <a:gd name="T112" fmla="*/ 1017 w 2754"/>
                <a:gd name="T113" fmla="*/ 2413 h 2556"/>
                <a:gd name="T114" fmla="*/ 1060 w 2754"/>
                <a:gd name="T115" fmla="*/ 2260 h 2556"/>
                <a:gd name="T116" fmla="*/ 1025 w 2754"/>
                <a:gd name="T117" fmla="*/ 2119 h 2556"/>
                <a:gd name="T118" fmla="*/ 918 w 2754"/>
                <a:gd name="T119" fmla="*/ 2007 h 2556"/>
                <a:gd name="T120" fmla="*/ 765 w 2754"/>
                <a:gd name="T121" fmla="*/ 1964 h 2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4" h="2556">
                  <a:moveTo>
                    <a:pt x="827" y="436"/>
                  </a:moveTo>
                  <a:lnTo>
                    <a:pt x="827" y="436"/>
                  </a:lnTo>
                  <a:lnTo>
                    <a:pt x="848" y="435"/>
                  </a:lnTo>
                  <a:lnTo>
                    <a:pt x="871" y="432"/>
                  </a:lnTo>
                  <a:lnTo>
                    <a:pt x="891" y="427"/>
                  </a:lnTo>
                  <a:lnTo>
                    <a:pt x="911" y="419"/>
                  </a:lnTo>
                  <a:lnTo>
                    <a:pt x="930" y="410"/>
                  </a:lnTo>
                  <a:lnTo>
                    <a:pt x="948" y="399"/>
                  </a:lnTo>
                  <a:lnTo>
                    <a:pt x="965" y="387"/>
                  </a:lnTo>
                  <a:lnTo>
                    <a:pt x="981" y="373"/>
                  </a:lnTo>
                  <a:lnTo>
                    <a:pt x="995" y="357"/>
                  </a:lnTo>
                  <a:lnTo>
                    <a:pt x="1007" y="340"/>
                  </a:lnTo>
                  <a:lnTo>
                    <a:pt x="1018" y="322"/>
                  </a:lnTo>
                  <a:lnTo>
                    <a:pt x="1027" y="303"/>
                  </a:lnTo>
                  <a:lnTo>
                    <a:pt x="1035" y="283"/>
                  </a:lnTo>
                  <a:lnTo>
                    <a:pt x="1040" y="263"/>
                  </a:lnTo>
                  <a:lnTo>
                    <a:pt x="1043" y="241"/>
                  </a:lnTo>
                  <a:lnTo>
                    <a:pt x="1044" y="219"/>
                  </a:lnTo>
                  <a:lnTo>
                    <a:pt x="1044" y="219"/>
                  </a:lnTo>
                  <a:lnTo>
                    <a:pt x="1043" y="196"/>
                  </a:lnTo>
                  <a:lnTo>
                    <a:pt x="1040" y="175"/>
                  </a:lnTo>
                  <a:lnTo>
                    <a:pt x="1035" y="153"/>
                  </a:lnTo>
                  <a:lnTo>
                    <a:pt x="1027" y="133"/>
                  </a:lnTo>
                  <a:lnTo>
                    <a:pt x="1018" y="114"/>
                  </a:lnTo>
                  <a:lnTo>
                    <a:pt x="1007" y="96"/>
                  </a:lnTo>
                  <a:lnTo>
                    <a:pt x="995" y="79"/>
                  </a:lnTo>
                  <a:lnTo>
                    <a:pt x="981" y="64"/>
                  </a:lnTo>
                  <a:lnTo>
                    <a:pt x="965" y="50"/>
                  </a:lnTo>
                  <a:lnTo>
                    <a:pt x="948" y="37"/>
                  </a:lnTo>
                  <a:lnTo>
                    <a:pt x="930" y="26"/>
                  </a:lnTo>
                  <a:lnTo>
                    <a:pt x="911" y="17"/>
                  </a:lnTo>
                  <a:lnTo>
                    <a:pt x="891" y="10"/>
                  </a:lnTo>
                  <a:lnTo>
                    <a:pt x="871" y="5"/>
                  </a:lnTo>
                  <a:lnTo>
                    <a:pt x="848" y="1"/>
                  </a:lnTo>
                  <a:lnTo>
                    <a:pt x="827" y="0"/>
                  </a:lnTo>
                  <a:lnTo>
                    <a:pt x="827" y="0"/>
                  </a:lnTo>
                  <a:lnTo>
                    <a:pt x="804" y="1"/>
                  </a:lnTo>
                  <a:lnTo>
                    <a:pt x="783" y="5"/>
                  </a:lnTo>
                  <a:lnTo>
                    <a:pt x="761" y="10"/>
                  </a:lnTo>
                  <a:lnTo>
                    <a:pt x="741" y="17"/>
                  </a:lnTo>
                  <a:lnTo>
                    <a:pt x="722" y="26"/>
                  </a:lnTo>
                  <a:lnTo>
                    <a:pt x="704" y="37"/>
                  </a:lnTo>
                  <a:lnTo>
                    <a:pt x="687" y="50"/>
                  </a:lnTo>
                  <a:lnTo>
                    <a:pt x="672" y="64"/>
                  </a:lnTo>
                  <a:lnTo>
                    <a:pt x="658" y="79"/>
                  </a:lnTo>
                  <a:lnTo>
                    <a:pt x="645" y="96"/>
                  </a:lnTo>
                  <a:lnTo>
                    <a:pt x="634" y="114"/>
                  </a:lnTo>
                  <a:lnTo>
                    <a:pt x="625" y="133"/>
                  </a:lnTo>
                  <a:lnTo>
                    <a:pt x="618" y="153"/>
                  </a:lnTo>
                  <a:lnTo>
                    <a:pt x="613" y="175"/>
                  </a:lnTo>
                  <a:lnTo>
                    <a:pt x="609" y="196"/>
                  </a:lnTo>
                  <a:lnTo>
                    <a:pt x="608" y="219"/>
                  </a:lnTo>
                  <a:lnTo>
                    <a:pt x="608" y="219"/>
                  </a:lnTo>
                  <a:lnTo>
                    <a:pt x="609" y="241"/>
                  </a:lnTo>
                  <a:lnTo>
                    <a:pt x="613" y="263"/>
                  </a:lnTo>
                  <a:lnTo>
                    <a:pt x="618" y="283"/>
                  </a:lnTo>
                  <a:lnTo>
                    <a:pt x="625" y="303"/>
                  </a:lnTo>
                  <a:lnTo>
                    <a:pt x="634" y="322"/>
                  </a:lnTo>
                  <a:lnTo>
                    <a:pt x="645" y="340"/>
                  </a:lnTo>
                  <a:lnTo>
                    <a:pt x="658" y="357"/>
                  </a:lnTo>
                  <a:lnTo>
                    <a:pt x="672" y="373"/>
                  </a:lnTo>
                  <a:lnTo>
                    <a:pt x="687" y="387"/>
                  </a:lnTo>
                  <a:lnTo>
                    <a:pt x="704" y="399"/>
                  </a:lnTo>
                  <a:lnTo>
                    <a:pt x="722" y="410"/>
                  </a:lnTo>
                  <a:lnTo>
                    <a:pt x="741" y="419"/>
                  </a:lnTo>
                  <a:lnTo>
                    <a:pt x="761" y="427"/>
                  </a:lnTo>
                  <a:lnTo>
                    <a:pt x="783" y="432"/>
                  </a:lnTo>
                  <a:lnTo>
                    <a:pt x="804" y="435"/>
                  </a:lnTo>
                  <a:lnTo>
                    <a:pt x="827" y="436"/>
                  </a:lnTo>
                  <a:close/>
                  <a:moveTo>
                    <a:pt x="2309" y="308"/>
                  </a:moveTo>
                  <a:lnTo>
                    <a:pt x="2309" y="308"/>
                  </a:lnTo>
                  <a:lnTo>
                    <a:pt x="2308" y="285"/>
                  </a:lnTo>
                  <a:lnTo>
                    <a:pt x="2305" y="264"/>
                  </a:lnTo>
                  <a:lnTo>
                    <a:pt x="2299" y="242"/>
                  </a:lnTo>
                  <a:lnTo>
                    <a:pt x="2291" y="223"/>
                  </a:lnTo>
                  <a:lnTo>
                    <a:pt x="2282" y="204"/>
                  </a:lnTo>
                  <a:lnTo>
                    <a:pt x="2272" y="186"/>
                  </a:lnTo>
                  <a:lnTo>
                    <a:pt x="2258" y="169"/>
                  </a:lnTo>
                  <a:lnTo>
                    <a:pt x="2245" y="153"/>
                  </a:lnTo>
                  <a:lnTo>
                    <a:pt x="2229" y="139"/>
                  </a:lnTo>
                  <a:lnTo>
                    <a:pt x="2212" y="126"/>
                  </a:lnTo>
                  <a:lnTo>
                    <a:pt x="2194" y="116"/>
                  </a:lnTo>
                  <a:lnTo>
                    <a:pt x="2175" y="106"/>
                  </a:lnTo>
                  <a:lnTo>
                    <a:pt x="2155" y="99"/>
                  </a:lnTo>
                  <a:lnTo>
                    <a:pt x="2134" y="94"/>
                  </a:lnTo>
                  <a:lnTo>
                    <a:pt x="2113" y="90"/>
                  </a:lnTo>
                  <a:lnTo>
                    <a:pt x="2091" y="89"/>
                  </a:lnTo>
                  <a:lnTo>
                    <a:pt x="2091" y="89"/>
                  </a:lnTo>
                  <a:lnTo>
                    <a:pt x="2068" y="90"/>
                  </a:lnTo>
                  <a:lnTo>
                    <a:pt x="2047" y="94"/>
                  </a:lnTo>
                  <a:lnTo>
                    <a:pt x="2025" y="99"/>
                  </a:lnTo>
                  <a:lnTo>
                    <a:pt x="2006" y="106"/>
                  </a:lnTo>
                  <a:lnTo>
                    <a:pt x="1987" y="116"/>
                  </a:lnTo>
                  <a:lnTo>
                    <a:pt x="1969" y="126"/>
                  </a:lnTo>
                  <a:lnTo>
                    <a:pt x="1952" y="139"/>
                  </a:lnTo>
                  <a:lnTo>
                    <a:pt x="1936" y="153"/>
                  </a:lnTo>
                  <a:lnTo>
                    <a:pt x="1922" y="169"/>
                  </a:lnTo>
                  <a:lnTo>
                    <a:pt x="1909" y="186"/>
                  </a:lnTo>
                  <a:lnTo>
                    <a:pt x="1899" y="204"/>
                  </a:lnTo>
                  <a:lnTo>
                    <a:pt x="1889" y="223"/>
                  </a:lnTo>
                  <a:lnTo>
                    <a:pt x="1882" y="242"/>
                  </a:lnTo>
                  <a:lnTo>
                    <a:pt x="1877" y="264"/>
                  </a:lnTo>
                  <a:lnTo>
                    <a:pt x="1873" y="285"/>
                  </a:lnTo>
                  <a:lnTo>
                    <a:pt x="1872" y="308"/>
                  </a:lnTo>
                  <a:lnTo>
                    <a:pt x="1872" y="308"/>
                  </a:lnTo>
                  <a:lnTo>
                    <a:pt x="1873" y="330"/>
                  </a:lnTo>
                  <a:lnTo>
                    <a:pt x="1877" y="352"/>
                  </a:lnTo>
                  <a:lnTo>
                    <a:pt x="1882" y="373"/>
                  </a:lnTo>
                  <a:lnTo>
                    <a:pt x="1889" y="392"/>
                  </a:lnTo>
                  <a:lnTo>
                    <a:pt x="1899" y="411"/>
                  </a:lnTo>
                  <a:lnTo>
                    <a:pt x="1909" y="429"/>
                  </a:lnTo>
                  <a:lnTo>
                    <a:pt x="1922" y="446"/>
                  </a:lnTo>
                  <a:lnTo>
                    <a:pt x="1936" y="462"/>
                  </a:lnTo>
                  <a:lnTo>
                    <a:pt x="1952" y="476"/>
                  </a:lnTo>
                  <a:lnTo>
                    <a:pt x="1969" y="489"/>
                  </a:lnTo>
                  <a:lnTo>
                    <a:pt x="1987" y="499"/>
                  </a:lnTo>
                  <a:lnTo>
                    <a:pt x="2006" y="508"/>
                  </a:lnTo>
                  <a:lnTo>
                    <a:pt x="2025" y="516"/>
                  </a:lnTo>
                  <a:lnTo>
                    <a:pt x="2047" y="522"/>
                  </a:lnTo>
                  <a:lnTo>
                    <a:pt x="2068" y="525"/>
                  </a:lnTo>
                  <a:lnTo>
                    <a:pt x="2091" y="526"/>
                  </a:lnTo>
                  <a:lnTo>
                    <a:pt x="2091" y="526"/>
                  </a:lnTo>
                  <a:lnTo>
                    <a:pt x="2113" y="525"/>
                  </a:lnTo>
                  <a:lnTo>
                    <a:pt x="2134" y="522"/>
                  </a:lnTo>
                  <a:lnTo>
                    <a:pt x="2155" y="516"/>
                  </a:lnTo>
                  <a:lnTo>
                    <a:pt x="2175" y="508"/>
                  </a:lnTo>
                  <a:lnTo>
                    <a:pt x="2194" y="499"/>
                  </a:lnTo>
                  <a:lnTo>
                    <a:pt x="2212" y="489"/>
                  </a:lnTo>
                  <a:lnTo>
                    <a:pt x="2229" y="476"/>
                  </a:lnTo>
                  <a:lnTo>
                    <a:pt x="2245" y="462"/>
                  </a:lnTo>
                  <a:lnTo>
                    <a:pt x="2258" y="446"/>
                  </a:lnTo>
                  <a:lnTo>
                    <a:pt x="2272" y="429"/>
                  </a:lnTo>
                  <a:lnTo>
                    <a:pt x="2282" y="411"/>
                  </a:lnTo>
                  <a:lnTo>
                    <a:pt x="2291" y="392"/>
                  </a:lnTo>
                  <a:lnTo>
                    <a:pt x="2299" y="373"/>
                  </a:lnTo>
                  <a:lnTo>
                    <a:pt x="2305" y="352"/>
                  </a:lnTo>
                  <a:lnTo>
                    <a:pt x="2308" y="330"/>
                  </a:lnTo>
                  <a:lnTo>
                    <a:pt x="2309" y="308"/>
                  </a:lnTo>
                  <a:close/>
                  <a:moveTo>
                    <a:pt x="219" y="1145"/>
                  </a:moveTo>
                  <a:lnTo>
                    <a:pt x="219" y="1145"/>
                  </a:lnTo>
                  <a:lnTo>
                    <a:pt x="196" y="1146"/>
                  </a:lnTo>
                  <a:lnTo>
                    <a:pt x="175" y="1148"/>
                  </a:lnTo>
                  <a:lnTo>
                    <a:pt x="153" y="1154"/>
                  </a:lnTo>
                  <a:lnTo>
                    <a:pt x="134" y="1162"/>
                  </a:lnTo>
                  <a:lnTo>
                    <a:pt x="115" y="1171"/>
                  </a:lnTo>
                  <a:lnTo>
                    <a:pt x="97" y="1182"/>
                  </a:lnTo>
                  <a:lnTo>
                    <a:pt x="80" y="1195"/>
                  </a:lnTo>
                  <a:lnTo>
                    <a:pt x="64" y="1208"/>
                  </a:lnTo>
                  <a:lnTo>
                    <a:pt x="50" y="1224"/>
                  </a:lnTo>
                  <a:lnTo>
                    <a:pt x="37" y="1241"/>
                  </a:lnTo>
                  <a:lnTo>
                    <a:pt x="27" y="1259"/>
                  </a:lnTo>
                  <a:lnTo>
                    <a:pt x="17" y="1278"/>
                  </a:lnTo>
                  <a:lnTo>
                    <a:pt x="10" y="1298"/>
                  </a:lnTo>
                  <a:lnTo>
                    <a:pt x="5" y="1319"/>
                  </a:lnTo>
                  <a:lnTo>
                    <a:pt x="1" y="1340"/>
                  </a:lnTo>
                  <a:lnTo>
                    <a:pt x="0" y="1363"/>
                  </a:lnTo>
                  <a:lnTo>
                    <a:pt x="0" y="1363"/>
                  </a:lnTo>
                  <a:lnTo>
                    <a:pt x="1" y="1385"/>
                  </a:lnTo>
                  <a:lnTo>
                    <a:pt x="5" y="1406"/>
                  </a:lnTo>
                  <a:lnTo>
                    <a:pt x="10" y="1428"/>
                  </a:lnTo>
                  <a:lnTo>
                    <a:pt x="17" y="1448"/>
                  </a:lnTo>
                  <a:lnTo>
                    <a:pt x="27" y="1467"/>
                  </a:lnTo>
                  <a:lnTo>
                    <a:pt x="37" y="1485"/>
                  </a:lnTo>
                  <a:lnTo>
                    <a:pt x="50" y="1501"/>
                  </a:lnTo>
                  <a:lnTo>
                    <a:pt x="64" y="1517"/>
                  </a:lnTo>
                  <a:lnTo>
                    <a:pt x="80" y="1532"/>
                  </a:lnTo>
                  <a:lnTo>
                    <a:pt x="97" y="1544"/>
                  </a:lnTo>
                  <a:lnTo>
                    <a:pt x="115" y="1555"/>
                  </a:lnTo>
                  <a:lnTo>
                    <a:pt x="134" y="1564"/>
                  </a:lnTo>
                  <a:lnTo>
                    <a:pt x="153" y="1571"/>
                  </a:lnTo>
                  <a:lnTo>
                    <a:pt x="175" y="1577"/>
                  </a:lnTo>
                  <a:lnTo>
                    <a:pt x="196" y="1580"/>
                  </a:lnTo>
                  <a:lnTo>
                    <a:pt x="219" y="1581"/>
                  </a:lnTo>
                  <a:lnTo>
                    <a:pt x="219" y="1581"/>
                  </a:lnTo>
                  <a:lnTo>
                    <a:pt x="241" y="1580"/>
                  </a:lnTo>
                  <a:lnTo>
                    <a:pt x="262" y="1577"/>
                  </a:lnTo>
                  <a:lnTo>
                    <a:pt x="283" y="1571"/>
                  </a:lnTo>
                  <a:lnTo>
                    <a:pt x="303" y="1564"/>
                  </a:lnTo>
                  <a:lnTo>
                    <a:pt x="322" y="1555"/>
                  </a:lnTo>
                  <a:lnTo>
                    <a:pt x="340" y="1544"/>
                  </a:lnTo>
                  <a:lnTo>
                    <a:pt x="357" y="1532"/>
                  </a:lnTo>
                  <a:lnTo>
                    <a:pt x="373" y="1517"/>
                  </a:lnTo>
                  <a:lnTo>
                    <a:pt x="386" y="1501"/>
                  </a:lnTo>
                  <a:lnTo>
                    <a:pt x="400" y="1485"/>
                  </a:lnTo>
                  <a:lnTo>
                    <a:pt x="410" y="1467"/>
                  </a:lnTo>
                  <a:lnTo>
                    <a:pt x="419" y="1448"/>
                  </a:lnTo>
                  <a:lnTo>
                    <a:pt x="427" y="1428"/>
                  </a:lnTo>
                  <a:lnTo>
                    <a:pt x="433" y="1406"/>
                  </a:lnTo>
                  <a:lnTo>
                    <a:pt x="436" y="1385"/>
                  </a:lnTo>
                  <a:lnTo>
                    <a:pt x="437" y="1363"/>
                  </a:lnTo>
                  <a:lnTo>
                    <a:pt x="437" y="1363"/>
                  </a:lnTo>
                  <a:lnTo>
                    <a:pt x="436" y="1340"/>
                  </a:lnTo>
                  <a:lnTo>
                    <a:pt x="433" y="1319"/>
                  </a:lnTo>
                  <a:lnTo>
                    <a:pt x="427" y="1298"/>
                  </a:lnTo>
                  <a:lnTo>
                    <a:pt x="419" y="1278"/>
                  </a:lnTo>
                  <a:lnTo>
                    <a:pt x="410" y="1259"/>
                  </a:lnTo>
                  <a:lnTo>
                    <a:pt x="400" y="1241"/>
                  </a:lnTo>
                  <a:lnTo>
                    <a:pt x="386" y="1224"/>
                  </a:lnTo>
                  <a:lnTo>
                    <a:pt x="373" y="1208"/>
                  </a:lnTo>
                  <a:lnTo>
                    <a:pt x="357" y="1195"/>
                  </a:lnTo>
                  <a:lnTo>
                    <a:pt x="340" y="1182"/>
                  </a:lnTo>
                  <a:lnTo>
                    <a:pt x="322" y="1171"/>
                  </a:lnTo>
                  <a:lnTo>
                    <a:pt x="303" y="1162"/>
                  </a:lnTo>
                  <a:lnTo>
                    <a:pt x="283" y="1154"/>
                  </a:lnTo>
                  <a:lnTo>
                    <a:pt x="262" y="1148"/>
                  </a:lnTo>
                  <a:lnTo>
                    <a:pt x="241" y="1146"/>
                  </a:lnTo>
                  <a:lnTo>
                    <a:pt x="219" y="1145"/>
                  </a:lnTo>
                  <a:close/>
                  <a:moveTo>
                    <a:pt x="1228" y="764"/>
                  </a:moveTo>
                  <a:lnTo>
                    <a:pt x="1228" y="764"/>
                  </a:lnTo>
                  <a:lnTo>
                    <a:pt x="1213" y="765"/>
                  </a:lnTo>
                  <a:lnTo>
                    <a:pt x="1198" y="766"/>
                  </a:lnTo>
                  <a:lnTo>
                    <a:pt x="1183" y="767"/>
                  </a:lnTo>
                  <a:lnTo>
                    <a:pt x="1169" y="771"/>
                  </a:lnTo>
                  <a:lnTo>
                    <a:pt x="1155" y="774"/>
                  </a:lnTo>
                  <a:lnTo>
                    <a:pt x="1140" y="778"/>
                  </a:lnTo>
                  <a:lnTo>
                    <a:pt x="1126" y="782"/>
                  </a:lnTo>
                  <a:lnTo>
                    <a:pt x="1113" y="788"/>
                  </a:lnTo>
                  <a:lnTo>
                    <a:pt x="1100" y="793"/>
                  </a:lnTo>
                  <a:lnTo>
                    <a:pt x="1087" y="800"/>
                  </a:lnTo>
                  <a:lnTo>
                    <a:pt x="1075" y="807"/>
                  </a:lnTo>
                  <a:lnTo>
                    <a:pt x="1063" y="815"/>
                  </a:lnTo>
                  <a:lnTo>
                    <a:pt x="1051" y="823"/>
                  </a:lnTo>
                  <a:lnTo>
                    <a:pt x="1040" y="832"/>
                  </a:lnTo>
                  <a:lnTo>
                    <a:pt x="1030" y="841"/>
                  </a:lnTo>
                  <a:lnTo>
                    <a:pt x="1019" y="851"/>
                  </a:lnTo>
                  <a:lnTo>
                    <a:pt x="1009" y="861"/>
                  </a:lnTo>
                  <a:lnTo>
                    <a:pt x="1000" y="872"/>
                  </a:lnTo>
                  <a:lnTo>
                    <a:pt x="991" y="884"/>
                  </a:lnTo>
                  <a:lnTo>
                    <a:pt x="983" y="895"/>
                  </a:lnTo>
                  <a:lnTo>
                    <a:pt x="975" y="907"/>
                  </a:lnTo>
                  <a:lnTo>
                    <a:pt x="969" y="920"/>
                  </a:lnTo>
                  <a:lnTo>
                    <a:pt x="962" y="932"/>
                  </a:lnTo>
                  <a:lnTo>
                    <a:pt x="956" y="946"/>
                  </a:lnTo>
                  <a:lnTo>
                    <a:pt x="951" y="959"/>
                  </a:lnTo>
                  <a:lnTo>
                    <a:pt x="946" y="973"/>
                  </a:lnTo>
                  <a:lnTo>
                    <a:pt x="942" y="986"/>
                  </a:lnTo>
                  <a:lnTo>
                    <a:pt x="938" y="1001"/>
                  </a:lnTo>
                  <a:lnTo>
                    <a:pt x="936" y="1015"/>
                  </a:lnTo>
                  <a:lnTo>
                    <a:pt x="934" y="1030"/>
                  </a:lnTo>
                  <a:lnTo>
                    <a:pt x="933" y="1045"/>
                  </a:lnTo>
                  <a:lnTo>
                    <a:pt x="933" y="1060"/>
                  </a:lnTo>
                  <a:lnTo>
                    <a:pt x="933" y="1060"/>
                  </a:lnTo>
                  <a:lnTo>
                    <a:pt x="933" y="1075"/>
                  </a:lnTo>
                  <a:lnTo>
                    <a:pt x="934" y="1091"/>
                  </a:lnTo>
                  <a:lnTo>
                    <a:pt x="936" y="1106"/>
                  </a:lnTo>
                  <a:lnTo>
                    <a:pt x="938" y="1120"/>
                  </a:lnTo>
                  <a:lnTo>
                    <a:pt x="942" y="1134"/>
                  </a:lnTo>
                  <a:lnTo>
                    <a:pt x="946" y="1148"/>
                  </a:lnTo>
                  <a:lnTo>
                    <a:pt x="951" y="1162"/>
                  </a:lnTo>
                  <a:lnTo>
                    <a:pt x="956" y="1175"/>
                  </a:lnTo>
                  <a:lnTo>
                    <a:pt x="962" y="1189"/>
                  </a:lnTo>
                  <a:lnTo>
                    <a:pt x="969" y="1201"/>
                  </a:lnTo>
                  <a:lnTo>
                    <a:pt x="975" y="1214"/>
                  </a:lnTo>
                  <a:lnTo>
                    <a:pt x="983" y="1226"/>
                  </a:lnTo>
                  <a:lnTo>
                    <a:pt x="991" y="1237"/>
                  </a:lnTo>
                  <a:lnTo>
                    <a:pt x="1000" y="1249"/>
                  </a:lnTo>
                  <a:lnTo>
                    <a:pt x="1009" y="1259"/>
                  </a:lnTo>
                  <a:lnTo>
                    <a:pt x="1019" y="1270"/>
                  </a:lnTo>
                  <a:lnTo>
                    <a:pt x="1030" y="1279"/>
                  </a:lnTo>
                  <a:lnTo>
                    <a:pt x="1040" y="1288"/>
                  </a:lnTo>
                  <a:lnTo>
                    <a:pt x="1051" y="1297"/>
                  </a:lnTo>
                  <a:lnTo>
                    <a:pt x="1063" y="1306"/>
                  </a:lnTo>
                  <a:lnTo>
                    <a:pt x="1075" y="1313"/>
                  </a:lnTo>
                  <a:lnTo>
                    <a:pt x="1087" y="1321"/>
                  </a:lnTo>
                  <a:lnTo>
                    <a:pt x="1100" y="1328"/>
                  </a:lnTo>
                  <a:lnTo>
                    <a:pt x="1113" y="1333"/>
                  </a:lnTo>
                  <a:lnTo>
                    <a:pt x="1126" y="1338"/>
                  </a:lnTo>
                  <a:lnTo>
                    <a:pt x="1140" y="1343"/>
                  </a:lnTo>
                  <a:lnTo>
                    <a:pt x="1155" y="1347"/>
                  </a:lnTo>
                  <a:lnTo>
                    <a:pt x="1169" y="1350"/>
                  </a:lnTo>
                  <a:lnTo>
                    <a:pt x="1183" y="1352"/>
                  </a:lnTo>
                  <a:lnTo>
                    <a:pt x="1198" y="1355"/>
                  </a:lnTo>
                  <a:lnTo>
                    <a:pt x="1213" y="1356"/>
                  </a:lnTo>
                  <a:lnTo>
                    <a:pt x="1228" y="1356"/>
                  </a:lnTo>
                  <a:lnTo>
                    <a:pt x="1228" y="1356"/>
                  </a:lnTo>
                  <a:lnTo>
                    <a:pt x="1244" y="1356"/>
                  </a:lnTo>
                  <a:lnTo>
                    <a:pt x="1258" y="1355"/>
                  </a:lnTo>
                  <a:lnTo>
                    <a:pt x="1273" y="1352"/>
                  </a:lnTo>
                  <a:lnTo>
                    <a:pt x="1287" y="1350"/>
                  </a:lnTo>
                  <a:lnTo>
                    <a:pt x="1302" y="1347"/>
                  </a:lnTo>
                  <a:lnTo>
                    <a:pt x="1317" y="1343"/>
                  </a:lnTo>
                  <a:lnTo>
                    <a:pt x="1330" y="1338"/>
                  </a:lnTo>
                  <a:lnTo>
                    <a:pt x="1344" y="1333"/>
                  </a:lnTo>
                  <a:lnTo>
                    <a:pt x="1356" y="1328"/>
                  </a:lnTo>
                  <a:lnTo>
                    <a:pt x="1370" y="1321"/>
                  </a:lnTo>
                  <a:lnTo>
                    <a:pt x="1382" y="1313"/>
                  </a:lnTo>
                  <a:lnTo>
                    <a:pt x="1393" y="1306"/>
                  </a:lnTo>
                  <a:lnTo>
                    <a:pt x="1406" y="1297"/>
                  </a:lnTo>
                  <a:lnTo>
                    <a:pt x="1416" y="1288"/>
                  </a:lnTo>
                  <a:lnTo>
                    <a:pt x="1427" y="1279"/>
                  </a:lnTo>
                  <a:lnTo>
                    <a:pt x="1437" y="1270"/>
                  </a:lnTo>
                  <a:lnTo>
                    <a:pt x="1447" y="1259"/>
                  </a:lnTo>
                  <a:lnTo>
                    <a:pt x="1456" y="1249"/>
                  </a:lnTo>
                  <a:lnTo>
                    <a:pt x="1465" y="1237"/>
                  </a:lnTo>
                  <a:lnTo>
                    <a:pt x="1473" y="1226"/>
                  </a:lnTo>
                  <a:lnTo>
                    <a:pt x="1481" y="1214"/>
                  </a:lnTo>
                  <a:lnTo>
                    <a:pt x="1488" y="1201"/>
                  </a:lnTo>
                  <a:lnTo>
                    <a:pt x="1495" y="1189"/>
                  </a:lnTo>
                  <a:lnTo>
                    <a:pt x="1500" y="1175"/>
                  </a:lnTo>
                  <a:lnTo>
                    <a:pt x="1506" y="1162"/>
                  </a:lnTo>
                  <a:lnTo>
                    <a:pt x="1510" y="1148"/>
                  </a:lnTo>
                  <a:lnTo>
                    <a:pt x="1515" y="1134"/>
                  </a:lnTo>
                  <a:lnTo>
                    <a:pt x="1518" y="1120"/>
                  </a:lnTo>
                  <a:lnTo>
                    <a:pt x="1521" y="1106"/>
                  </a:lnTo>
                  <a:lnTo>
                    <a:pt x="1523" y="1091"/>
                  </a:lnTo>
                  <a:lnTo>
                    <a:pt x="1524" y="1075"/>
                  </a:lnTo>
                  <a:lnTo>
                    <a:pt x="1524" y="1060"/>
                  </a:lnTo>
                  <a:lnTo>
                    <a:pt x="1524" y="1060"/>
                  </a:lnTo>
                  <a:lnTo>
                    <a:pt x="1524" y="1045"/>
                  </a:lnTo>
                  <a:lnTo>
                    <a:pt x="1523" y="1030"/>
                  </a:lnTo>
                  <a:lnTo>
                    <a:pt x="1521" y="1015"/>
                  </a:lnTo>
                  <a:lnTo>
                    <a:pt x="1518" y="1001"/>
                  </a:lnTo>
                  <a:lnTo>
                    <a:pt x="1515" y="986"/>
                  </a:lnTo>
                  <a:lnTo>
                    <a:pt x="1510" y="973"/>
                  </a:lnTo>
                  <a:lnTo>
                    <a:pt x="1506" y="959"/>
                  </a:lnTo>
                  <a:lnTo>
                    <a:pt x="1500" y="946"/>
                  </a:lnTo>
                  <a:lnTo>
                    <a:pt x="1495" y="932"/>
                  </a:lnTo>
                  <a:lnTo>
                    <a:pt x="1488" y="920"/>
                  </a:lnTo>
                  <a:lnTo>
                    <a:pt x="1481" y="907"/>
                  </a:lnTo>
                  <a:lnTo>
                    <a:pt x="1473" y="895"/>
                  </a:lnTo>
                  <a:lnTo>
                    <a:pt x="1465" y="884"/>
                  </a:lnTo>
                  <a:lnTo>
                    <a:pt x="1456" y="872"/>
                  </a:lnTo>
                  <a:lnTo>
                    <a:pt x="1447" y="861"/>
                  </a:lnTo>
                  <a:lnTo>
                    <a:pt x="1437" y="851"/>
                  </a:lnTo>
                  <a:lnTo>
                    <a:pt x="1427" y="841"/>
                  </a:lnTo>
                  <a:lnTo>
                    <a:pt x="1416" y="832"/>
                  </a:lnTo>
                  <a:lnTo>
                    <a:pt x="1406" y="823"/>
                  </a:lnTo>
                  <a:lnTo>
                    <a:pt x="1393" y="815"/>
                  </a:lnTo>
                  <a:lnTo>
                    <a:pt x="1382" y="807"/>
                  </a:lnTo>
                  <a:lnTo>
                    <a:pt x="1370" y="800"/>
                  </a:lnTo>
                  <a:lnTo>
                    <a:pt x="1356" y="793"/>
                  </a:lnTo>
                  <a:lnTo>
                    <a:pt x="1344" y="788"/>
                  </a:lnTo>
                  <a:lnTo>
                    <a:pt x="1330" y="782"/>
                  </a:lnTo>
                  <a:lnTo>
                    <a:pt x="1317" y="778"/>
                  </a:lnTo>
                  <a:lnTo>
                    <a:pt x="1302" y="774"/>
                  </a:lnTo>
                  <a:lnTo>
                    <a:pt x="1287" y="771"/>
                  </a:lnTo>
                  <a:lnTo>
                    <a:pt x="1273" y="767"/>
                  </a:lnTo>
                  <a:lnTo>
                    <a:pt x="1258" y="766"/>
                  </a:lnTo>
                  <a:lnTo>
                    <a:pt x="1244" y="765"/>
                  </a:lnTo>
                  <a:lnTo>
                    <a:pt x="1228" y="764"/>
                  </a:lnTo>
                  <a:close/>
                  <a:moveTo>
                    <a:pt x="2458" y="1225"/>
                  </a:moveTo>
                  <a:lnTo>
                    <a:pt x="2458" y="1225"/>
                  </a:lnTo>
                  <a:lnTo>
                    <a:pt x="2443" y="1225"/>
                  </a:lnTo>
                  <a:lnTo>
                    <a:pt x="2427" y="1226"/>
                  </a:lnTo>
                  <a:lnTo>
                    <a:pt x="2413" y="1228"/>
                  </a:lnTo>
                  <a:lnTo>
                    <a:pt x="2398" y="1231"/>
                  </a:lnTo>
                  <a:lnTo>
                    <a:pt x="2385" y="1234"/>
                  </a:lnTo>
                  <a:lnTo>
                    <a:pt x="2370" y="1239"/>
                  </a:lnTo>
                  <a:lnTo>
                    <a:pt x="2356" y="1243"/>
                  </a:lnTo>
                  <a:lnTo>
                    <a:pt x="2343" y="1249"/>
                  </a:lnTo>
                  <a:lnTo>
                    <a:pt x="2329" y="1254"/>
                  </a:lnTo>
                  <a:lnTo>
                    <a:pt x="2317" y="1261"/>
                  </a:lnTo>
                  <a:lnTo>
                    <a:pt x="2305" y="1268"/>
                  </a:lnTo>
                  <a:lnTo>
                    <a:pt x="2292" y="1276"/>
                  </a:lnTo>
                  <a:lnTo>
                    <a:pt x="2281" y="1284"/>
                  </a:lnTo>
                  <a:lnTo>
                    <a:pt x="2270" y="1293"/>
                  </a:lnTo>
                  <a:lnTo>
                    <a:pt x="2260" y="1302"/>
                  </a:lnTo>
                  <a:lnTo>
                    <a:pt x="2249" y="1312"/>
                  </a:lnTo>
                  <a:lnTo>
                    <a:pt x="2239" y="1322"/>
                  </a:lnTo>
                  <a:lnTo>
                    <a:pt x="2230" y="1332"/>
                  </a:lnTo>
                  <a:lnTo>
                    <a:pt x="2221" y="1343"/>
                  </a:lnTo>
                  <a:lnTo>
                    <a:pt x="2213" y="1356"/>
                  </a:lnTo>
                  <a:lnTo>
                    <a:pt x="2205" y="1367"/>
                  </a:lnTo>
                  <a:lnTo>
                    <a:pt x="2198" y="1379"/>
                  </a:lnTo>
                  <a:lnTo>
                    <a:pt x="2192" y="1393"/>
                  </a:lnTo>
                  <a:lnTo>
                    <a:pt x="2185" y="1405"/>
                  </a:lnTo>
                  <a:lnTo>
                    <a:pt x="2181" y="1419"/>
                  </a:lnTo>
                  <a:lnTo>
                    <a:pt x="2175" y="1432"/>
                  </a:lnTo>
                  <a:lnTo>
                    <a:pt x="2172" y="1447"/>
                  </a:lnTo>
                  <a:lnTo>
                    <a:pt x="2168" y="1462"/>
                  </a:lnTo>
                  <a:lnTo>
                    <a:pt x="2166" y="1475"/>
                  </a:lnTo>
                  <a:lnTo>
                    <a:pt x="2164" y="1491"/>
                  </a:lnTo>
                  <a:lnTo>
                    <a:pt x="2163" y="1506"/>
                  </a:lnTo>
                  <a:lnTo>
                    <a:pt x="2163" y="1520"/>
                  </a:lnTo>
                  <a:lnTo>
                    <a:pt x="2163" y="1520"/>
                  </a:lnTo>
                  <a:lnTo>
                    <a:pt x="2163" y="1536"/>
                  </a:lnTo>
                  <a:lnTo>
                    <a:pt x="2164" y="1551"/>
                  </a:lnTo>
                  <a:lnTo>
                    <a:pt x="2166" y="1565"/>
                  </a:lnTo>
                  <a:lnTo>
                    <a:pt x="2168" y="1580"/>
                  </a:lnTo>
                  <a:lnTo>
                    <a:pt x="2172" y="1595"/>
                  </a:lnTo>
                  <a:lnTo>
                    <a:pt x="2175" y="1609"/>
                  </a:lnTo>
                  <a:lnTo>
                    <a:pt x="2181" y="1623"/>
                  </a:lnTo>
                  <a:lnTo>
                    <a:pt x="2185" y="1636"/>
                  </a:lnTo>
                  <a:lnTo>
                    <a:pt x="2192" y="1649"/>
                  </a:lnTo>
                  <a:lnTo>
                    <a:pt x="2198" y="1662"/>
                  </a:lnTo>
                  <a:lnTo>
                    <a:pt x="2205" y="1675"/>
                  </a:lnTo>
                  <a:lnTo>
                    <a:pt x="2213" y="1686"/>
                  </a:lnTo>
                  <a:lnTo>
                    <a:pt x="2221" y="1698"/>
                  </a:lnTo>
                  <a:lnTo>
                    <a:pt x="2230" y="1710"/>
                  </a:lnTo>
                  <a:lnTo>
                    <a:pt x="2239" y="1720"/>
                  </a:lnTo>
                  <a:lnTo>
                    <a:pt x="2249" y="1730"/>
                  </a:lnTo>
                  <a:lnTo>
                    <a:pt x="2260" y="1740"/>
                  </a:lnTo>
                  <a:lnTo>
                    <a:pt x="2270" y="1749"/>
                  </a:lnTo>
                  <a:lnTo>
                    <a:pt x="2281" y="1758"/>
                  </a:lnTo>
                  <a:lnTo>
                    <a:pt x="2292" y="1766"/>
                  </a:lnTo>
                  <a:lnTo>
                    <a:pt x="2305" y="1774"/>
                  </a:lnTo>
                  <a:lnTo>
                    <a:pt x="2317" y="1781"/>
                  </a:lnTo>
                  <a:lnTo>
                    <a:pt x="2329" y="1787"/>
                  </a:lnTo>
                  <a:lnTo>
                    <a:pt x="2343" y="1793"/>
                  </a:lnTo>
                  <a:lnTo>
                    <a:pt x="2356" y="1799"/>
                  </a:lnTo>
                  <a:lnTo>
                    <a:pt x="2370" y="1803"/>
                  </a:lnTo>
                  <a:lnTo>
                    <a:pt x="2385" y="1808"/>
                  </a:lnTo>
                  <a:lnTo>
                    <a:pt x="2398" y="1811"/>
                  </a:lnTo>
                  <a:lnTo>
                    <a:pt x="2413" y="1813"/>
                  </a:lnTo>
                  <a:lnTo>
                    <a:pt x="2427" y="1816"/>
                  </a:lnTo>
                  <a:lnTo>
                    <a:pt x="2443" y="1817"/>
                  </a:lnTo>
                  <a:lnTo>
                    <a:pt x="2458" y="1817"/>
                  </a:lnTo>
                  <a:lnTo>
                    <a:pt x="2458" y="1817"/>
                  </a:lnTo>
                  <a:lnTo>
                    <a:pt x="2474" y="1817"/>
                  </a:lnTo>
                  <a:lnTo>
                    <a:pt x="2488" y="1816"/>
                  </a:lnTo>
                  <a:lnTo>
                    <a:pt x="2503" y="1813"/>
                  </a:lnTo>
                  <a:lnTo>
                    <a:pt x="2517" y="1811"/>
                  </a:lnTo>
                  <a:lnTo>
                    <a:pt x="2532" y="1808"/>
                  </a:lnTo>
                  <a:lnTo>
                    <a:pt x="2546" y="1803"/>
                  </a:lnTo>
                  <a:lnTo>
                    <a:pt x="2559" y="1799"/>
                  </a:lnTo>
                  <a:lnTo>
                    <a:pt x="2573" y="1793"/>
                  </a:lnTo>
                  <a:lnTo>
                    <a:pt x="2586" y="1787"/>
                  </a:lnTo>
                  <a:lnTo>
                    <a:pt x="2599" y="1781"/>
                  </a:lnTo>
                  <a:lnTo>
                    <a:pt x="2611" y="1774"/>
                  </a:lnTo>
                  <a:lnTo>
                    <a:pt x="2623" y="1766"/>
                  </a:lnTo>
                  <a:lnTo>
                    <a:pt x="2635" y="1758"/>
                  </a:lnTo>
                  <a:lnTo>
                    <a:pt x="2646" y="1749"/>
                  </a:lnTo>
                  <a:lnTo>
                    <a:pt x="2657" y="1740"/>
                  </a:lnTo>
                  <a:lnTo>
                    <a:pt x="2667" y="1730"/>
                  </a:lnTo>
                  <a:lnTo>
                    <a:pt x="2677" y="1720"/>
                  </a:lnTo>
                  <a:lnTo>
                    <a:pt x="2686" y="1710"/>
                  </a:lnTo>
                  <a:lnTo>
                    <a:pt x="2695" y="1698"/>
                  </a:lnTo>
                  <a:lnTo>
                    <a:pt x="2703" y="1686"/>
                  </a:lnTo>
                  <a:lnTo>
                    <a:pt x="2711" y="1675"/>
                  </a:lnTo>
                  <a:lnTo>
                    <a:pt x="2718" y="1662"/>
                  </a:lnTo>
                  <a:lnTo>
                    <a:pt x="2725" y="1649"/>
                  </a:lnTo>
                  <a:lnTo>
                    <a:pt x="2730" y="1636"/>
                  </a:lnTo>
                  <a:lnTo>
                    <a:pt x="2736" y="1623"/>
                  </a:lnTo>
                  <a:lnTo>
                    <a:pt x="2740" y="1609"/>
                  </a:lnTo>
                  <a:lnTo>
                    <a:pt x="2745" y="1595"/>
                  </a:lnTo>
                  <a:lnTo>
                    <a:pt x="2747" y="1580"/>
                  </a:lnTo>
                  <a:lnTo>
                    <a:pt x="2751" y="1565"/>
                  </a:lnTo>
                  <a:lnTo>
                    <a:pt x="2752" y="1551"/>
                  </a:lnTo>
                  <a:lnTo>
                    <a:pt x="2753" y="1536"/>
                  </a:lnTo>
                  <a:lnTo>
                    <a:pt x="2754" y="1520"/>
                  </a:lnTo>
                  <a:lnTo>
                    <a:pt x="2754" y="1520"/>
                  </a:lnTo>
                  <a:lnTo>
                    <a:pt x="2753" y="1506"/>
                  </a:lnTo>
                  <a:lnTo>
                    <a:pt x="2752" y="1491"/>
                  </a:lnTo>
                  <a:lnTo>
                    <a:pt x="2751" y="1475"/>
                  </a:lnTo>
                  <a:lnTo>
                    <a:pt x="2747" y="1462"/>
                  </a:lnTo>
                  <a:lnTo>
                    <a:pt x="2745" y="1447"/>
                  </a:lnTo>
                  <a:lnTo>
                    <a:pt x="2740" y="1432"/>
                  </a:lnTo>
                  <a:lnTo>
                    <a:pt x="2736" y="1419"/>
                  </a:lnTo>
                  <a:lnTo>
                    <a:pt x="2730" y="1405"/>
                  </a:lnTo>
                  <a:lnTo>
                    <a:pt x="2725" y="1393"/>
                  </a:lnTo>
                  <a:lnTo>
                    <a:pt x="2718" y="1379"/>
                  </a:lnTo>
                  <a:lnTo>
                    <a:pt x="2711" y="1367"/>
                  </a:lnTo>
                  <a:lnTo>
                    <a:pt x="2703" y="1356"/>
                  </a:lnTo>
                  <a:lnTo>
                    <a:pt x="2695" y="1343"/>
                  </a:lnTo>
                  <a:lnTo>
                    <a:pt x="2686" y="1332"/>
                  </a:lnTo>
                  <a:lnTo>
                    <a:pt x="2677" y="1322"/>
                  </a:lnTo>
                  <a:lnTo>
                    <a:pt x="2667" y="1312"/>
                  </a:lnTo>
                  <a:lnTo>
                    <a:pt x="2657" y="1302"/>
                  </a:lnTo>
                  <a:lnTo>
                    <a:pt x="2646" y="1293"/>
                  </a:lnTo>
                  <a:lnTo>
                    <a:pt x="2635" y="1284"/>
                  </a:lnTo>
                  <a:lnTo>
                    <a:pt x="2623" y="1276"/>
                  </a:lnTo>
                  <a:lnTo>
                    <a:pt x="2611" y="1268"/>
                  </a:lnTo>
                  <a:lnTo>
                    <a:pt x="2599" y="1261"/>
                  </a:lnTo>
                  <a:lnTo>
                    <a:pt x="2586" y="1254"/>
                  </a:lnTo>
                  <a:lnTo>
                    <a:pt x="2573" y="1249"/>
                  </a:lnTo>
                  <a:lnTo>
                    <a:pt x="2559" y="1243"/>
                  </a:lnTo>
                  <a:lnTo>
                    <a:pt x="2546" y="1239"/>
                  </a:lnTo>
                  <a:lnTo>
                    <a:pt x="2532" y="1234"/>
                  </a:lnTo>
                  <a:lnTo>
                    <a:pt x="2517" y="1231"/>
                  </a:lnTo>
                  <a:lnTo>
                    <a:pt x="2503" y="1228"/>
                  </a:lnTo>
                  <a:lnTo>
                    <a:pt x="2488" y="1226"/>
                  </a:lnTo>
                  <a:lnTo>
                    <a:pt x="2474" y="1225"/>
                  </a:lnTo>
                  <a:lnTo>
                    <a:pt x="2458" y="1225"/>
                  </a:lnTo>
                  <a:close/>
                  <a:moveTo>
                    <a:pt x="819" y="1250"/>
                  </a:moveTo>
                  <a:lnTo>
                    <a:pt x="819" y="1250"/>
                  </a:lnTo>
                  <a:lnTo>
                    <a:pt x="808" y="1225"/>
                  </a:lnTo>
                  <a:lnTo>
                    <a:pt x="799" y="1199"/>
                  </a:lnTo>
                  <a:lnTo>
                    <a:pt x="791" y="1173"/>
                  </a:lnTo>
                  <a:lnTo>
                    <a:pt x="785" y="1146"/>
                  </a:lnTo>
                  <a:lnTo>
                    <a:pt x="524" y="1230"/>
                  </a:lnTo>
                  <a:lnTo>
                    <a:pt x="524" y="1230"/>
                  </a:lnTo>
                  <a:lnTo>
                    <a:pt x="534" y="1254"/>
                  </a:lnTo>
                  <a:lnTo>
                    <a:pt x="542" y="1280"/>
                  </a:lnTo>
                  <a:lnTo>
                    <a:pt x="546" y="1307"/>
                  </a:lnTo>
                  <a:lnTo>
                    <a:pt x="551" y="1335"/>
                  </a:lnTo>
                  <a:lnTo>
                    <a:pt x="819" y="1250"/>
                  </a:lnTo>
                  <a:close/>
                  <a:moveTo>
                    <a:pt x="921" y="538"/>
                  </a:moveTo>
                  <a:lnTo>
                    <a:pt x="992" y="675"/>
                  </a:lnTo>
                  <a:lnTo>
                    <a:pt x="992" y="675"/>
                  </a:lnTo>
                  <a:lnTo>
                    <a:pt x="1016" y="662"/>
                  </a:lnTo>
                  <a:lnTo>
                    <a:pt x="1041" y="649"/>
                  </a:lnTo>
                  <a:lnTo>
                    <a:pt x="1066" y="639"/>
                  </a:lnTo>
                  <a:lnTo>
                    <a:pt x="1091" y="630"/>
                  </a:lnTo>
                  <a:lnTo>
                    <a:pt x="1019" y="489"/>
                  </a:lnTo>
                  <a:lnTo>
                    <a:pt x="1019" y="489"/>
                  </a:lnTo>
                  <a:lnTo>
                    <a:pt x="997" y="504"/>
                  </a:lnTo>
                  <a:lnTo>
                    <a:pt x="973" y="517"/>
                  </a:lnTo>
                  <a:lnTo>
                    <a:pt x="948" y="529"/>
                  </a:lnTo>
                  <a:lnTo>
                    <a:pt x="921" y="538"/>
                  </a:lnTo>
                  <a:close/>
                  <a:moveTo>
                    <a:pt x="879" y="1822"/>
                  </a:moveTo>
                  <a:lnTo>
                    <a:pt x="879" y="1822"/>
                  </a:lnTo>
                  <a:lnTo>
                    <a:pt x="904" y="1830"/>
                  </a:lnTo>
                  <a:lnTo>
                    <a:pt x="930" y="1839"/>
                  </a:lnTo>
                  <a:lnTo>
                    <a:pt x="955" y="1851"/>
                  </a:lnTo>
                  <a:lnTo>
                    <a:pt x="980" y="1863"/>
                  </a:lnTo>
                  <a:lnTo>
                    <a:pt x="1120" y="1499"/>
                  </a:lnTo>
                  <a:lnTo>
                    <a:pt x="1120" y="1499"/>
                  </a:lnTo>
                  <a:lnTo>
                    <a:pt x="1093" y="1491"/>
                  </a:lnTo>
                  <a:lnTo>
                    <a:pt x="1067" y="1482"/>
                  </a:lnTo>
                  <a:lnTo>
                    <a:pt x="1042" y="1472"/>
                  </a:lnTo>
                  <a:lnTo>
                    <a:pt x="1017" y="1459"/>
                  </a:lnTo>
                  <a:lnTo>
                    <a:pt x="879" y="1822"/>
                  </a:lnTo>
                  <a:close/>
                  <a:moveTo>
                    <a:pt x="1631" y="1264"/>
                  </a:moveTo>
                  <a:lnTo>
                    <a:pt x="2022" y="1404"/>
                  </a:lnTo>
                  <a:lnTo>
                    <a:pt x="2022" y="1404"/>
                  </a:lnTo>
                  <a:lnTo>
                    <a:pt x="2030" y="1377"/>
                  </a:lnTo>
                  <a:lnTo>
                    <a:pt x="2040" y="1351"/>
                  </a:lnTo>
                  <a:lnTo>
                    <a:pt x="2050" y="1326"/>
                  </a:lnTo>
                  <a:lnTo>
                    <a:pt x="2062" y="1302"/>
                  </a:lnTo>
                  <a:lnTo>
                    <a:pt x="1668" y="1162"/>
                  </a:lnTo>
                  <a:lnTo>
                    <a:pt x="1668" y="1162"/>
                  </a:lnTo>
                  <a:lnTo>
                    <a:pt x="1661" y="1188"/>
                  </a:lnTo>
                  <a:lnTo>
                    <a:pt x="1652" y="1214"/>
                  </a:lnTo>
                  <a:lnTo>
                    <a:pt x="1642" y="1240"/>
                  </a:lnTo>
                  <a:lnTo>
                    <a:pt x="1631" y="1264"/>
                  </a:lnTo>
                  <a:close/>
                  <a:moveTo>
                    <a:pt x="1810" y="488"/>
                  </a:moveTo>
                  <a:lnTo>
                    <a:pt x="1539" y="733"/>
                  </a:lnTo>
                  <a:lnTo>
                    <a:pt x="1539" y="733"/>
                  </a:lnTo>
                  <a:lnTo>
                    <a:pt x="1558" y="752"/>
                  </a:lnTo>
                  <a:lnTo>
                    <a:pt x="1576" y="772"/>
                  </a:lnTo>
                  <a:lnTo>
                    <a:pt x="1593" y="793"/>
                  </a:lnTo>
                  <a:lnTo>
                    <a:pt x="1608" y="816"/>
                  </a:lnTo>
                  <a:lnTo>
                    <a:pt x="1884" y="569"/>
                  </a:lnTo>
                  <a:lnTo>
                    <a:pt x="1884" y="569"/>
                  </a:lnTo>
                  <a:lnTo>
                    <a:pt x="1863" y="551"/>
                  </a:lnTo>
                  <a:lnTo>
                    <a:pt x="1844" y="532"/>
                  </a:lnTo>
                  <a:lnTo>
                    <a:pt x="1826" y="511"/>
                  </a:lnTo>
                  <a:lnTo>
                    <a:pt x="1810" y="488"/>
                  </a:lnTo>
                  <a:close/>
                  <a:moveTo>
                    <a:pt x="765" y="1964"/>
                  </a:moveTo>
                  <a:lnTo>
                    <a:pt x="765" y="1964"/>
                  </a:lnTo>
                  <a:lnTo>
                    <a:pt x="749" y="1964"/>
                  </a:lnTo>
                  <a:lnTo>
                    <a:pt x="734" y="1965"/>
                  </a:lnTo>
                  <a:lnTo>
                    <a:pt x="720" y="1968"/>
                  </a:lnTo>
                  <a:lnTo>
                    <a:pt x="705" y="1970"/>
                  </a:lnTo>
                  <a:lnTo>
                    <a:pt x="690" y="1973"/>
                  </a:lnTo>
                  <a:lnTo>
                    <a:pt x="677" y="1977"/>
                  </a:lnTo>
                  <a:lnTo>
                    <a:pt x="662" y="1982"/>
                  </a:lnTo>
                  <a:lnTo>
                    <a:pt x="650" y="1987"/>
                  </a:lnTo>
                  <a:lnTo>
                    <a:pt x="636" y="1993"/>
                  </a:lnTo>
                  <a:lnTo>
                    <a:pt x="624" y="1999"/>
                  </a:lnTo>
                  <a:lnTo>
                    <a:pt x="612" y="2007"/>
                  </a:lnTo>
                  <a:lnTo>
                    <a:pt x="599" y="2014"/>
                  </a:lnTo>
                  <a:lnTo>
                    <a:pt x="588" y="2023"/>
                  </a:lnTo>
                  <a:lnTo>
                    <a:pt x="577" y="2032"/>
                  </a:lnTo>
                  <a:lnTo>
                    <a:pt x="565" y="2041"/>
                  </a:lnTo>
                  <a:lnTo>
                    <a:pt x="555" y="2050"/>
                  </a:lnTo>
                  <a:lnTo>
                    <a:pt x="545" y="2061"/>
                  </a:lnTo>
                  <a:lnTo>
                    <a:pt x="536" y="2071"/>
                  </a:lnTo>
                  <a:lnTo>
                    <a:pt x="527" y="2083"/>
                  </a:lnTo>
                  <a:lnTo>
                    <a:pt x="519" y="2094"/>
                  </a:lnTo>
                  <a:lnTo>
                    <a:pt x="511" y="2106"/>
                  </a:lnTo>
                  <a:lnTo>
                    <a:pt x="505" y="2119"/>
                  </a:lnTo>
                  <a:lnTo>
                    <a:pt x="498" y="2131"/>
                  </a:lnTo>
                  <a:lnTo>
                    <a:pt x="492" y="2145"/>
                  </a:lnTo>
                  <a:lnTo>
                    <a:pt x="487" y="2158"/>
                  </a:lnTo>
                  <a:lnTo>
                    <a:pt x="482" y="2172"/>
                  </a:lnTo>
                  <a:lnTo>
                    <a:pt x="478" y="2186"/>
                  </a:lnTo>
                  <a:lnTo>
                    <a:pt x="475" y="2200"/>
                  </a:lnTo>
                  <a:lnTo>
                    <a:pt x="472" y="2215"/>
                  </a:lnTo>
                  <a:lnTo>
                    <a:pt x="471" y="2229"/>
                  </a:lnTo>
                  <a:lnTo>
                    <a:pt x="470" y="2245"/>
                  </a:lnTo>
                  <a:lnTo>
                    <a:pt x="469" y="2260"/>
                  </a:lnTo>
                  <a:lnTo>
                    <a:pt x="469" y="2260"/>
                  </a:lnTo>
                  <a:lnTo>
                    <a:pt x="470" y="2275"/>
                  </a:lnTo>
                  <a:lnTo>
                    <a:pt x="471" y="2290"/>
                  </a:lnTo>
                  <a:lnTo>
                    <a:pt x="472" y="2305"/>
                  </a:lnTo>
                  <a:lnTo>
                    <a:pt x="475" y="2319"/>
                  </a:lnTo>
                  <a:lnTo>
                    <a:pt x="478" y="2334"/>
                  </a:lnTo>
                  <a:lnTo>
                    <a:pt x="482" y="2348"/>
                  </a:lnTo>
                  <a:lnTo>
                    <a:pt x="487" y="2361"/>
                  </a:lnTo>
                  <a:lnTo>
                    <a:pt x="492" y="2375"/>
                  </a:lnTo>
                  <a:lnTo>
                    <a:pt x="498" y="2388"/>
                  </a:lnTo>
                  <a:lnTo>
                    <a:pt x="505" y="2400"/>
                  </a:lnTo>
                  <a:lnTo>
                    <a:pt x="511" y="2413"/>
                  </a:lnTo>
                  <a:lnTo>
                    <a:pt x="519" y="2425"/>
                  </a:lnTo>
                  <a:lnTo>
                    <a:pt x="527" y="2437"/>
                  </a:lnTo>
                  <a:lnTo>
                    <a:pt x="536" y="2448"/>
                  </a:lnTo>
                  <a:lnTo>
                    <a:pt x="545" y="2459"/>
                  </a:lnTo>
                  <a:lnTo>
                    <a:pt x="555" y="2469"/>
                  </a:lnTo>
                  <a:lnTo>
                    <a:pt x="565" y="2479"/>
                  </a:lnTo>
                  <a:lnTo>
                    <a:pt x="577" y="2488"/>
                  </a:lnTo>
                  <a:lnTo>
                    <a:pt x="588" y="2497"/>
                  </a:lnTo>
                  <a:lnTo>
                    <a:pt x="599" y="2505"/>
                  </a:lnTo>
                  <a:lnTo>
                    <a:pt x="612" y="2513"/>
                  </a:lnTo>
                  <a:lnTo>
                    <a:pt x="624" y="2520"/>
                  </a:lnTo>
                  <a:lnTo>
                    <a:pt x="636" y="2527"/>
                  </a:lnTo>
                  <a:lnTo>
                    <a:pt x="650" y="2532"/>
                  </a:lnTo>
                  <a:lnTo>
                    <a:pt x="662" y="2538"/>
                  </a:lnTo>
                  <a:lnTo>
                    <a:pt x="677" y="2542"/>
                  </a:lnTo>
                  <a:lnTo>
                    <a:pt x="690" y="2546"/>
                  </a:lnTo>
                  <a:lnTo>
                    <a:pt x="705" y="2549"/>
                  </a:lnTo>
                  <a:lnTo>
                    <a:pt x="720" y="2553"/>
                  </a:lnTo>
                  <a:lnTo>
                    <a:pt x="734" y="2554"/>
                  </a:lnTo>
                  <a:lnTo>
                    <a:pt x="749" y="2555"/>
                  </a:lnTo>
                  <a:lnTo>
                    <a:pt x="765" y="2556"/>
                  </a:lnTo>
                  <a:lnTo>
                    <a:pt x="765" y="2556"/>
                  </a:lnTo>
                  <a:lnTo>
                    <a:pt x="779" y="2555"/>
                  </a:lnTo>
                  <a:lnTo>
                    <a:pt x="795" y="2554"/>
                  </a:lnTo>
                  <a:lnTo>
                    <a:pt x="810" y="2553"/>
                  </a:lnTo>
                  <a:lnTo>
                    <a:pt x="825" y="2549"/>
                  </a:lnTo>
                  <a:lnTo>
                    <a:pt x="838" y="2546"/>
                  </a:lnTo>
                  <a:lnTo>
                    <a:pt x="853" y="2542"/>
                  </a:lnTo>
                  <a:lnTo>
                    <a:pt x="866" y="2538"/>
                  </a:lnTo>
                  <a:lnTo>
                    <a:pt x="880" y="2532"/>
                  </a:lnTo>
                  <a:lnTo>
                    <a:pt x="893" y="2527"/>
                  </a:lnTo>
                  <a:lnTo>
                    <a:pt x="906" y="2520"/>
                  </a:lnTo>
                  <a:lnTo>
                    <a:pt x="918" y="2513"/>
                  </a:lnTo>
                  <a:lnTo>
                    <a:pt x="930" y="2505"/>
                  </a:lnTo>
                  <a:lnTo>
                    <a:pt x="942" y="2497"/>
                  </a:lnTo>
                  <a:lnTo>
                    <a:pt x="953" y="2488"/>
                  </a:lnTo>
                  <a:lnTo>
                    <a:pt x="963" y="2479"/>
                  </a:lnTo>
                  <a:lnTo>
                    <a:pt x="973" y="2469"/>
                  </a:lnTo>
                  <a:lnTo>
                    <a:pt x="983" y="2459"/>
                  </a:lnTo>
                  <a:lnTo>
                    <a:pt x="992" y="2448"/>
                  </a:lnTo>
                  <a:lnTo>
                    <a:pt x="1001" y="2437"/>
                  </a:lnTo>
                  <a:lnTo>
                    <a:pt x="1009" y="2425"/>
                  </a:lnTo>
                  <a:lnTo>
                    <a:pt x="1017" y="2413"/>
                  </a:lnTo>
                  <a:lnTo>
                    <a:pt x="1025" y="2400"/>
                  </a:lnTo>
                  <a:lnTo>
                    <a:pt x="1031" y="2388"/>
                  </a:lnTo>
                  <a:lnTo>
                    <a:pt x="1037" y="2375"/>
                  </a:lnTo>
                  <a:lnTo>
                    <a:pt x="1042" y="2361"/>
                  </a:lnTo>
                  <a:lnTo>
                    <a:pt x="1048" y="2348"/>
                  </a:lnTo>
                  <a:lnTo>
                    <a:pt x="1051" y="2334"/>
                  </a:lnTo>
                  <a:lnTo>
                    <a:pt x="1054" y="2319"/>
                  </a:lnTo>
                  <a:lnTo>
                    <a:pt x="1057" y="2305"/>
                  </a:lnTo>
                  <a:lnTo>
                    <a:pt x="1059" y="2290"/>
                  </a:lnTo>
                  <a:lnTo>
                    <a:pt x="1060" y="2275"/>
                  </a:lnTo>
                  <a:lnTo>
                    <a:pt x="1060" y="2260"/>
                  </a:lnTo>
                  <a:lnTo>
                    <a:pt x="1060" y="2260"/>
                  </a:lnTo>
                  <a:lnTo>
                    <a:pt x="1060" y="2245"/>
                  </a:lnTo>
                  <a:lnTo>
                    <a:pt x="1059" y="2229"/>
                  </a:lnTo>
                  <a:lnTo>
                    <a:pt x="1057" y="2215"/>
                  </a:lnTo>
                  <a:lnTo>
                    <a:pt x="1054" y="2200"/>
                  </a:lnTo>
                  <a:lnTo>
                    <a:pt x="1051" y="2186"/>
                  </a:lnTo>
                  <a:lnTo>
                    <a:pt x="1048" y="2172"/>
                  </a:lnTo>
                  <a:lnTo>
                    <a:pt x="1042" y="2158"/>
                  </a:lnTo>
                  <a:lnTo>
                    <a:pt x="1037" y="2145"/>
                  </a:lnTo>
                  <a:lnTo>
                    <a:pt x="1031" y="2131"/>
                  </a:lnTo>
                  <a:lnTo>
                    <a:pt x="1025" y="2119"/>
                  </a:lnTo>
                  <a:lnTo>
                    <a:pt x="1017" y="2106"/>
                  </a:lnTo>
                  <a:lnTo>
                    <a:pt x="1009" y="2094"/>
                  </a:lnTo>
                  <a:lnTo>
                    <a:pt x="1001" y="2083"/>
                  </a:lnTo>
                  <a:lnTo>
                    <a:pt x="992" y="2071"/>
                  </a:lnTo>
                  <a:lnTo>
                    <a:pt x="983" y="2061"/>
                  </a:lnTo>
                  <a:lnTo>
                    <a:pt x="973" y="2050"/>
                  </a:lnTo>
                  <a:lnTo>
                    <a:pt x="963" y="2041"/>
                  </a:lnTo>
                  <a:lnTo>
                    <a:pt x="953" y="2032"/>
                  </a:lnTo>
                  <a:lnTo>
                    <a:pt x="942" y="2023"/>
                  </a:lnTo>
                  <a:lnTo>
                    <a:pt x="930" y="2014"/>
                  </a:lnTo>
                  <a:lnTo>
                    <a:pt x="918" y="2007"/>
                  </a:lnTo>
                  <a:lnTo>
                    <a:pt x="906" y="1999"/>
                  </a:lnTo>
                  <a:lnTo>
                    <a:pt x="893" y="1993"/>
                  </a:lnTo>
                  <a:lnTo>
                    <a:pt x="880" y="1987"/>
                  </a:lnTo>
                  <a:lnTo>
                    <a:pt x="866" y="1982"/>
                  </a:lnTo>
                  <a:lnTo>
                    <a:pt x="853" y="1977"/>
                  </a:lnTo>
                  <a:lnTo>
                    <a:pt x="838" y="1973"/>
                  </a:lnTo>
                  <a:lnTo>
                    <a:pt x="825" y="1970"/>
                  </a:lnTo>
                  <a:lnTo>
                    <a:pt x="810" y="1968"/>
                  </a:lnTo>
                  <a:lnTo>
                    <a:pt x="795" y="1965"/>
                  </a:lnTo>
                  <a:lnTo>
                    <a:pt x="779" y="1964"/>
                  </a:lnTo>
                  <a:lnTo>
                    <a:pt x="765" y="196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rgbClr val="000000"/>
                </a:solidFill>
                <a:effectLst/>
                <a:uLnTx/>
                <a:uFillTx/>
                <a:latin typeface="+mj-lt"/>
              </a:endParaRPr>
            </a:p>
          </p:txBody>
        </p:sp>
        <p:sp>
          <p:nvSpPr>
            <p:cNvPr id="67" name="Freeform 472"/>
            <p:cNvSpPr>
              <a:spLocks noEditPoints="1"/>
            </p:cNvSpPr>
            <p:nvPr/>
          </p:nvSpPr>
          <p:spPr bwMode="auto">
            <a:xfrm>
              <a:off x="5366121" y="4529178"/>
              <a:ext cx="557159" cy="374387"/>
            </a:xfrm>
            <a:custGeom>
              <a:avLst/>
              <a:gdLst>
                <a:gd name="T0" fmla="*/ 3033 w 3402"/>
                <a:gd name="T1" fmla="*/ 2101 h 2286"/>
                <a:gd name="T2" fmla="*/ 2465 w 3402"/>
                <a:gd name="T3" fmla="*/ 1189 h 2286"/>
                <a:gd name="T4" fmla="*/ 643 w 3402"/>
                <a:gd name="T5" fmla="*/ 357 h 2286"/>
                <a:gd name="T6" fmla="*/ 799 w 3402"/>
                <a:gd name="T7" fmla="*/ 13 h 2286"/>
                <a:gd name="T8" fmla="*/ 1281 w 3402"/>
                <a:gd name="T9" fmla="*/ 353 h 2286"/>
                <a:gd name="T10" fmla="*/ 1436 w 3402"/>
                <a:gd name="T11" fmla="*/ 9 h 2286"/>
                <a:gd name="T12" fmla="*/ 158 w 3402"/>
                <a:gd name="T13" fmla="*/ 1525 h 2286"/>
                <a:gd name="T14" fmla="*/ 10 w 3402"/>
                <a:gd name="T15" fmla="*/ 1896 h 2286"/>
                <a:gd name="T16" fmla="*/ 1599 w 3402"/>
                <a:gd name="T17" fmla="*/ 351 h 2286"/>
                <a:gd name="T18" fmla="*/ 1758 w 3402"/>
                <a:gd name="T19" fmla="*/ 9 h 2286"/>
                <a:gd name="T20" fmla="*/ 499 w 3402"/>
                <a:gd name="T21" fmla="*/ 405 h 2286"/>
                <a:gd name="T22" fmla="*/ 324 w 3402"/>
                <a:gd name="T23" fmla="*/ 65 h 2286"/>
                <a:gd name="T24" fmla="*/ 479 w 3402"/>
                <a:gd name="T25" fmla="*/ 102 h 2286"/>
                <a:gd name="T26" fmla="*/ 373 w 3402"/>
                <a:gd name="T27" fmla="*/ 213 h 2286"/>
                <a:gd name="T28" fmla="*/ 106 w 3402"/>
                <a:gd name="T29" fmla="*/ 15 h 2286"/>
                <a:gd name="T30" fmla="*/ 6 w 3402"/>
                <a:gd name="T31" fmla="*/ 409 h 2286"/>
                <a:gd name="T32" fmla="*/ 120 w 3402"/>
                <a:gd name="T33" fmla="*/ 769 h 2286"/>
                <a:gd name="T34" fmla="*/ 10 w 3402"/>
                <a:gd name="T35" fmla="*/ 1164 h 2286"/>
                <a:gd name="T36" fmla="*/ 958 w 3402"/>
                <a:gd name="T37" fmla="*/ 363 h 2286"/>
                <a:gd name="T38" fmla="*/ 1126 w 3402"/>
                <a:gd name="T39" fmla="*/ 290 h 2286"/>
                <a:gd name="T40" fmla="*/ 1054 w 3402"/>
                <a:gd name="T41" fmla="*/ 72 h 2286"/>
                <a:gd name="T42" fmla="*/ 1079 w 3402"/>
                <a:gd name="T43" fmla="*/ 1520 h 2286"/>
                <a:gd name="T44" fmla="*/ 971 w 3402"/>
                <a:gd name="T45" fmla="*/ 1914 h 2286"/>
                <a:gd name="T46" fmla="*/ 1288 w 3402"/>
                <a:gd name="T47" fmla="*/ 1570 h 2286"/>
                <a:gd name="T48" fmla="*/ 1533 w 3402"/>
                <a:gd name="T49" fmla="*/ 1803 h 2286"/>
                <a:gd name="T50" fmla="*/ 1344 w 3402"/>
                <a:gd name="T51" fmla="*/ 1812 h 2286"/>
                <a:gd name="T52" fmla="*/ 1844 w 3402"/>
                <a:gd name="T53" fmla="*/ 1861 h 2286"/>
                <a:gd name="T54" fmla="*/ 1618 w 3402"/>
                <a:gd name="T55" fmla="*/ 1635 h 2286"/>
                <a:gd name="T56" fmla="*/ 971 w 3402"/>
                <a:gd name="T57" fmla="*/ 1164 h 2286"/>
                <a:gd name="T58" fmla="*/ 1059 w 3402"/>
                <a:gd name="T59" fmla="*/ 767 h 2286"/>
                <a:gd name="T60" fmla="*/ 971 w 3402"/>
                <a:gd name="T61" fmla="*/ 1164 h 2286"/>
                <a:gd name="T62" fmla="*/ 677 w 3402"/>
                <a:gd name="T63" fmla="*/ 1907 h 2286"/>
                <a:gd name="T64" fmla="*/ 809 w 3402"/>
                <a:gd name="T65" fmla="*/ 1830 h 2286"/>
                <a:gd name="T66" fmla="*/ 770 w 3402"/>
                <a:gd name="T67" fmla="*/ 1581 h 2286"/>
                <a:gd name="T68" fmla="*/ 302 w 3402"/>
                <a:gd name="T69" fmla="*/ 886 h 2286"/>
                <a:gd name="T70" fmla="*/ 579 w 3402"/>
                <a:gd name="T71" fmla="*/ 967 h 2286"/>
                <a:gd name="T72" fmla="*/ 376 w 3402"/>
                <a:gd name="T73" fmla="*/ 967 h 2286"/>
                <a:gd name="T74" fmla="*/ 685 w 3402"/>
                <a:gd name="T75" fmla="*/ 1160 h 2286"/>
                <a:gd name="T76" fmla="*/ 759 w 3402"/>
                <a:gd name="T77" fmla="*/ 762 h 2286"/>
                <a:gd name="T78" fmla="*/ 756 w 3402"/>
                <a:gd name="T79" fmla="*/ 826 h 2286"/>
                <a:gd name="T80" fmla="*/ 710 w 3402"/>
                <a:gd name="T81" fmla="*/ 1080 h 2286"/>
                <a:gd name="T82" fmla="*/ 329 w 3402"/>
                <a:gd name="T83" fmla="*/ 1593 h 2286"/>
                <a:gd name="T84" fmla="*/ 565 w 3402"/>
                <a:gd name="T85" fmla="*/ 1921 h 2286"/>
                <a:gd name="T86" fmla="*/ 2680 w 3402"/>
                <a:gd name="T87" fmla="*/ 999 h 2286"/>
                <a:gd name="T88" fmla="*/ 2167 w 3402"/>
                <a:gd name="T89" fmla="*/ 250 h 2286"/>
                <a:gd name="T90" fmla="*/ 1887 w 3402"/>
                <a:gd name="T91" fmla="*/ 254 h 2286"/>
                <a:gd name="T92" fmla="*/ 1328 w 3402"/>
                <a:gd name="T93" fmla="*/ 774 h 2286"/>
                <a:gd name="T94" fmla="*/ 1500 w 3402"/>
                <a:gd name="T95" fmla="*/ 1118 h 2286"/>
                <a:gd name="T96" fmla="*/ 1914 w 3402"/>
                <a:gd name="T97" fmla="*/ 1855 h 2286"/>
                <a:gd name="T98" fmla="*/ 1452 w 3402"/>
                <a:gd name="T99" fmla="*/ 1028 h 2286"/>
                <a:gd name="T100" fmla="*/ 1370 w 3402"/>
                <a:gd name="T101" fmla="*/ 827 h 2286"/>
                <a:gd name="T102" fmla="*/ 2061 w 3402"/>
                <a:gd name="T103" fmla="*/ 76 h 2286"/>
                <a:gd name="T104" fmla="*/ 1970 w 3402"/>
                <a:gd name="T105" fmla="*/ 274 h 2286"/>
                <a:gd name="T106" fmla="*/ 1980 w 3402"/>
                <a:gd name="T107" fmla="*/ 1630 h 2286"/>
                <a:gd name="T108" fmla="*/ 1834 w 3402"/>
                <a:gd name="T109" fmla="*/ 1435 h 2286"/>
                <a:gd name="T110" fmla="*/ 1829 w 3402"/>
                <a:gd name="T111" fmla="*/ 515 h 2286"/>
                <a:gd name="T112" fmla="*/ 2603 w 3402"/>
                <a:gd name="T113" fmla="*/ 998 h 2286"/>
                <a:gd name="T114" fmla="*/ 1774 w 3402"/>
                <a:gd name="T115" fmla="*/ 717 h 2286"/>
                <a:gd name="T116" fmla="*/ 1882 w 3402"/>
                <a:gd name="T117" fmla="*/ 1170 h 2286"/>
                <a:gd name="T118" fmla="*/ 1759 w 3402"/>
                <a:gd name="T119" fmla="*/ 1114 h 2286"/>
                <a:gd name="T120" fmla="*/ 1858 w 3402"/>
                <a:gd name="T121" fmla="*/ 878 h 2286"/>
                <a:gd name="T122" fmla="*/ 2030 w 3402"/>
                <a:gd name="T123" fmla="*/ 826 h 2286"/>
                <a:gd name="T124" fmla="*/ 2313 w 3402"/>
                <a:gd name="T125" fmla="*/ 1176 h 2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02" h="2286">
                  <a:moveTo>
                    <a:pt x="3216" y="1800"/>
                  </a:moveTo>
                  <a:lnTo>
                    <a:pt x="3186" y="1831"/>
                  </a:lnTo>
                  <a:lnTo>
                    <a:pt x="2747" y="1395"/>
                  </a:lnTo>
                  <a:lnTo>
                    <a:pt x="2747" y="1395"/>
                  </a:lnTo>
                  <a:lnTo>
                    <a:pt x="2735" y="1386"/>
                  </a:lnTo>
                  <a:lnTo>
                    <a:pt x="2723" y="1378"/>
                  </a:lnTo>
                  <a:lnTo>
                    <a:pt x="2712" y="1373"/>
                  </a:lnTo>
                  <a:lnTo>
                    <a:pt x="2700" y="1371"/>
                  </a:lnTo>
                  <a:lnTo>
                    <a:pt x="2688" y="1371"/>
                  </a:lnTo>
                  <a:lnTo>
                    <a:pt x="2676" y="1372"/>
                  </a:lnTo>
                  <a:lnTo>
                    <a:pt x="2663" y="1376"/>
                  </a:lnTo>
                  <a:lnTo>
                    <a:pt x="2652" y="1380"/>
                  </a:lnTo>
                  <a:lnTo>
                    <a:pt x="2607" y="1335"/>
                  </a:lnTo>
                  <a:lnTo>
                    <a:pt x="2607" y="1335"/>
                  </a:lnTo>
                  <a:lnTo>
                    <a:pt x="2591" y="1358"/>
                  </a:lnTo>
                  <a:lnTo>
                    <a:pt x="2573" y="1380"/>
                  </a:lnTo>
                  <a:lnTo>
                    <a:pt x="2555" y="1402"/>
                  </a:lnTo>
                  <a:lnTo>
                    <a:pt x="2534" y="1423"/>
                  </a:lnTo>
                  <a:lnTo>
                    <a:pt x="2534" y="1423"/>
                  </a:lnTo>
                  <a:lnTo>
                    <a:pt x="2513" y="1443"/>
                  </a:lnTo>
                  <a:lnTo>
                    <a:pt x="2493" y="1462"/>
                  </a:lnTo>
                  <a:lnTo>
                    <a:pt x="2471" y="1480"/>
                  </a:lnTo>
                  <a:lnTo>
                    <a:pt x="2448" y="1497"/>
                  </a:lnTo>
                  <a:lnTo>
                    <a:pt x="2491" y="1540"/>
                  </a:lnTo>
                  <a:lnTo>
                    <a:pt x="2491" y="1540"/>
                  </a:lnTo>
                  <a:lnTo>
                    <a:pt x="2487" y="1551"/>
                  </a:lnTo>
                  <a:lnTo>
                    <a:pt x="2485" y="1564"/>
                  </a:lnTo>
                  <a:lnTo>
                    <a:pt x="2483" y="1577"/>
                  </a:lnTo>
                  <a:lnTo>
                    <a:pt x="2485" y="1589"/>
                  </a:lnTo>
                  <a:lnTo>
                    <a:pt x="2488" y="1602"/>
                  </a:lnTo>
                  <a:lnTo>
                    <a:pt x="2494" y="1614"/>
                  </a:lnTo>
                  <a:lnTo>
                    <a:pt x="2501" y="1625"/>
                  </a:lnTo>
                  <a:lnTo>
                    <a:pt x="2509" y="1636"/>
                  </a:lnTo>
                  <a:lnTo>
                    <a:pt x="2948" y="2071"/>
                  </a:lnTo>
                  <a:lnTo>
                    <a:pt x="2918" y="2102"/>
                  </a:lnTo>
                  <a:lnTo>
                    <a:pt x="3103" y="2286"/>
                  </a:lnTo>
                  <a:lnTo>
                    <a:pt x="3402" y="1983"/>
                  </a:lnTo>
                  <a:lnTo>
                    <a:pt x="3216" y="1800"/>
                  </a:lnTo>
                  <a:close/>
                  <a:moveTo>
                    <a:pt x="2740" y="1749"/>
                  </a:moveTo>
                  <a:lnTo>
                    <a:pt x="2738" y="1502"/>
                  </a:lnTo>
                  <a:lnTo>
                    <a:pt x="3129" y="1889"/>
                  </a:lnTo>
                  <a:lnTo>
                    <a:pt x="3006" y="2013"/>
                  </a:lnTo>
                  <a:lnTo>
                    <a:pt x="2740" y="1749"/>
                  </a:lnTo>
                  <a:close/>
                  <a:moveTo>
                    <a:pt x="3103" y="2170"/>
                  </a:moveTo>
                  <a:lnTo>
                    <a:pt x="3033" y="2101"/>
                  </a:lnTo>
                  <a:lnTo>
                    <a:pt x="3217" y="1915"/>
                  </a:lnTo>
                  <a:lnTo>
                    <a:pt x="3287" y="1985"/>
                  </a:lnTo>
                  <a:lnTo>
                    <a:pt x="3103" y="2170"/>
                  </a:lnTo>
                  <a:close/>
                  <a:moveTo>
                    <a:pt x="2363" y="638"/>
                  </a:moveTo>
                  <a:lnTo>
                    <a:pt x="2338" y="669"/>
                  </a:lnTo>
                  <a:lnTo>
                    <a:pt x="2338" y="669"/>
                  </a:lnTo>
                  <a:lnTo>
                    <a:pt x="2354" y="683"/>
                  </a:lnTo>
                  <a:lnTo>
                    <a:pt x="2369" y="698"/>
                  </a:lnTo>
                  <a:lnTo>
                    <a:pt x="2383" y="714"/>
                  </a:lnTo>
                  <a:lnTo>
                    <a:pt x="2397" y="730"/>
                  </a:lnTo>
                  <a:lnTo>
                    <a:pt x="2408" y="746"/>
                  </a:lnTo>
                  <a:lnTo>
                    <a:pt x="2420" y="764"/>
                  </a:lnTo>
                  <a:lnTo>
                    <a:pt x="2430" y="781"/>
                  </a:lnTo>
                  <a:lnTo>
                    <a:pt x="2440" y="799"/>
                  </a:lnTo>
                  <a:lnTo>
                    <a:pt x="2449" y="818"/>
                  </a:lnTo>
                  <a:lnTo>
                    <a:pt x="2456" y="836"/>
                  </a:lnTo>
                  <a:lnTo>
                    <a:pt x="2463" y="856"/>
                  </a:lnTo>
                  <a:lnTo>
                    <a:pt x="2467" y="874"/>
                  </a:lnTo>
                  <a:lnTo>
                    <a:pt x="2472" y="894"/>
                  </a:lnTo>
                  <a:lnTo>
                    <a:pt x="2475" y="914"/>
                  </a:lnTo>
                  <a:lnTo>
                    <a:pt x="2478" y="934"/>
                  </a:lnTo>
                  <a:lnTo>
                    <a:pt x="2480" y="954"/>
                  </a:lnTo>
                  <a:lnTo>
                    <a:pt x="2480" y="974"/>
                  </a:lnTo>
                  <a:lnTo>
                    <a:pt x="2480" y="995"/>
                  </a:lnTo>
                  <a:lnTo>
                    <a:pt x="2478" y="1014"/>
                  </a:lnTo>
                  <a:lnTo>
                    <a:pt x="2475" y="1034"/>
                  </a:lnTo>
                  <a:lnTo>
                    <a:pt x="2472" y="1053"/>
                  </a:lnTo>
                  <a:lnTo>
                    <a:pt x="2467" y="1074"/>
                  </a:lnTo>
                  <a:lnTo>
                    <a:pt x="2461" y="1093"/>
                  </a:lnTo>
                  <a:lnTo>
                    <a:pt x="2456" y="1112"/>
                  </a:lnTo>
                  <a:lnTo>
                    <a:pt x="2448" y="1132"/>
                  </a:lnTo>
                  <a:lnTo>
                    <a:pt x="2440" y="1151"/>
                  </a:lnTo>
                  <a:lnTo>
                    <a:pt x="2429" y="1169"/>
                  </a:lnTo>
                  <a:lnTo>
                    <a:pt x="2419" y="1186"/>
                  </a:lnTo>
                  <a:lnTo>
                    <a:pt x="2407" y="1204"/>
                  </a:lnTo>
                  <a:lnTo>
                    <a:pt x="2395" y="1221"/>
                  </a:lnTo>
                  <a:lnTo>
                    <a:pt x="2381" y="1237"/>
                  </a:lnTo>
                  <a:lnTo>
                    <a:pt x="2366" y="1253"/>
                  </a:lnTo>
                  <a:lnTo>
                    <a:pt x="2395" y="1282"/>
                  </a:lnTo>
                  <a:lnTo>
                    <a:pt x="2395" y="1282"/>
                  </a:lnTo>
                  <a:lnTo>
                    <a:pt x="2411" y="1265"/>
                  </a:lnTo>
                  <a:lnTo>
                    <a:pt x="2426" y="1246"/>
                  </a:lnTo>
                  <a:lnTo>
                    <a:pt x="2441" y="1228"/>
                  </a:lnTo>
                  <a:lnTo>
                    <a:pt x="2453" y="1208"/>
                  </a:lnTo>
                  <a:lnTo>
                    <a:pt x="2465" y="1189"/>
                  </a:lnTo>
                  <a:lnTo>
                    <a:pt x="2475" y="1168"/>
                  </a:lnTo>
                  <a:lnTo>
                    <a:pt x="2486" y="1148"/>
                  </a:lnTo>
                  <a:lnTo>
                    <a:pt x="2494" y="1126"/>
                  </a:lnTo>
                  <a:lnTo>
                    <a:pt x="2501" y="1105"/>
                  </a:lnTo>
                  <a:lnTo>
                    <a:pt x="2508" y="1084"/>
                  </a:lnTo>
                  <a:lnTo>
                    <a:pt x="2512" y="1063"/>
                  </a:lnTo>
                  <a:lnTo>
                    <a:pt x="2516" y="1041"/>
                  </a:lnTo>
                  <a:lnTo>
                    <a:pt x="2519" y="1019"/>
                  </a:lnTo>
                  <a:lnTo>
                    <a:pt x="2520" y="997"/>
                  </a:lnTo>
                  <a:lnTo>
                    <a:pt x="2521" y="974"/>
                  </a:lnTo>
                  <a:lnTo>
                    <a:pt x="2520" y="952"/>
                  </a:lnTo>
                  <a:lnTo>
                    <a:pt x="2519" y="930"/>
                  </a:lnTo>
                  <a:lnTo>
                    <a:pt x="2516" y="908"/>
                  </a:lnTo>
                  <a:lnTo>
                    <a:pt x="2512" y="886"/>
                  </a:lnTo>
                  <a:lnTo>
                    <a:pt x="2508" y="865"/>
                  </a:lnTo>
                  <a:lnTo>
                    <a:pt x="2501" y="843"/>
                  </a:lnTo>
                  <a:lnTo>
                    <a:pt x="2494" y="822"/>
                  </a:lnTo>
                  <a:lnTo>
                    <a:pt x="2486" y="802"/>
                  </a:lnTo>
                  <a:lnTo>
                    <a:pt x="2476" y="781"/>
                  </a:lnTo>
                  <a:lnTo>
                    <a:pt x="2466" y="761"/>
                  </a:lnTo>
                  <a:lnTo>
                    <a:pt x="2455" y="742"/>
                  </a:lnTo>
                  <a:lnTo>
                    <a:pt x="2442" y="723"/>
                  </a:lnTo>
                  <a:lnTo>
                    <a:pt x="2428" y="705"/>
                  </a:lnTo>
                  <a:lnTo>
                    <a:pt x="2414" y="687"/>
                  </a:lnTo>
                  <a:lnTo>
                    <a:pt x="2398" y="670"/>
                  </a:lnTo>
                  <a:lnTo>
                    <a:pt x="2382" y="653"/>
                  </a:lnTo>
                  <a:lnTo>
                    <a:pt x="2363" y="638"/>
                  </a:lnTo>
                  <a:lnTo>
                    <a:pt x="2363" y="638"/>
                  </a:lnTo>
                  <a:close/>
                  <a:moveTo>
                    <a:pt x="642" y="128"/>
                  </a:moveTo>
                  <a:lnTo>
                    <a:pt x="642" y="128"/>
                  </a:lnTo>
                  <a:lnTo>
                    <a:pt x="645" y="131"/>
                  </a:lnTo>
                  <a:lnTo>
                    <a:pt x="650" y="131"/>
                  </a:lnTo>
                  <a:lnTo>
                    <a:pt x="650" y="131"/>
                  </a:lnTo>
                  <a:lnTo>
                    <a:pt x="654" y="128"/>
                  </a:lnTo>
                  <a:lnTo>
                    <a:pt x="661" y="126"/>
                  </a:lnTo>
                  <a:lnTo>
                    <a:pt x="725" y="90"/>
                  </a:lnTo>
                  <a:lnTo>
                    <a:pt x="726" y="349"/>
                  </a:lnTo>
                  <a:lnTo>
                    <a:pt x="652" y="350"/>
                  </a:lnTo>
                  <a:lnTo>
                    <a:pt x="652" y="350"/>
                  </a:lnTo>
                  <a:lnTo>
                    <a:pt x="650" y="350"/>
                  </a:lnTo>
                  <a:lnTo>
                    <a:pt x="647" y="351"/>
                  </a:lnTo>
                  <a:lnTo>
                    <a:pt x="647" y="351"/>
                  </a:lnTo>
                  <a:lnTo>
                    <a:pt x="645" y="353"/>
                  </a:lnTo>
                  <a:lnTo>
                    <a:pt x="643" y="357"/>
                  </a:lnTo>
                  <a:lnTo>
                    <a:pt x="643" y="357"/>
                  </a:lnTo>
                  <a:lnTo>
                    <a:pt x="642" y="360"/>
                  </a:lnTo>
                  <a:lnTo>
                    <a:pt x="640" y="366"/>
                  </a:lnTo>
                  <a:lnTo>
                    <a:pt x="640" y="366"/>
                  </a:lnTo>
                  <a:lnTo>
                    <a:pt x="640" y="381"/>
                  </a:lnTo>
                  <a:lnTo>
                    <a:pt x="640" y="381"/>
                  </a:lnTo>
                  <a:lnTo>
                    <a:pt x="640" y="396"/>
                  </a:lnTo>
                  <a:lnTo>
                    <a:pt x="640" y="396"/>
                  </a:lnTo>
                  <a:lnTo>
                    <a:pt x="642" y="401"/>
                  </a:lnTo>
                  <a:lnTo>
                    <a:pt x="644" y="405"/>
                  </a:lnTo>
                  <a:lnTo>
                    <a:pt x="644" y="405"/>
                  </a:lnTo>
                  <a:lnTo>
                    <a:pt x="645" y="408"/>
                  </a:lnTo>
                  <a:lnTo>
                    <a:pt x="647" y="410"/>
                  </a:lnTo>
                  <a:lnTo>
                    <a:pt x="647" y="410"/>
                  </a:lnTo>
                  <a:lnTo>
                    <a:pt x="650" y="411"/>
                  </a:lnTo>
                  <a:lnTo>
                    <a:pt x="652" y="412"/>
                  </a:lnTo>
                  <a:lnTo>
                    <a:pt x="871" y="411"/>
                  </a:lnTo>
                  <a:lnTo>
                    <a:pt x="871" y="411"/>
                  </a:lnTo>
                  <a:lnTo>
                    <a:pt x="874" y="410"/>
                  </a:lnTo>
                  <a:lnTo>
                    <a:pt x="876" y="409"/>
                  </a:lnTo>
                  <a:lnTo>
                    <a:pt x="876" y="409"/>
                  </a:lnTo>
                  <a:lnTo>
                    <a:pt x="878" y="407"/>
                  </a:lnTo>
                  <a:lnTo>
                    <a:pt x="881" y="404"/>
                  </a:lnTo>
                  <a:lnTo>
                    <a:pt x="881" y="404"/>
                  </a:lnTo>
                  <a:lnTo>
                    <a:pt x="883" y="395"/>
                  </a:lnTo>
                  <a:lnTo>
                    <a:pt x="883" y="395"/>
                  </a:lnTo>
                  <a:lnTo>
                    <a:pt x="884" y="380"/>
                  </a:lnTo>
                  <a:lnTo>
                    <a:pt x="884" y="380"/>
                  </a:lnTo>
                  <a:lnTo>
                    <a:pt x="883" y="365"/>
                  </a:lnTo>
                  <a:lnTo>
                    <a:pt x="883" y="365"/>
                  </a:lnTo>
                  <a:lnTo>
                    <a:pt x="882" y="359"/>
                  </a:lnTo>
                  <a:lnTo>
                    <a:pt x="881" y="356"/>
                  </a:lnTo>
                  <a:lnTo>
                    <a:pt x="881" y="356"/>
                  </a:lnTo>
                  <a:lnTo>
                    <a:pt x="878" y="352"/>
                  </a:lnTo>
                  <a:lnTo>
                    <a:pt x="876" y="350"/>
                  </a:lnTo>
                  <a:lnTo>
                    <a:pt x="876" y="350"/>
                  </a:lnTo>
                  <a:lnTo>
                    <a:pt x="874" y="349"/>
                  </a:lnTo>
                  <a:lnTo>
                    <a:pt x="871" y="349"/>
                  </a:lnTo>
                  <a:lnTo>
                    <a:pt x="807" y="349"/>
                  </a:lnTo>
                  <a:lnTo>
                    <a:pt x="804" y="20"/>
                  </a:lnTo>
                  <a:lnTo>
                    <a:pt x="804" y="20"/>
                  </a:lnTo>
                  <a:lnTo>
                    <a:pt x="804" y="17"/>
                  </a:lnTo>
                  <a:lnTo>
                    <a:pt x="803" y="15"/>
                  </a:lnTo>
                  <a:lnTo>
                    <a:pt x="803" y="15"/>
                  </a:lnTo>
                  <a:lnTo>
                    <a:pt x="801" y="14"/>
                  </a:lnTo>
                  <a:lnTo>
                    <a:pt x="799" y="13"/>
                  </a:lnTo>
                  <a:lnTo>
                    <a:pt x="799" y="13"/>
                  </a:lnTo>
                  <a:lnTo>
                    <a:pt x="787" y="12"/>
                  </a:lnTo>
                  <a:lnTo>
                    <a:pt x="787" y="12"/>
                  </a:lnTo>
                  <a:lnTo>
                    <a:pt x="769" y="10"/>
                  </a:lnTo>
                  <a:lnTo>
                    <a:pt x="769" y="10"/>
                  </a:lnTo>
                  <a:lnTo>
                    <a:pt x="754" y="12"/>
                  </a:lnTo>
                  <a:lnTo>
                    <a:pt x="754" y="12"/>
                  </a:lnTo>
                  <a:lnTo>
                    <a:pt x="743" y="12"/>
                  </a:lnTo>
                  <a:lnTo>
                    <a:pt x="743" y="12"/>
                  </a:lnTo>
                  <a:lnTo>
                    <a:pt x="737" y="13"/>
                  </a:lnTo>
                  <a:lnTo>
                    <a:pt x="737" y="13"/>
                  </a:lnTo>
                  <a:lnTo>
                    <a:pt x="734" y="15"/>
                  </a:lnTo>
                  <a:lnTo>
                    <a:pt x="649" y="70"/>
                  </a:lnTo>
                  <a:lnTo>
                    <a:pt x="649" y="70"/>
                  </a:lnTo>
                  <a:lnTo>
                    <a:pt x="643" y="75"/>
                  </a:lnTo>
                  <a:lnTo>
                    <a:pt x="643" y="75"/>
                  </a:lnTo>
                  <a:lnTo>
                    <a:pt x="640" y="77"/>
                  </a:lnTo>
                  <a:lnTo>
                    <a:pt x="639" y="81"/>
                  </a:lnTo>
                  <a:lnTo>
                    <a:pt x="639" y="81"/>
                  </a:lnTo>
                  <a:lnTo>
                    <a:pt x="638" y="89"/>
                  </a:lnTo>
                  <a:lnTo>
                    <a:pt x="638" y="89"/>
                  </a:lnTo>
                  <a:lnTo>
                    <a:pt x="637" y="102"/>
                  </a:lnTo>
                  <a:lnTo>
                    <a:pt x="637" y="102"/>
                  </a:lnTo>
                  <a:lnTo>
                    <a:pt x="638" y="119"/>
                  </a:lnTo>
                  <a:lnTo>
                    <a:pt x="638" y="119"/>
                  </a:lnTo>
                  <a:lnTo>
                    <a:pt x="640" y="125"/>
                  </a:lnTo>
                  <a:lnTo>
                    <a:pt x="642" y="128"/>
                  </a:lnTo>
                  <a:lnTo>
                    <a:pt x="642" y="128"/>
                  </a:lnTo>
                  <a:close/>
                  <a:moveTo>
                    <a:pt x="1280" y="125"/>
                  </a:moveTo>
                  <a:lnTo>
                    <a:pt x="1280" y="125"/>
                  </a:lnTo>
                  <a:lnTo>
                    <a:pt x="1282" y="127"/>
                  </a:lnTo>
                  <a:lnTo>
                    <a:pt x="1287" y="127"/>
                  </a:lnTo>
                  <a:lnTo>
                    <a:pt x="1287" y="127"/>
                  </a:lnTo>
                  <a:lnTo>
                    <a:pt x="1291" y="126"/>
                  </a:lnTo>
                  <a:lnTo>
                    <a:pt x="1298" y="122"/>
                  </a:lnTo>
                  <a:lnTo>
                    <a:pt x="1362" y="87"/>
                  </a:lnTo>
                  <a:lnTo>
                    <a:pt x="1363" y="345"/>
                  </a:lnTo>
                  <a:lnTo>
                    <a:pt x="1289" y="347"/>
                  </a:lnTo>
                  <a:lnTo>
                    <a:pt x="1289" y="347"/>
                  </a:lnTo>
                  <a:lnTo>
                    <a:pt x="1287" y="347"/>
                  </a:lnTo>
                  <a:lnTo>
                    <a:pt x="1284" y="348"/>
                  </a:lnTo>
                  <a:lnTo>
                    <a:pt x="1284" y="348"/>
                  </a:lnTo>
                  <a:lnTo>
                    <a:pt x="1282" y="350"/>
                  </a:lnTo>
                  <a:lnTo>
                    <a:pt x="1281" y="353"/>
                  </a:lnTo>
                  <a:lnTo>
                    <a:pt x="1281" y="353"/>
                  </a:lnTo>
                  <a:lnTo>
                    <a:pt x="1279" y="358"/>
                  </a:lnTo>
                  <a:lnTo>
                    <a:pt x="1277" y="363"/>
                  </a:lnTo>
                  <a:lnTo>
                    <a:pt x="1277" y="363"/>
                  </a:lnTo>
                  <a:lnTo>
                    <a:pt x="1277" y="378"/>
                  </a:lnTo>
                  <a:lnTo>
                    <a:pt x="1277" y="378"/>
                  </a:lnTo>
                  <a:lnTo>
                    <a:pt x="1279" y="393"/>
                  </a:lnTo>
                  <a:lnTo>
                    <a:pt x="1279" y="393"/>
                  </a:lnTo>
                  <a:lnTo>
                    <a:pt x="1280" y="397"/>
                  </a:lnTo>
                  <a:lnTo>
                    <a:pt x="1281" y="402"/>
                  </a:lnTo>
                  <a:lnTo>
                    <a:pt x="1281" y="402"/>
                  </a:lnTo>
                  <a:lnTo>
                    <a:pt x="1283" y="405"/>
                  </a:lnTo>
                  <a:lnTo>
                    <a:pt x="1284" y="407"/>
                  </a:lnTo>
                  <a:lnTo>
                    <a:pt x="1284" y="407"/>
                  </a:lnTo>
                  <a:lnTo>
                    <a:pt x="1287" y="408"/>
                  </a:lnTo>
                  <a:lnTo>
                    <a:pt x="1289" y="409"/>
                  </a:lnTo>
                  <a:lnTo>
                    <a:pt x="1508" y="408"/>
                  </a:lnTo>
                  <a:lnTo>
                    <a:pt x="1508" y="408"/>
                  </a:lnTo>
                  <a:lnTo>
                    <a:pt x="1512" y="407"/>
                  </a:lnTo>
                  <a:lnTo>
                    <a:pt x="1514" y="405"/>
                  </a:lnTo>
                  <a:lnTo>
                    <a:pt x="1514" y="405"/>
                  </a:lnTo>
                  <a:lnTo>
                    <a:pt x="1515" y="404"/>
                  </a:lnTo>
                  <a:lnTo>
                    <a:pt x="1518" y="401"/>
                  </a:lnTo>
                  <a:lnTo>
                    <a:pt x="1518" y="401"/>
                  </a:lnTo>
                  <a:lnTo>
                    <a:pt x="1520" y="392"/>
                  </a:lnTo>
                  <a:lnTo>
                    <a:pt x="1520" y="392"/>
                  </a:lnTo>
                  <a:lnTo>
                    <a:pt x="1521" y="377"/>
                  </a:lnTo>
                  <a:lnTo>
                    <a:pt x="1521" y="377"/>
                  </a:lnTo>
                  <a:lnTo>
                    <a:pt x="1520" y="362"/>
                  </a:lnTo>
                  <a:lnTo>
                    <a:pt x="1520" y="362"/>
                  </a:lnTo>
                  <a:lnTo>
                    <a:pt x="1519" y="356"/>
                  </a:lnTo>
                  <a:lnTo>
                    <a:pt x="1518" y="352"/>
                  </a:lnTo>
                  <a:lnTo>
                    <a:pt x="1518" y="352"/>
                  </a:lnTo>
                  <a:lnTo>
                    <a:pt x="1515" y="349"/>
                  </a:lnTo>
                  <a:lnTo>
                    <a:pt x="1513" y="347"/>
                  </a:lnTo>
                  <a:lnTo>
                    <a:pt x="1513" y="347"/>
                  </a:lnTo>
                  <a:lnTo>
                    <a:pt x="1511" y="345"/>
                  </a:lnTo>
                  <a:lnTo>
                    <a:pt x="1508" y="345"/>
                  </a:lnTo>
                  <a:lnTo>
                    <a:pt x="1444" y="345"/>
                  </a:lnTo>
                  <a:lnTo>
                    <a:pt x="1441" y="17"/>
                  </a:lnTo>
                  <a:lnTo>
                    <a:pt x="1441" y="17"/>
                  </a:lnTo>
                  <a:lnTo>
                    <a:pt x="1441" y="14"/>
                  </a:lnTo>
                  <a:lnTo>
                    <a:pt x="1440" y="13"/>
                  </a:lnTo>
                  <a:lnTo>
                    <a:pt x="1440" y="13"/>
                  </a:lnTo>
                  <a:lnTo>
                    <a:pt x="1439" y="10"/>
                  </a:lnTo>
                  <a:lnTo>
                    <a:pt x="1436" y="9"/>
                  </a:lnTo>
                  <a:lnTo>
                    <a:pt x="1436" y="9"/>
                  </a:lnTo>
                  <a:lnTo>
                    <a:pt x="1425" y="8"/>
                  </a:lnTo>
                  <a:lnTo>
                    <a:pt x="1425" y="8"/>
                  </a:lnTo>
                  <a:lnTo>
                    <a:pt x="1406" y="8"/>
                  </a:lnTo>
                  <a:lnTo>
                    <a:pt x="1406" y="8"/>
                  </a:lnTo>
                  <a:lnTo>
                    <a:pt x="1391" y="8"/>
                  </a:lnTo>
                  <a:lnTo>
                    <a:pt x="1391" y="8"/>
                  </a:lnTo>
                  <a:lnTo>
                    <a:pt x="1380" y="8"/>
                  </a:lnTo>
                  <a:lnTo>
                    <a:pt x="1380" y="8"/>
                  </a:lnTo>
                  <a:lnTo>
                    <a:pt x="1374" y="9"/>
                  </a:lnTo>
                  <a:lnTo>
                    <a:pt x="1374" y="9"/>
                  </a:lnTo>
                  <a:lnTo>
                    <a:pt x="1371" y="12"/>
                  </a:lnTo>
                  <a:lnTo>
                    <a:pt x="1286" y="67"/>
                  </a:lnTo>
                  <a:lnTo>
                    <a:pt x="1286" y="67"/>
                  </a:lnTo>
                  <a:lnTo>
                    <a:pt x="1280" y="72"/>
                  </a:lnTo>
                  <a:lnTo>
                    <a:pt x="1280" y="72"/>
                  </a:lnTo>
                  <a:lnTo>
                    <a:pt x="1279" y="75"/>
                  </a:lnTo>
                  <a:lnTo>
                    <a:pt x="1276" y="77"/>
                  </a:lnTo>
                  <a:lnTo>
                    <a:pt x="1276" y="77"/>
                  </a:lnTo>
                  <a:lnTo>
                    <a:pt x="1275" y="85"/>
                  </a:lnTo>
                  <a:lnTo>
                    <a:pt x="1275" y="85"/>
                  </a:lnTo>
                  <a:lnTo>
                    <a:pt x="1275" y="98"/>
                  </a:lnTo>
                  <a:lnTo>
                    <a:pt x="1275" y="98"/>
                  </a:lnTo>
                  <a:lnTo>
                    <a:pt x="1276" y="116"/>
                  </a:lnTo>
                  <a:lnTo>
                    <a:pt x="1276" y="116"/>
                  </a:lnTo>
                  <a:lnTo>
                    <a:pt x="1277" y="121"/>
                  </a:lnTo>
                  <a:lnTo>
                    <a:pt x="1280" y="125"/>
                  </a:lnTo>
                  <a:lnTo>
                    <a:pt x="1280" y="125"/>
                  </a:lnTo>
                  <a:close/>
                  <a:moveTo>
                    <a:pt x="250" y="1869"/>
                  </a:moveTo>
                  <a:lnTo>
                    <a:pt x="250" y="1869"/>
                  </a:lnTo>
                  <a:lnTo>
                    <a:pt x="248" y="1866"/>
                  </a:lnTo>
                  <a:lnTo>
                    <a:pt x="247" y="1864"/>
                  </a:lnTo>
                  <a:lnTo>
                    <a:pt x="247" y="1864"/>
                  </a:lnTo>
                  <a:lnTo>
                    <a:pt x="243" y="1862"/>
                  </a:lnTo>
                  <a:lnTo>
                    <a:pt x="241" y="1862"/>
                  </a:lnTo>
                  <a:lnTo>
                    <a:pt x="177" y="1862"/>
                  </a:lnTo>
                  <a:lnTo>
                    <a:pt x="175" y="1534"/>
                  </a:lnTo>
                  <a:lnTo>
                    <a:pt x="175" y="1534"/>
                  </a:lnTo>
                  <a:lnTo>
                    <a:pt x="174" y="1532"/>
                  </a:lnTo>
                  <a:lnTo>
                    <a:pt x="173" y="1529"/>
                  </a:lnTo>
                  <a:lnTo>
                    <a:pt x="173" y="1529"/>
                  </a:lnTo>
                  <a:lnTo>
                    <a:pt x="172" y="1528"/>
                  </a:lnTo>
                  <a:lnTo>
                    <a:pt x="168" y="1526"/>
                  </a:lnTo>
                  <a:lnTo>
                    <a:pt x="168" y="1526"/>
                  </a:lnTo>
                  <a:lnTo>
                    <a:pt x="158" y="1525"/>
                  </a:lnTo>
                  <a:lnTo>
                    <a:pt x="158" y="1525"/>
                  </a:lnTo>
                  <a:lnTo>
                    <a:pt x="138" y="1525"/>
                  </a:lnTo>
                  <a:lnTo>
                    <a:pt x="138" y="1525"/>
                  </a:lnTo>
                  <a:lnTo>
                    <a:pt x="123" y="1525"/>
                  </a:lnTo>
                  <a:lnTo>
                    <a:pt x="123" y="1525"/>
                  </a:lnTo>
                  <a:lnTo>
                    <a:pt x="114" y="1526"/>
                  </a:lnTo>
                  <a:lnTo>
                    <a:pt x="114" y="1526"/>
                  </a:lnTo>
                  <a:lnTo>
                    <a:pt x="107" y="1527"/>
                  </a:lnTo>
                  <a:lnTo>
                    <a:pt x="107" y="1527"/>
                  </a:lnTo>
                  <a:lnTo>
                    <a:pt x="104" y="1528"/>
                  </a:lnTo>
                  <a:lnTo>
                    <a:pt x="18" y="1585"/>
                  </a:lnTo>
                  <a:lnTo>
                    <a:pt x="18" y="1585"/>
                  </a:lnTo>
                  <a:lnTo>
                    <a:pt x="13" y="1589"/>
                  </a:lnTo>
                  <a:lnTo>
                    <a:pt x="13" y="1589"/>
                  </a:lnTo>
                  <a:lnTo>
                    <a:pt x="12" y="1592"/>
                  </a:lnTo>
                  <a:lnTo>
                    <a:pt x="9" y="1595"/>
                  </a:lnTo>
                  <a:lnTo>
                    <a:pt x="9" y="1595"/>
                  </a:lnTo>
                  <a:lnTo>
                    <a:pt x="8" y="1603"/>
                  </a:lnTo>
                  <a:lnTo>
                    <a:pt x="8" y="1603"/>
                  </a:lnTo>
                  <a:lnTo>
                    <a:pt x="8" y="1615"/>
                  </a:lnTo>
                  <a:lnTo>
                    <a:pt x="8" y="1615"/>
                  </a:lnTo>
                  <a:lnTo>
                    <a:pt x="9" y="1633"/>
                  </a:lnTo>
                  <a:lnTo>
                    <a:pt x="9" y="1633"/>
                  </a:lnTo>
                  <a:lnTo>
                    <a:pt x="10" y="1639"/>
                  </a:lnTo>
                  <a:lnTo>
                    <a:pt x="13" y="1643"/>
                  </a:lnTo>
                  <a:lnTo>
                    <a:pt x="13" y="1643"/>
                  </a:lnTo>
                  <a:lnTo>
                    <a:pt x="16" y="1644"/>
                  </a:lnTo>
                  <a:lnTo>
                    <a:pt x="20" y="1644"/>
                  </a:lnTo>
                  <a:lnTo>
                    <a:pt x="20" y="1644"/>
                  </a:lnTo>
                  <a:lnTo>
                    <a:pt x="24" y="1643"/>
                  </a:lnTo>
                  <a:lnTo>
                    <a:pt x="31" y="1640"/>
                  </a:lnTo>
                  <a:lnTo>
                    <a:pt x="95" y="1604"/>
                  </a:lnTo>
                  <a:lnTo>
                    <a:pt x="96" y="1863"/>
                  </a:lnTo>
                  <a:lnTo>
                    <a:pt x="22" y="1863"/>
                  </a:lnTo>
                  <a:lnTo>
                    <a:pt x="22" y="1863"/>
                  </a:lnTo>
                  <a:lnTo>
                    <a:pt x="20" y="1863"/>
                  </a:lnTo>
                  <a:lnTo>
                    <a:pt x="17" y="1864"/>
                  </a:lnTo>
                  <a:lnTo>
                    <a:pt x="17" y="1864"/>
                  </a:lnTo>
                  <a:lnTo>
                    <a:pt x="15" y="1867"/>
                  </a:lnTo>
                  <a:lnTo>
                    <a:pt x="14" y="1870"/>
                  </a:lnTo>
                  <a:lnTo>
                    <a:pt x="14" y="1870"/>
                  </a:lnTo>
                  <a:lnTo>
                    <a:pt x="12" y="1875"/>
                  </a:lnTo>
                  <a:lnTo>
                    <a:pt x="12" y="1881"/>
                  </a:lnTo>
                  <a:lnTo>
                    <a:pt x="12" y="1881"/>
                  </a:lnTo>
                  <a:lnTo>
                    <a:pt x="10" y="1896"/>
                  </a:lnTo>
                  <a:lnTo>
                    <a:pt x="10" y="1896"/>
                  </a:lnTo>
                  <a:lnTo>
                    <a:pt x="12" y="1909"/>
                  </a:lnTo>
                  <a:lnTo>
                    <a:pt x="12" y="1909"/>
                  </a:lnTo>
                  <a:lnTo>
                    <a:pt x="13" y="1915"/>
                  </a:lnTo>
                  <a:lnTo>
                    <a:pt x="14" y="1919"/>
                  </a:lnTo>
                  <a:lnTo>
                    <a:pt x="14" y="1919"/>
                  </a:lnTo>
                  <a:lnTo>
                    <a:pt x="16" y="1922"/>
                  </a:lnTo>
                  <a:lnTo>
                    <a:pt x="17" y="1924"/>
                  </a:lnTo>
                  <a:lnTo>
                    <a:pt x="17" y="1924"/>
                  </a:lnTo>
                  <a:lnTo>
                    <a:pt x="20" y="1926"/>
                  </a:lnTo>
                  <a:lnTo>
                    <a:pt x="22" y="1926"/>
                  </a:lnTo>
                  <a:lnTo>
                    <a:pt x="241" y="1924"/>
                  </a:lnTo>
                  <a:lnTo>
                    <a:pt x="241" y="1924"/>
                  </a:lnTo>
                  <a:lnTo>
                    <a:pt x="245" y="1924"/>
                  </a:lnTo>
                  <a:lnTo>
                    <a:pt x="247" y="1923"/>
                  </a:lnTo>
                  <a:lnTo>
                    <a:pt x="247" y="1923"/>
                  </a:lnTo>
                  <a:lnTo>
                    <a:pt x="248" y="1921"/>
                  </a:lnTo>
                  <a:lnTo>
                    <a:pt x="250" y="1918"/>
                  </a:lnTo>
                  <a:lnTo>
                    <a:pt x="250" y="1918"/>
                  </a:lnTo>
                  <a:lnTo>
                    <a:pt x="252" y="1914"/>
                  </a:lnTo>
                  <a:lnTo>
                    <a:pt x="253" y="1908"/>
                  </a:lnTo>
                  <a:lnTo>
                    <a:pt x="253" y="1908"/>
                  </a:lnTo>
                  <a:lnTo>
                    <a:pt x="254" y="1893"/>
                  </a:lnTo>
                  <a:lnTo>
                    <a:pt x="254" y="1893"/>
                  </a:lnTo>
                  <a:lnTo>
                    <a:pt x="253" y="1879"/>
                  </a:lnTo>
                  <a:lnTo>
                    <a:pt x="253" y="1879"/>
                  </a:lnTo>
                  <a:lnTo>
                    <a:pt x="252" y="1874"/>
                  </a:lnTo>
                  <a:lnTo>
                    <a:pt x="250" y="1869"/>
                  </a:lnTo>
                  <a:lnTo>
                    <a:pt x="250" y="1869"/>
                  </a:lnTo>
                  <a:close/>
                  <a:moveTo>
                    <a:pt x="1598" y="124"/>
                  </a:moveTo>
                  <a:lnTo>
                    <a:pt x="1598" y="124"/>
                  </a:lnTo>
                  <a:lnTo>
                    <a:pt x="1602" y="125"/>
                  </a:lnTo>
                  <a:lnTo>
                    <a:pt x="1605" y="125"/>
                  </a:lnTo>
                  <a:lnTo>
                    <a:pt x="1605" y="125"/>
                  </a:lnTo>
                  <a:lnTo>
                    <a:pt x="1610" y="124"/>
                  </a:lnTo>
                  <a:lnTo>
                    <a:pt x="1617" y="121"/>
                  </a:lnTo>
                  <a:lnTo>
                    <a:pt x="1680" y="85"/>
                  </a:lnTo>
                  <a:lnTo>
                    <a:pt x="1681" y="344"/>
                  </a:lnTo>
                  <a:lnTo>
                    <a:pt x="1608" y="344"/>
                  </a:lnTo>
                  <a:lnTo>
                    <a:pt x="1608" y="344"/>
                  </a:lnTo>
                  <a:lnTo>
                    <a:pt x="1605" y="345"/>
                  </a:lnTo>
                  <a:lnTo>
                    <a:pt x="1603" y="347"/>
                  </a:lnTo>
                  <a:lnTo>
                    <a:pt x="1603" y="347"/>
                  </a:lnTo>
                  <a:lnTo>
                    <a:pt x="1601" y="349"/>
                  </a:lnTo>
                  <a:lnTo>
                    <a:pt x="1599" y="351"/>
                  </a:lnTo>
                  <a:lnTo>
                    <a:pt x="1599" y="351"/>
                  </a:lnTo>
                  <a:lnTo>
                    <a:pt x="1597" y="356"/>
                  </a:lnTo>
                  <a:lnTo>
                    <a:pt x="1597" y="362"/>
                  </a:lnTo>
                  <a:lnTo>
                    <a:pt x="1597" y="362"/>
                  </a:lnTo>
                  <a:lnTo>
                    <a:pt x="1596" y="377"/>
                  </a:lnTo>
                  <a:lnTo>
                    <a:pt x="1596" y="377"/>
                  </a:lnTo>
                  <a:lnTo>
                    <a:pt x="1597" y="390"/>
                  </a:lnTo>
                  <a:lnTo>
                    <a:pt x="1597" y="390"/>
                  </a:lnTo>
                  <a:lnTo>
                    <a:pt x="1598" y="396"/>
                  </a:lnTo>
                  <a:lnTo>
                    <a:pt x="1599" y="401"/>
                  </a:lnTo>
                  <a:lnTo>
                    <a:pt x="1599" y="401"/>
                  </a:lnTo>
                  <a:lnTo>
                    <a:pt x="1602" y="403"/>
                  </a:lnTo>
                  <a:lnTo>
                    <a:pt x="1604" y="405"/>
                  </a:lnTo>
                  <a:lnTo>
                    <a:pt x="1604" y="405"/>
                  </a:lnTo>
                  <a:lnTo>
                    <a:pt x="1605" y="407"/>
                  </a:lnTo>
                  <a:lnTo>
                    <a:pt x="1608" y="407"/>
                  </a:lnTo>
                  <a:lnTo>
                    <a:pt x="1827" y="405"/>
                  </a:lnTo>
                  <a:lnTo>
                    <a:pt x="1827" y="405"/>
                  </a:lnTo>
                  <a:lnTo>
                    <a:pt x="1830" y="405"/>
                  </a:lnTo>
                  <a:lnTo>
                    <a:pt x="1833" y="404"/>
                  </a:lnTo>
                  <a:lnTo>
                    <a:pt x="1833" y="404"/>
                  </a:lnTo>
                  <a:lnTo>
                    <a:pt x="1834" y="402"/>
                  </a:lnTo>
                  <a:lnTo>
                    <a:pt x="1836" y="400"/>
                  </a:lnTo>
                  <a:lnTo>
                    <a:pt x="1836" y="400"/>
                  </a:lnTo>
                  <a:lnTo>
                    <a:pt x="1838" y="389"/>
                  </a:lnTo>
                  <a:lnTo>
                    <a:pt x="1838" y="389"/>
                  </a:lnTo>
                  <a:lnTo>
                    <a:pt x="1839" y="375"/>
                  </a:lnTo>
                  <a:lnTo>
                    <a:pt x="1839" y="375"/>
                  </a:lnTo>
                  <a:lnTo>
                    <a:pt x="1838" y="360"/>
                  </a:lnTo>
                  <a:lnTo>
                    <a:pt x="1838" y="360"/>
                  </a:lnTo>
                  <a:lnTo>
                    <a:pt x="1837" y="355"/>
                  </a:lnTo>
                  <a:lnTo>
                    <a:pt x="1836" y="350"/>
                  </a:lnTo>
                  <a:lnTo>
                    <a:pt x="1836" y="350"/>
                  </a:lnTo>
                  <a:lnTo>
                    <a:pt x="1834" y="348"/>
                  </a:lnTo>
                  <a:lnTo>
                    <a:pt x="1833" y="345"/>
                  </a:lnTo>
                  <a:lnTo>
                    <a:pt x="1833" y="345"/>
                  </a:lnTo>
                  <a:lnTo>
                    <a:pt x="1829" y="344"/>
                  </a:lnTo>
                  <a:lnTo>
                    <a:pt x="1827" y="343"/>
                  </a:lnTo>
                  <a:lnTo>
                    <a:pt x="1762" y="344"/>
                  </a:lnTo>
                  <a:lnTo>
                    <a:pt x="1761" y="15"/>
                  </a:lnTo>
                  <a:lnTo>
                    <a:pt x="1761" y="15"/>
                  </a:lnTo>
                  <a:lnTo>
                    <a:pt x="1760" y="13"/>
                  </a:lnTo>
                  <a:lnTo>
                    <a:pt x="1760" y="10"/>
                  </a:lnTo>
                  <a:lnTo>
                    <a:pt x="1760" y="10"/>
                  </a:lnTo>
                  <a:lnTo>
                    <a:pt x="1758" y="9"/>
                  </a:lnTo>
                  <a:lnTo>
                    <a:pt x="1754" y="8"/>
                  </a:lnTo>
                  <a:lnTo>
                    <a:pt x="1754" y="8"/>
                  </a:lnTo>
                  <a:lnTo>
                    <a:pt x="1744" y="6"/>
                  </a:lnTo>
                  <a:lnTo>
                    <a:pt x="1744" y="6"/>
                  </a:lnTo>
                  <a:lnTo>
                    <a:pt x="1724" y="6"/>
                  </a:lnTo>
                  <a:lnTo>
                    <a:pt x="1724" y="6"/>
                  </a:lnTo>
                  <a:lnTo>
                    <a:pt x="1709" y="6"/>
                  </a:lnTo>
                  <a:lnTo>
                    <a:pt x="1709" y="6"/>
                  </a:lnTo>
                  <a:lnTo>
                    <a:pt x="1700" y="7"/>
                  </a:lnTo>
                  <a:lnTo>
                    <a:pt x="1700" y="7"/>
                  </a:lnTo>
                  <a:lnTo>
                    <a:pt x="1693" y="8"/>
                  </a:lnTo>
                  <a:lnTo>
                    <a:pt x="1693" y="8"/>
                  </a:lnTo>
                  <a:lnTo>
                    <a:pt x="1689" y="10"/>
                  </a:lnTo>
                  <a:lnTo>
                    <a:pt x="1604" y="66"/>
                  </a:lnTo>
                  <a:lnTo>
                    <a:pt x="1604" y="66"/>
                  </a:lnTo>
                  <a:lnTo>
                    <a:pt x="1598" y="70"/>
                  </a:lnTo>
                  <a:lnTo>
                    <a:pt x="1598" y="70"/>
                  </a:lnTo>
                  <a:lnTo>
                    <a:pt x="1597" y="73"/>
                  </a:lnTo>
                  <a:lnTo>
                    <a:pt x="1595" y="76"/>
                  </a:lnTo>
                  <a:lnTo>
                    <a:pt x="1595" y="76"/>
                  </a:lnTo>
                  <a:lnTo>
                    <a:pt x="1594" y="84"/>
                  </a:lnTo>
                  <a:lnTo>
                    <a:pt x="1594" y="84"/>
                  </a:lnTo>
                  <a:lnTo>
                    <a:pt x="1594" y="96"/>
                  </a:lnTo>
                  <a:lnTo>
                    <a:pt x="1594" y="96"/>
                  </a:lnTo>
                  <a:lnTo>
                    <a:pt x="1595" y="114"/>
                  </a:lnTo>
                  <a:lnTo>
                    <a:pt x="1595" y="114"/>
                  </a:lnTo>
                  <a:lnTo>
                    <a:pt x="1596" y="120"/>
                  </a:lnTo>
                  <a:lnTo>
                    <a:pt x="1598" y="124"/>
                  </a:lnTo>
                  <a:lnTo>
                    <a:pt x="1598" y="124"/>
                  </a:lnTo>
                  <a:close/>
                  <a:moveTo>
                    <a:pt x="321" y="366"/>
                  </a:moveTo>
                  <a:lnTo>
                    <a:pt x="321" y="366"/>
                  </a:lnTo>
                  <a:lnTo>
                    <a:pt x="329" y="379"/>
                  </a:lnTo>
                  <a:lnTo>
                    <a:pt x="339" y="389"/>
                  </a:lnTo>
                  <a:lnTo>
                    <a:pt x="351" y="399"/>
                  </a:lnTo>
                  <a:lnTo>
                    <a:pt x="364" y="407"/>
                  </a:lnTo>
                  <a:lnTo>
                    <a:pt x="364" y="407"/>
                  </a:lnTo>
                  <a:lnTo>
                    <a:pt x="377" y="412"/>
                  </a:lnTo>
                  <a:lnTo>
                    <a:pt x="394" y="417"/>
                  </a:lnTo>
                  <a:lnTo>
                    <a:pt x="411" y="419"/>
                  </a:lnTo>
                  <a:lnTo>
                    <a:pt x="430" y="420"/>
                  </a:lnTo>
                  <a:lnTo>
                    <a:pt x="430" y="420"/>
                  </a:lnTo>
                  <a:lnTo>
                    <a:pt x="450" y="419"/>
                  </a:lnTo>
                  <a:lnTo>
                    <a:pt x="467" y="416"/>
                  </a:lnTo>
                  <a:lnTo>
                    <a:pt x="484" y="411"/>
                  </a:lnTo>
                  <a:lnTo>
                    <a:pt x="499" y="405"/>
                  </a:lnTo>
                  <a:lnTo>
                    <a:pt x="499" y="405"/>
                  </a:lnTo>
                  <a:lnTo>
                    <a:pt x="512" y="397"/>
                  </a:lnTo>
                  <a:lnTo>
                    <a:pt x="524" y="387"/>
                  </a:lnTo>
                  <a:lnTo>
                    <a:pt x="534" y="377"/>
                  </a:lnTo>
                  <a:lnTo>
                    <a:pt x="544" y="364"/>
                  </a:lnTo>
                  <a:lnTo>
                    <a:pt x="544" y="364"/>
                  </a:lnTo>
                  <a:lnTo>
                    <a:pt x="552" y="349"/>
                  </a:lnTo>
                  <a:lnTo>
                    <a:pt x="559" y="334"/>
                  </a:lnTo>
                  <a:lnTo>
                    <a:pt x="564" y="317"/>
                  </a:lnTo>
                  <a:lnTo>
                    <a:pt x="568" y="298"/>
                  </a:lnTo>
                  <a:lnTo>
                    <a:pt x="568" y="298"/>
                  </a:lnTo>
                  <a:lnTo>
                    <a:pt x="571" y="278"/>
                  </a:lnTo>
                  <a:lnTo>
                    <a:pt x="574" y="258"/>
                  </a:lnTo>
                  <a:lnTo>
                    <a:pt x="575" y="236"/>
                  </a:lnTo>
                  <a:lnTo>
                    <a:pt x="576" y="211"/>
                  </a:lnTo>
                  <a:lnTo>
                    <a:pt x="576" y="211"/>
                  </a:lnTo>
                  <a:lnTo>
                    <a:pt x="575" y="188"/>
                  </a:lnTo>
                  <a:lnTo>
                    <a:pt x="574" y="166"/>
                  </a:lnTo>
                  <a:lnTo>
                    <a:pt x="571" y="146"/>
                  </a:lnTo>
                  <a:lnTo>
                    <a:pt x="569" y="126"/>
                  </a:lnTo>
                  <a:lnTo>
                    <a:pt x="569" y="126"/>
                  </a:lnTo>
                  <a:lnTo>
                    <a:pt x="565" y="107"/>
                  </a:lnTo>
                  <a:lnTo>
                    <a:pt x="560" y="91"/>
                  </a:lnTo>
                  <a:lnTo>
                    <a:pt x="554" y="76"/>
                  </a:lnTo>
                  <a:lnTo>
                    <a:pt x="547" y="62"/>
                  </a:lnTo>
                  <a:lnTo>
                    <a:pt x="547" y="62"/>
                  </a:lnTo>
                  <a:lnTo>
                    <a:pt x="538" y="50"/>
                  </a:lnTo>
                  <a:lnTo>
                    <a:pt x="529" y="39"/>
                  </a:lnTo>
                  <a:lnTo>
                    <a:pt x="517" y="30"/>
                  </a:lnTo>
                  <a:lnTo>
                    <a:pt x="504" y="22"/>
                  </a:lnTo>
                  <a:lnTo>
                    <a:pt x="504" y="22"/>
                  </a:lnTo>
                  <a:lnTo>
                    <a:pt x="489" y="16"/>
                  </a:lnTo>
                  <a:lnTo>
                    <a:pt x="473" y="12"/>
                  </a:lnTo>
                  <a:lnTo>
                    <a:pt x="456" y="9"/>
                  </a:lnTo>
                  <a:lnTo>
                    <a:pt x="436" y="8"/>
                  </a:lnTo>
                  <a:lnTo>
                    <a:pt x="436" y="8"/>
                  </a:lnTo>
                  <a:lnTo>
                    <a:pt x="417" y="9"/>
                  </a:lnTo>
                  <a:lnTo>
                    <a:pt x="399" y="12"/>
                  </a:lnTo>
                  <a:lnTo>
                    <a:pt x="383" y="16"/>
                  </a:lnTo>
                  <a:lnTo>
                    <a:pt x="368" y="23"/>
                  </a:lnTo>
                  <a:lnTo>
                    <a:pt x="368" y="23"/>
                  </a:lnTo>
                  <a:lnTo>
                    <a:pt x="355" y="31"/>
                  </a:lnTo>
                  <a:lnTo>
                    <a:pt x="344" y="40"/>
                  </a:lnTo>
                  <a:lnTo>
                    <a:pt x="334" y="52"/>
                  </a:lnTo>
                  <a:lnTo>
                    <a:pt x="324" y="65"/>
                  </a:lnTo>
                  <a:lnTo>
                    <a:pt x="324" y="65"/>
                  </a:lnTo>
                  <a:lnTo>
                    <a:pt x="316" y="79"/>
                  </a:lnTo>
                  <a:lnTo>
                    <a:pt x="309" y="95"/>
                  </a:lnTo>
                  <a:lnTo>
                    <a:pt x="304" y="112"/>
                  </a:lnTo>
                  <a:lnTo>
                    <a:pt x="299" y="131"/>
                  </a:lnTo>
                  <a:lnTo>
                    <a:pt x="299" y="131"/>
                  </a:lnTo>
                  <a:lnTo>
                    <a:pt x="295" y="150"/>
                  </a:lnTo>
                  <a:lnTo>
                    <a:pt x="293" y="171"/>
                  </a:lnTo>
                  <a:lnTo>
                    <a:pt x="292" y="193"/>
                  </a:lnTo>
                  <a:lnTo>
                    <a:pt x="292" y="216"/>
                  </a:lnTo>
                  <a:lnTo>
                    <a:pt x="292" y="216"/>
                  </a:lnTo>
                  <a:lnTo>
                    <a:pt x="292" y="240"/>
                  </a:lnTo>
                  <a:lnTo>
                    <a:pt x="293" y="262"/>
                  </a:lnTo>
                  <a:lnTo>
                    <a:pt x="295" y="283"/>
                  </a:lnTo>
                  <a:lnTo>
                    <a:pt x="298" y="303"/>
                  </a:lnTo>
                  <a:lnTo>
                    <a:pt x="298" y="303"/>
                  </a:lnTo>
                  <a:lnTo>
                    <a:pt x="302" y="320"/>
                  </a:lnTo>
                  <a:lnTo>
                    <a:pt x="307" y="337"/>
                  </a:lnTo>
                  <a:lnTo>
                    <a:pt x="313" y="352"/>
                  </a:lnTo>
                  <a:lnTo>
                    <a:pt x="321" y="366"/>
                  </a:lnTo>
                  <a:lnTo>
                    <a:pt x="321" y="366"/>
                  </a:lnTo>
                  <a:close/>
                  <a:moveTo>
                    <a:pt x="375" y="151"/>
                  </a:moveTo>
                  <a:lnTo>
                    <a:pt x="375" y="151"/>
                  </a:lnTo>
                  <a:lnTo>
                    <a:pt x="379" y="127"/>
                  </a:lnTo>
                  <a:lnTo>
                    <a:pt x="382" y="117"/>
                  </a:lnTo>
                  <a:lnTo>
                    <a:pt x="384" y="107"/>
                  </a:lnTo>
                  <a:lnTo>
                    <a:pt x="384" y="107"/>
                  </a:lnTo>
                  <a:lnTo>
                    <a:pt x="389" y="99"/>
                  </a:lnTo>
                  <a:lnTo>
                    <a:pt x="392" y="92"/>
                  </a:lnTo>
                  <a:lnTo>
                    <a:pt x="398" y="85"/>
                  </a:lnTo>
                  <a:lnTo>
                    <a:pt x="404" y="81"/>
                  </a:lnTo>
                  <a:lnTo>
                    <a:pt x="404" y="81"/>
                  </a:lnTo>
                  <a:lnTo>
                    <a:pt x="410" y="77"/>
                  </a:lnTo>
                  <a:lnTo>
                    <a:pt x="417" y="74"/>
                  </a:lnTo>
                  <a:lnTo>
                    <a:pt x="425" y="73"/>
                  </a:lnTo>
                  <a:lnTo>
                    <a:pt x="433" y="72"/>
                  </a:lnTo>
                  <a:lnTo>
                    <a:pt x="433" y="72"/>
                  </a:lnTo>
                  <a:lnTo>
                    <a:pt x="443" y="73"/>
                  </a:lnTo>
                  <a:lnTo>
                    <a:pt x="452" y="75"/>
                  </a:lnTo>
                  <a:lnTo>
                    <a:pt x="452" y="75"/>
                  </a:lnTo>
                  <a:lnTo>
                    <a:pt x="460" y="79"/>
                  </a:lnTo>
                  <a:lnTo>
                    <a:pt x="467" y="84"/>
                  </a:lnTo>
                  <a:lnTo>
                    <a:pt x="467" y="84"/>
                  </a:lnTo>
                  <a:lnTo>
                    <a:pt x="474" y="91"/>
                  </a:lnTo>
                  <a:lnTo>
                    <a:pt x="479" y="102"/>
                  </a:lnTo>
                  <a:lnTo>
                    <a:pt x="479" y="102"/>
                  </a:lnTo>
                  <a:lnTo>
                    <a:pt x="484" y="114"/>
                  </a:lnTo>
                  <a:lnTo>
                    <a:pt x="487" y="128"/>
                  </a:lnTo>
                  <a:lnTo>
                    <a:pt x="487" y="128"/>
                  </a:lnTo>
                  <a:lnTo>
                    <a:pt x="490" y="146"/>
                  </a:lnTo>
                  <a:lnTo>
                    <a:pt x="493" y="166"/>
                  </a:lnTo>
                  <a:lnTo>
                    <a:pt x="493" y="166"/>
                  </a:lnTo>
                  <a:lnTo>
                    <a:pt x="494" y="189"/>
                  </a:lnTo>
                  <a:lnTo>
                    <a:pt x="494" y="216"/>
                  </a:lnTo>
                  <a:lnTo>
                    <a:pt x="494" y="216"/>
                  </a:lnTo>
                  <a:lnTo>
                    <a:pt x="493" y="259"/>
                  </a:lnTo>
                  <a:lnTo>
                    <a:pt x="493" y="259"/>
                  </a:lnTo>
                  <a:lnTo>
                    <a:pt x="492" y="277"/>
                  </a:lnTo>
                  <a:lnTo>
                    <a:pt x="489" y="293"/>
                  </a:lnTo>
                  <a:lnTo>
                    <a:pt x="489" y="293"/>
                  </a:lnTo>
                  <a:lnTo>
                    <a:pt x="486" y="308"/>
                  </a:lnTo>
                  <a:lnTo>
                    <a:pt x="482" y="321"/>
                  </a:lnTo>
                  <a:lnTo>
                    <a:pt x="482" y="321"/>
                  </a:lnTo>
                  <a:lnTo>
                    <a:pt x="477" y="332"/>
                  </a:lnTo>
                  <a:lnTo>
                    <a:pt x="471" y="341"/>
                  </a:lnTo>
                  <a:lnTo>
                    <a:pt x="471" y="341"/>
                  </a:lnTo>
                  <a:lnTo>
                    <a:pt x="463" y="347"/>
                  </a:lnTo>
                  <a:lnTo>
                    <a:pt x="455" y="352"/>
                  </a:lnTo>
                  <a:lnTo>
                    <a:pt x="455" y="352"/>
                  </a:lnTo>
                  <a:lnTo>
                    <a:pt x="444" y="355"/>
                  </a:lnTo>
                  <a:lnTo>
                    <a:pt x="434" y="356"/>
                  </a:lnTo>
                  <a:lnTo>
                    <a:pt x="434" y="356"/>
                  </a:lnTo>
                  <a:lnTo>
                    <a:pt x="426" y="356"/>
                  </a:lnTo>
                  <a:lnTo>
                    <a:pt x="419" y="355"/>
                  </a:lnTo>
                  <a:lnTo>
                    <a:pt x="412" y="352"/>
                  </a:lnTo>
                  <a:lnTo>
                    <a:pt x="406" y="349"/>
                  </a:lnTo>
                  <a:lnTo>
                    <a:pt x="406" y="349"/>
                  </a:lnTo>
                  <a:lnTo>
                    <a:pt x="400" y="345"/>
                  </a:lnTo>
                  <a:lnTo>
                    <a:pt x="396" y="341"/>
                  </a:lnTo>
                  <a:lnTo>
                    <a:pt x="391" y="334"/>
                  </a:lnTo>
                  <a:lnTo>
                    <a:pt x="388" y="327"/>
                  </a:lnTo>
                  <a:lnTo>
                    <a:pt x="388" y="327"/>
                  </a:lnTo>
                  <a:lnTo>
                    <a:pt x="384" y="318"/>
                  </a:lnTo>
                  <a:lnTo>
                    <a:pt x="381" y="307"/>
                  </a:lnTo>
                  <a:lnTo>
                    <a:pt x="379" y="296"/>
                  </a:lnTo>
                  <a:lnTo>
                    <a:pt x="376" y="282"/>
                  </a:lnTo>
                  <a:lnTo>
                    <a:pt x="376" y="282"/>
                  </a:lnTo>
                  <a:lnTo>
                    <a:pt x="374" y="251"/>
                  </a:lnTo>
                  <a:lnTo>
                    <a:pt x="373" y="213"/>
                  </a:lnTo>
                  <a:lnTo>
                    <a:pt x="373" y="213"/>
                  </a:lnTo>
                  <a:lnTo>
                    <a:pt x="374" y="179"/>
                  </a:lnTo>
                  <a:lnTo>
                    <a:pt x="375" y="151"/>
                  </a:lnTo>
                  <a:lnTo>
                    <a:pt x="375" y="151"/>
                  </a:lnTo>
                  <a:close/>
                  <a:moveTo>
                    <a:pt x="10" y="414"/>
                  </a:moveTo>
                  <a:lnTo>
                    <a:pt x="10" y="414"/>
                  </a:lnTo>
                  <a:lnTo>
                    <a:pt x="13" y="415"/>
                  </a:lnTo>
                  <a:lnTo>
                    <a:pt x="15" y="415"/>
                  </a:lnTo>
                  <a:lnTo>
                    <a:pt x="234" y="414"/>
                  </a:lnTo>
                  <a:lnTo>
                    <a:pt x="234" y="414"/>
                  </a:lnTo>
                  <a:lnTo>
                    <a:pt x="237" y="414"/>
                  </a:lnTo>
                  <a:lnTo>
                    <a:pt x="239" y="412"/>
                  </a:lnTo>
                  <a:lnTo>
                    <a:pt x="239" y="412"/>
                  </a:lnTo>
                  <a:lnTo>
                    <a:pt x="241" y="410"/>
                  </a:lnTo>
                  <a:lnTo>
                    <a:pt x="242" y="408"/>
                  </a:lnTo>
                  <a:lnTo>
                    <a:pt x="242" y="408"/>
                  </a:lnTo>
                  <a:lnTo>
                    <a:pt x="245" y="397"/>
                  </a:lnTo>
                  <a:lnTo>
                    <a:pt x="245" y="397"/>
                  </a:lnTo>
                  <a:lnTo>
                    <a:pt x="246" y="384"/>
                  </a:lnTo>
                  <a:lnTo>
                    <a:pt x="246" y="384"/>
                  </a:lnTo>
                  <a:lnTo>
                    <a:pt x="245" y="368"/>
                  </a:lnTo>
                  <a:lnTo>
                    <a:pt x="245" y="368"/>
                  </a:lnTo>
                  <a:lnTo>
                    <a:pt x="245" y="363"/>
                  </a:lnTo>
                  <a:lnTo>
                    <a:pt x="242" y="358"/>
                  </a:lnTo>
                  <a:lnTo>
                    <a:pt x="242" y="358"/>
                  </a:lnTo>
                  <a:lnTo>
                    <a:pt x="241" y="356"/>
                  </a:lnTo>
                  <a:lnTo>
                    <a:pt x="239" y="353"/>
                  </a:lnTo>
                  <a:lnTo>
                    <a:pt x="239" y="353"/>
                  </a:lnTo>
                  <a:lnTo>
                    <a:pt x="237" y="352"/>
                  </a:lnTo>
                  <a:lnTo>
                    <a:pt x="233" y="351"/>
                  </a:lnTo>
                  <a:lnTo>
                    <a:pt x="168" y="352"/>
                  </a:lnTo>
                  <a:lnTo>
                    <a:pt x="167" y="23"/>
                  </a:lnTo>
                  <a:lnTo>
                    <a:pt x="167" y="23"/>
                  </a:lnTo>
                  <a:lnTo>
                    <a:pt x="167" y="21"/>
                  </a:lnTo>
                  <a:lnTo>
                    <a:pt x="166" y="18"/>
                  </a:lnTo>
                  <a:lnTo>
                    <a:pt x="166" y="18"/>
                  </a:lnTo>
                  <a:lnTo>
                    <a:pt x="164" y="17"/>
                  </a:lnTo>
                  <a:lnTo>
                    <a:pt x="160" y="16"/>
                  </a:lnTo>
                  <a:lnTo>
                    <a:pt x="160" y="16"/>
                  </a:lnTo>
                  <a:lnTo>
                    <a:pt x="150" y="15"/>
                  </a:lnTo>
                  <a:lnTo>
                    <a:pt x="150" y="15"/>
                  </a:lnTo>
                  <a:lnTo>
                    <a:pt x="132" y="14"/>
                  </a:lnTo>
                  <a:lnTo>
                    <a:pt x="132" y="14"/>
                  </a:lnTo>
                  <a:lnTo>
                    <a:pt x="115" y="14"/>
                  </a:lnTo>
                  <a:lnTo>
                    <a:pt x="115" y="14"/>
                  </a:lnTo>
                  <a:lnTo>
                    <a:pt x="106" y="15"/>
                  </a:lnTo>
                  <a:lnTo>
                    <a:pt x="106" y="15"/>
                  </a:lnTo>
                  <a:lnTo>
                    <a:pt x="100" y="16"/>
                  </a:lnTo>
                  <a:lnTo>
                    <a:pt x="100" y="16"/>
                  </a:lnTo>
                  <a:lnTo>
                    <a:pt x="96" y="18"/>
                  </a:lnTo>
                  <a:lnTo>
                    <a:pt x="12" y="74"/>
                  </a:lnTo>
                  <a:lnTo>
                    <a:pt x="12" y="74"/>
                  </a:lnTo>
                  <a:lnTo>
                    <a:pt x="6" y="79"/>
                  </a:lnTo>
                  <a:lnTo>
                    <a:pt x="6" y="79"/>
                  </a:lnTo>
                  <a:lnTo>
                    <a:pt x="3" y="81"/>
                  </a:lnTo>
                  <a:lnTo>
                    <a:pt x="2" y="84"/>
                  </a:lnTo>
                  <a:lnTo>
                    <a:pt x="2" y="84"/>
                  </a:lnTo>
                  <a:lnTo>
                    <a:pt x="0" y="92"/>
                  </a:lnTo>
                  <a:lnTo>
                    <a:pt x="0" y="92"/>
                  </a:lnTo>
                  <a:lnTo>
                    <a:pt x="0" y="104"/>
                  </a:lnTo>
                  <a:lnTo>
                    <a:pt x="0" y="104"/>
                  </a:lnTo>
                  <a:lnTo>
                    <a:pt x="1" y="122"/>
                  </a:lnTo>
                  <a:lnTo>
                    <a:pt x="1" y="122"/>
                  </a:lnTo>
                  <a:lnTo>
                    <a:pt x="2" y="128"/>
                  </a:lnTo>
                  <a:lnTo>
                    <a:pt x="5" y="132"/>
                  </a:lnTo>
                  <a:lnTo>
                    <a:pt x="5" y="132"/>
                  </a:lnTo>
                  <a:lnTo>
                    <a:pt x="8" y="133"/>
                  </a:lnTo>
                  <a:lnTo>
                    <a:pt x="12" y="134"/>
                  </a:lnTo>
                  <a:lnTo>
                    <a:pt x="12" y="134"/>
                  </a:lnTo>
                  <a:lnTo>
                    <a:pt x="17" y="132"/>
                  </a:lnTo>
                  <a:lnTo>
                    <a:pt x="23" y="129"/>
                  </a:lnTo>
                  <a:lnTo>
                    <a:pt x="87" y="94"/>
                  </a:lnTo>
                  <a:lnTo>
                    <a:pt x="89" y="352"/>
                  </a:lnTo>
                  <a:lnTo>
                    <a:pt x="14" y="352"/>
                  </a:lnTo>
                  <a:lnTo>
                    <a:pt x="14" y="352"/>
                  </a:lnTo>
                  <a:lnTo>
                    <a:pt x="12" y="353"/>
                  </a:lnTo>
                  <a:lnTo>
                    <a:pt x="9" y="355"/>
                  </a:lnTo>
                  <a:lnTo>
                    <a:pt x="9" y="355"/>
                  </a:lnTo>
                  <a:lnTo>
                    <a:pt x="7" y="357"/>
                  </a:lnTo>
                  <a:lnTo>
                    <a:pt x="6" y="360"/>
                  </a:lnTo>
                  <a:lnTo>
                    <a:pt x="6" y="360"/>
                  </a:lnTo>
                  <a:lnTo>
                    <a:pt x="5" y="364"/>
                  </a:lnTo>
                  <a:lnTo>
                    <a:pt x="3" y="370"/>
                  </a:lnTo>
                  <a:lnTo>
                    <a:pt x="3" y="370"/>
                  </a:lnTo>
                  <a:lnTo>
                    <a:pt x="2" y="385"/>
                  </a:lnTo>
                  <a:lnTo>
                    <a:pt x="2" y="385"/>
                  </a:lnTo>
                  <a:lnTo>
                    <a:pt x="3" y="399"/>
                  </a:lnTo>
                  <a:lnTo>
                    <a:pt x="3" y="399"/>
                  </a:lnTo>
                  <a:lnTo>
                    <a:pt x="5" y="404"/>
                  </a:lnTo>
                  <a:lnTo>
                    <a:pt x="6" y="409"/>
                  </a:lnTo>
                  <a:lnTo>
                    <a:pt x="6" y="409"/>
                  </a:lnTo>
                  <a:lnTo>
                    <a:pt x="8" y="411"/>
                  </a:lnTo>
                  <a:lnTo>
                    <a:pt x="10" y="414"/>
                  </a:lnTo>
                  <a:lnTo>
                    <a:pt x="10" y="414"/>
                  </a:lnTo>
                  <a:close/>
                  <a:moveTo>
                    <a:pt x="14" y="1169"/>
                  </a:moveTo>
                  <a:lnTo>
                    <a:pt x="14" y="1169"/>
                  </a:lnTo>
                  <a:lnTo>
                    <a:pt x="16" y="1170"/>
                  </a:lnTo>
                  <a:lnTo>
                    <a:pt x="18" y="1170"/>
                  </a:lnTo>
                  <a:lnTo>
                    <a:pt x="238" y="1169"/>
                  </a:lnTo>
                  <a:lnTo>
                    <a:pt x="238" y="1169"/>
                  </a:lnTo>
                  <a:lnTo>
                    <a:pt x="240" y="1169"/>
                  </a:lnTo>
                  <a:lnTo>
                    <a:pt x="242" y="1168"/>
                  </a:lnTo>
                  <a:lnTo>
                    <a:pt x="242" y="1168"/>
                  </a:lnTo>
                  <a:lnTo>
                    <a:pt x="245" y="1166"/>
                  </a:lnTo>
                  <a:lnTo>
                    <a:pt x="247" y="1162"/>
                  </a:lnTo>
                  <a:lnTo>
                    <a:pt x="247" y="1162"/>
                  </a:lnTo>
                  <a:lnTo>
                    <a:pt x="248" y="1159"/>
                  </a:lnTo>
                  <a:lnTo>
                    <a:pt x="249" y="1153"/>
                  </a:lnTo>
                  <a:lnTo>
                    <a:pt x="249" y="1153"/>
                  </a:lnTo>
                  <a:lnTo>
                    <a:pt x="250" y="1139"/>
                  </a:lnTo>
                  <a:lnTo>
                    <a:pt x="250" y="1139"/>
                  </a:lnTo>
                  <a:lnTo>
                    <a:pt x="249" y="1124"/>
                  </a:lnTo>
                  <a:lnTo>
                    <a:pt x="249" y="1124"/>
                  </a:lnTo>
                  <a:lnTo>
                    <a:pt x="248" y="1118"/>
                  </a:lnTo>
                  <a:lnTo>
                    <a:pt x="247" y="1114"/>
                  </a:lnTo>
                  <a:lnTo>
                    <a:pt x="247" y="1114"/>
                  </a:lnTo>
                  <a:lnTo>
                    <a:pt x="245" y="1111"/>
                  </a:lnTo>
                  <a:lnTo>
                    <a:pt x="242" y="1109"/>
                  </a:lnTo>
                  <a:lnTo>
                    <a:pt x="242" y="1109"/>
                  </a:lnTo>
                  <a:lnTo>
                    <a:pt x="240" y="1108"/>
                  </a:lnTo>
                  <a:lnTo>
                    <a:pt x="238" y="1107"/>
                  </a:lnTo>
                  <a:lnTo>
                    <a:pt x="173" y="1107"/>
                  </a:lnTo>
                  <a:lnTo>
                    <a:pt x="171" y="779"/>
                  </a:lnTo>
                  <a:lnTo>
                    <a:pt x="171" y="779"/>
                  </a:lnTo>
                  <a:lnTo>
                    <a:pt x="171" y="776"/>
                  </a:lnTo>
                  <a:lnTo>
                    <a:pt x="170" y="774"/>
                  </a:lnTo>
                  <a:lnTo>
                    <a:pt x="170" y="774"/>
                  </a:lnTo>
                  <a:lnTo>
                    <a:pt x="167" y="773"/>
                  </a:lnTo>
                  <a:lnTo>
                    <a:pt x="165" y="772"/>
                  </a:lnTo>
                  <a:lnTo>
                    <a:pt x="165" y="772"/>
                  </a:lnTo>
                  <a:lnTo>
                    <a:pt x="153" y="769"/>
                  </a:lnTo>
                  <a:lnTo>
                    <a:pt x="153" y="769"/>
                  </a:lnTo>
                  <a:lnTo>
                    <a:pt x="135" y="769"/>
                  </a:lnTo>
                  <a:lnTo>
                    <a:pt x="135" y="769"/>
                  </a:lnTo>
                  <a:lnTo>
                    <a:pt x="120" y="769"/>
                  </a:lnTo>
                  <a:lnTo>
                    <a:pt x="120" y="769"/>
                  </a:lnTo>
                  <a:lnTo>
                    <a:pt x="110" y="770"/>
                  </a:lnTo>
                  <a:lnTo>
                    <a:pt x="110" y="770"/>
                  </a:lnTo>
                  <a:lnTo>
                    <a:pt x="104" y="772"/>
                  </a:lnTo>
                  <a:lnTo>
                    <a:pt x="104" y="772"/>
                  </a:lnTo>
                  <a:lnTo>
                    <a:pt x="100" y="774"/>
                  </a:lnTo>
                  <a:lnTo>
                    <a:pt x="15" y="829"/>
                  </a:lnTo>
                  <a:lnTo>
                    <a:pt x="15" y="829"/>
                  </a:lnTo>
                  <a:lnTo>
                    <a:pt x="9" y="834"/>
                  </a:lnTo>
                  <a:lnTo>
                    <a:pt x="9" y="834"/>
                  </a:lnTo>
                  <a:lnTo>
                    <a:pt x="7" y="836"/>
                  </a:lnTo>
                  <a:lnTo>
                    <a:pt x="6" y="840"/>
                  </a:lnTo>
                  <a:lnTo>
                    <a:pt x="6" y="840"/>
                  </a:lnTo>
                  <a:lnTo>
                    <a:pt x="5" y="848"/>
                  </a:lnTo>
                  <a:lnTo>
                    <a:pt x="5" y="848"/>
                  </a:lnTo>
                  <a:lnTo>
                    <a:pt x="5" y="859"/>
                  </a:lnTo>
                  <a:lnTo>
                    <a:pt x="5" y="859"/>
                  </a:lnTo>
                  <a:lnTo>
                    <a:pt x="5" y="878"/>
                  </a:lnTo>
                  <a:lnTo>
                    <a:pt x="5" y="878"/>
                  </a:lnTo>
                  <a:lnTo>
                    <a:pt x="7" y="884"/>
                  </a:lnTo>
                  <a:lnTo>
                    <a:pt x="9" y="887"/>
                  </a:lnTo>
                  <a:lnTo>
                    <a:pt x="9" y="887"/>
                  </a:lnTo>
                  <a:lnTo>
                    <a:pt x="12" y="888"/>
                  </a:lnTo>
                  <a:lnTo>
                    <a:pt x="16" y="888"/>
                  </a:lnTo>
                  <a:lnTo>
                    <a:pt x="16" y="888"/>
                  </a:lnTo>
                  <a:lnTo>
                    <a:pt x="21" y="887"/>
                  </a:lnTo>
                  <a:lnTo>
                    <a:pt x="28" y="885"/>
                  </a:lnTo>
                  <a:lnTo>
                    <a:pt x="91" y="849"/>
                  </a:lnTo>
                  <a:lnTo>
                    <a:pt x="92" y="1108"/>
                  </a:lnTo>
                  <a:lnTo>
                    <a:pt x="18" y="1108"/>
                  </a:lnTo>
                  <a:lnTo>
                    <a:pt x="18" y="1108"/>
                  </a:lnTo>
                  <a:lnTo>
                    <a:pt x="16" y="1109"/>
                  </a:lnTo>
                  <a:lnTo>
                    <a:pt x="14" y="1110"/>
                  </a:lnTo>
                  <a:lnTo>
                    <a:pt x="14" y="1110"/>
                  </a:lnTo>
                  <a:lnTo>
                    <a:pt x="12" y="1112"/>
                  </a:lnTo>
                  <a:lnTo>
                    <a:pt x="9" y="1115"/>
                  </a:lnTo>
                  <a:lnTo>
                    <a:pt x="9" y="1115"/>
                  </a:lnTo>
                  <a:lnTo>
                    <a:pt x="8" y="1119"/>
                  </a:lnTo>
                  <a:lnTo>
                    <a:pt x="7" y="1125"/>
                  </a:lnTo>
                  <a:lnTo>
                    <a:pt x="7" y="1125"/>
                  </a:lnTo>
                  <a:lnTo>
                    <a:pt x="7" y="1140"/>
                  </a:lnTo>
                  <a:lnTo>
                    <a:pt x="7" y="1140"/>
                  </a:lnTo>
                  <a:lnTo>
                    <a:pt x="7" y="1154"/>
                  </a:lnTo>
                  <a:lnTo>
                    <a:pt x="7" y="1154"/>
                  </a:lnTo>
                  <a:lnTo>
                    <a:pt x="8" y="1160"/>
                  </a:lnTo>
                  <a:lnTo>
                    <a:pt x="10" y="1164"/>
                  </a:lnTo>
                  <a:lnTo>
                    <a:pt x="10" y="1164"/>
                  </a:lnTo>
                  <a:lnTo>
                    <a:pt x="12" y="1167"/>
                  </a:lnTo>
                  <a:lnTo>
                    <a:pt x="14" y="1169"/>
                  </a:lnTo>
                  <a:lnTo>
                    <a:pt x="14" y="1169"/>
                  </a:lnTo>
                  <a:close/>
                  <a:moveTo>
                    <a:pt x="1184" y="59"/>
                  </a:moveTo>
                  <a:lnTo>
                    <a:pt x="1184" y="59"/>
                  </a:lnTo>
                  <a:lnTo>
                    <a:pt x="1176" y="46"/>
                  </a:lnTo>
                  <a:lnTo>
                    <a:pt x="1166" y="36"/>
                  </a:lnTo>
                  <a:lnTo>
                    <a:pt x="1154" y="27"/>
                  </a:lnTo>
                  <a:lnTo>
                    <a:pt x="1141" y="18"/>
                  </a:lnTo>
                  <a:lnTo>
                    <a:pt x="1141" y="18"/>
                  </a:lnTo>
                  <a:lnTo>
                    <a:pt x="1127" y="13"/>
                  </a:lnTo>
                  <a:lnTo>
                    <a:pt x="1111" y="8"/>
                  </a:lnTo>
                  <a:lnTo>
                    <a:pt x="1093" y="6"/>
                  </a:lnTo>
                  <a:lnTo>
                    <a:pt x="1073" y="5"/>
                  </a:lnTo>
                  <a:lnTo>
                    <a:pt x="1073" y="5"/>
                  </a:lnTo>
                  <a:lnTo>
                    <a:pt x="1055" y="6"/>
                  </a:lnTo>
                  <a:lnTo>
                    <a:pt x="1036" y="9"/>
                  </a:lnTo>
                  <a:lnTo>
                    <a:pt x="1020" y="14"/>
                  </a:lnTo>
                  <a:lnTo>
                    <a:pt x="1006" y="20"/>
                  </a:lnTo>
                  <a:lnTo>
                    <a:pt x="1006" y="20"/>
                  </a:lnTo>
                  <a:lnTo>
                    <a:pt x="992" y="28"/>
                  </a:lnTo>
                  <a:lnTo>
                    <a:pt x="981" y="37"/>
                  </a:lnTo>
                  <a:lnTo>
                    <a:pt x="971" y="49"/>
                  </a:lnTo>
                  <a:lnTo>
                    <a:pt x="961" y="61"/>
                  </a:lnTo>
                  <a:lnTo>
                    <a:pt x="961" y="61"/>
                  </a:lnTo>
                  <a:lnTo>
                    <a:pt x="953" y="76"/>
                  </a:lnTo>
                  <a:lnTo>
                    <a:pt x="946" y="91"/>
                  </a:lnTo>
                  <a:lnTo>
                    <a:pt x="941" y="109"/>
                  </a:lnTo>
                  <a:lnTo>
                    <a:pt x="936" y="127"/>
                  </a:lnTo>
                  <a:lnTo>
                    <a:pt x="936" y="127"/>
                  </a:lnTo>
                  <a:lnTo>
                    <a:pt x="932" y="147"/>
                  </a:lnTo>
                  <a:lnTo>
                    <a:pt x="930" y="167"/>
                  </a:lnTo>
                  <a:lnTo>
                    <a:pt x="929" y="189"/>
                  </a:lnTo>
                  <a:lnTo>
                    <a:pt x="929" y="213"/>
                  </a:lnTo>
                  <a:lnTo>
                    <a:pt x="929" y="213"/>
                  </a:lnTo>
                  <a:lnTo>
                    <a:pt x="929" y="237"/>
                  </a:lnTo>
                  <a:lnTo>
                    <a:pt x="930" y="259"/>
                  </a:lnTo>
                  <a:lnTo>
                    <a:pt x="932" y="280"/>
                  </a:lnTo>
                  <a:lnTo>
                    <a:pt x="936" y="299"/>
                  </a:lnTo>
                  <a:lnTo>
                    <a:pt x="936" y="299"/>
                  </a:lnTo>
                  <a:lnTo>
                    <a:pt x="939" y="318"/>
                  </a:lnTo>
                  <a:lnTo>
                    <a:pt x="944" y="334"/>
                  </a:lnTo>
                  <a:lnTo>
                    <a:pt x="951" y="349"/>
                  </a:lnTo>
                  <a:lnTo>
                    <a:pt x="958" y="363"/>
                  </a:lnTo>
                  <a:lnTo>
                    <a:pt x="958" y="363"/>
                  </a:lnTo>
                  <a:lnTo>
                    <a:pt x="967" y="375"/>
                  </a:lnTo>
                  <a:lnTo>
                    <a:pt x="976" y="386"/>
                  </a:lnTo>
                  <a:lnTo>
                    <a:pt x="988" y="395"/>
                  </a:lnTo>
                  <a:lnTo>
                    <a:pt x="1001" y="403"/>
                  </a:lnTo>
                  <a:lnTo>
                    <a:pt x="1001" y="403"/>
                  </a:lnTo>
                  <a:lnTo>
                    <a:pt x="1014" y="409"/>
                  </a:lnTo>
                  <a:lnTo>
                    <a:pt x="1031" y="414"/>
                  </a:lnTo>
                  <a:lnTo>
                    <a:pt x="1049" y="416"/>
                  </a:lnTo>
                  <a:lnTo>
                    <a:pt x="1069" y="417"/>
                  </a:lnTo>
                  <a:lnTo>
                    <a:pt x="1069" y="417"/>
                  </a:lnTo>
                  <a:lnTo>
                    <a:pt x="1087" y="416"/>
                  </a:lnTo>
                  <a:lnTo>
                    <a:pt x="1106" y="414"/>
                  </a:lnTo>
                  <a:lnTo>
                    <a:pt x="1122" y="409"/>
                  </a:lnTo>
                  <a:lnTo>
                    <a:pt x="1136" y="402"/>
                  </a:lnTo>
                  <a:lnTo>
                    <a:pt x="1136" y="402"/>
                  </a:lnTo>
                  <a:lnTo>
                    <a:pt x="1149" y="394"/>
                  </a:lnTo>
                  <a:lnTo>
                    <a:pt x="1161" y="385"/>
                  </a:lnTo>
                  <a:lnTo>
                    <a:pt x="1171" y="373"/>
                  </a:lnTo>
                  <a:lnTo>
                    <a:pt x="1181" y="360"/>
                  </a:lnTo>
                  <a:lnTo>
                    <a:pt x="1181" y="360"/>
                  </a:lnTo>
                  <a:lnTo>
                    <a:pt x="1189" y="347"/>
                  </a:lnTo>
                  <a:lnTo>
                    <a:pt x="1196" y="330"/>
                  </a:lnTo>
                  <a:lnTo>
                    <a:pt x="1201" y="313"/>
                  </a:lnTo>
                  <a:lnTo>
                    <a:pt x="1206" y="295"/>
                  </a:lnTo>
                  <a:lnTo>
                    <a:pt x="1206" y="295"/>
                  </a:lnTo>
                  <a:lnTo>
                    <a:pt x="1209" y="275"/>
                  </a:lnTo>
                  <a:lnTo>
                    <a:pt x="1212" y="254"/>
                  </a:lnTo>
                  <a:lnTo>
                    <a:pt x="1213" y="232"/>
                  </a:lnTo>
                  <a:lnTo>
                    <a:pt x="1213" y="209"/>
                  </a:lnTo>
                  <a:lnTo>
                    <a:pt x="1213" y="209"/>
                  </a:lnTo>
                  <a:lnTo>
                    <a:pt x="1213" y="185"/>
                  </a:lnTo>
                  <a:lnTo>
                    <a:pt x="1211" y="163"/>
                  </a:lnTo>
                  <a:lnTo>
                    <a:pt x="1209" y="142"/>
                  </a:lnTo>
                  <a:lnTo>
                    <a:pt x="1206" y="122"/>
                  </a:lnTo>
                  <a:lnTo>
                    <a:pt x="1206" y="122"/>
                  </a:lnTo>
                  <a:lnTo>
                    <a:pt x="1202" y="104"/>
                  </a:lnTo>
                  <a:lnTo>
                    <a:pt x="1198" y="88"/>
                  </a:lnTo>
                  <a:lnTo>
                    <a:pt x="1191" y="73"/>
                  </a:lnTo>
                  <a:lnTo>
                    <a:pt x="1184" y="59"/>
                  </a:lnTo>
                  <a:lnTo>
                    <a:pt x="1184" y="59"/>
                  </a:lnTo>
                  <a:close/>
                  <a:moveTo>
                    <a:pt x="1131" y="255"/>
                  </a:moveTo>
                  <a:lnTo>
                    <a:pt x="1131" y="255"/>
                  </a:lnTo>
                  <a:lnTo>
                    <a:pt x="1130" y="274"/>
                  </a:lnTo>
                  <a:lnTo>
                    <a:pt x="1126" y="290"/>
                  </a:lnTo>
                  <a:lnTo>
                    <a:pt x="1126" y="290"/>
                  </a:lnTo>
                  <a:lnTo>
                    <a:pt x="1124" y="305"/>
                  </a:lnTo>
                  <a:lnTo>
                    <a:pt x="1119" y="318"/>
                  </a:lnTo>
                  <a:lnTo>
                    <a:pt x="1119" y="318"/>
                  </a:lnTo>
                  <a:lnTo>
                    <a:pt x="1115" y="328"/>
                  </a:lnTo>
                  <a:lnTo>
                    <a:pt x="1108" y="337"/>
                  </a:lnTo>
                  <a:lnTo>
                    <a:pt x="1108" y="337"/>
                  </a:lnTo>
                  <a:lnTo>
                    <a:pt x="1101" y="344"/>
                  </a:lnTo>
                  <a:lnTo>
                    <a:pt x="1092" y="349"/>
                  </a:lnTo>
                  <a:lnTo>
                    <a:pt x="1092" y="349"/>
                  </a:lnTo>
                  <a:lnTo>
                    <a:pt x="1082" y="351"/>
                  </a:lnTo>
                  <a:lnTo>
                    <a:pt x="1071" y="352"/>
                  </a:lnTo>
                  <a:lnTo>
                    <a:pt x="1071" y="352"/>
                  </a:lnTo>
                  <a:lnTo>
                    <a:pt x="1063" y="352"/>
                  </a:lnTo>
                  <a:lnTo>
                    <a:pt x="1056" y="351"/>
                  </a:lnTo>
                  <a:lnTo>
                    <a:pt x="1049" y="349"/>
                  </a:lnTo>
                  <a:lnTo>
                    <a:pt x="1043" y="347"/>
                  </a:lnTo>
                  <a:lnTo>
                    <a:pt x="1043" y="347"/>
                  </a:lnTo>
                  <a:lnTo>
                    <a:pt x="1039" y="342"/>
                  </a:lnTo>
                  <a:lnTo>
                    <a:pt x="1033" y="337"/>
                  </a:lnTo>
                  <a:lnTo>
                    <a:pt x="1028" y="330"/>
                  </a:lnTo>
                  <a:lnTo>
                    <a:pt x="1025" y="323"/>
                  </a:lnTo>
                  <a:lnTo>
                    <a:pt x="1025" y="323"/>
                  </a:lnTo>
                  <a:lnTo>
                    <a:pt x="1021" y="314"/>
                  </a:lnTo>
                  <a:lnTo>
                    <a:pt x="1019" y="304"/>
                  </a:lnTo>
                  <a:lnTo>
                    <a:pt x="1016" y="292"/>
                  </a:lnTo>
                  <a:lnTo>
                    <a:pt x="1014" y="278"/>
                  </a:lnTo>
                  <a:lnTo>
                    <a:pt x="1014" y="278"/>
                  </a:lnTo>
                  <a:lnTo>
                    <a:pt x="1011" y="247"/>
                  </a:lnTo>
                  <a:lnTo>
                    <a:pt x="1010" y="209"/>
                  </a:lnTo>
                  <a:lnTo>
                    <a:pt x="1010" y="209"/>
                  </a:lnTo>
                  <a:lnTo>
                    <a:pt x="1011" y="176"/>
                  </a:lnTo>
                  <a:lnTo>
                    <a:pt x="1013" y="148"/>
                  </a:lnTo>
                  <a:lnTo>
                    <a:pt x="1013" y="148"/>
                  </a:lnTo>
                  <a:lnTo>
                    <a:pt x="1017" y="124"/>
                  </a:lnTo>
                  <a:lnTo>
                    <a:pt x="1019" y="113"/>
                  </a:lnTo>
                  <a:lnTo>
                    <a:pt x="1022" y="104"/>
                  </a:lnTo>
                  <a:lnTo>
                    <a:pt x="1022" y="104"/>
                  </a:lnTo>
                  <a:lnTo>
                    <a:pt x="1026" y="96"/>
                  </a:lnTo>
                  <a:lnTo>
                    <a:pt x="1031" y="89"/>
                  </a:lnTo>
                  <a:lnTo>
                    <a:pt x="1035" y="83"/>
                  </a:lnTo>
                  <a:lnTo>
                    <a:pt x="1041" y="77"/>
                  </a:lnTo>
                  <a:lnTo>
                    <a:pt x="1041" y="77"/>
                  </a:lnTo>
                  <a:lnTo>
                    <a:pt x="1047" y="74"/>
                  </a:lnTo>
                  <a:lnTo>
                    <a:pt x="1054" y="72"/>
                  </a:lnTo>
                  <a:lnTo>
                    <a:pt x="1062" y="69"/>
                  </a:lnTo>
                  <a:lnTo>
                    <a:pt x="1071" y="69"/>
                  </a:lnTo>
                  <a:lnTo>
                    <a:pt x="1071" y="69"/>
                  </a:lnTo>
                  <a:lnTo>
                    <a:pt x="1080" y="69"/>
                  </a:lnTo>
                  <a:lnTo>
                    <a:pt x="1089" y="72"/>
                  </a:lnTo>
                  <a:lnTo>
                    <a:pt x="1089" y="72"/>
                  </a:lnTo>
                  <a:lnTo>
                    <a:pt x="1097" y="75"/>
                  </a:lnTo>
                  <a:lnTo>
                    <a:pt x="1106" y="81"/>
                  </a:lnTo>
                  <a:lnTo>
                    <a:pt x="1106" y="81"/>
                  </a:lnTo>
                  <a:lnTo>
                    <a:pt x="1111" y="89"/>
                  </a:lnTo>
                  <a:lnTo>
                    <a:pt x="1117" y="98"/>
                  </a:lnTo>
                  <a:lnTo>
                    <a:pt x="1117" y="98"/>
                  </a:lnTo>
                  <a:lnTo>
                    <a:pt x="1121" y="111"/>
                  </a:lnTo>
                  <a:lnTo>
                    <a:pt x="1125" y="126"/>
                  </a:lnTo>
                  <a:lnTo>
                    <a:pt x="1125" y="126"/>
                  </a:lnTo>
                  <a:lnTo>
                    <a:pt x="1127" y="143"/>
                  </a:lnTo>
                  <a:lnTo>
                    <a:pt x="1130" y="163"/>
                  </a:lnTo>
                  <a:lnTo>
                    <a:pt x="1130" y="163"/>
                  </a:lnTo>
                  <a:lnTo>
                    <a:pt x="1131" y="186"/>
                  </a:lnTo>
                  <a:lnTo>
                    <a:pt x="1132" y="213"/>
                  </a:lnTo>
                  <a:lnTo>
                    <a:pt x="1132" y="213"/>
                  </a:lnTo>
                  <a:lnTo>
                    <a:pt x="1131" y="255"/>
                  </a:lnTo>
                  <a:lnTo>
                    <a:pt x="1131" y="255"/>
                  </a:lnTo>
                  <a:close/>
                  <a:moveTo>
                    <a:pt x="1206" y="1864"/>
                  </a:moveTo>
                  <a:lnTo>
                    <a:pt x="1206" y="1864"/>
                  </a:lnTo>
                  <a:lnTo>
                    <a:pt x="1205" y="1861"/>
                  </a:lnTo>
                  <a:lnTo>
                    <a:pt x="1202" y="1859"/>
                  </a:lnTo>
                  <a:lnTo>
                    <a:pt x="1202" y="1859"/>
                  </a:lnTo>
                  <a:lnTo>
                    <a:pt x="1200" y="1857"/>
                  </a:lnTo>
                  <a:lnTo>
                    <a:pt x="1198" y="1857"/>
                  </a:lnTo>
                  <a:lnTo>
                    <a:pt x="1132" y="1857"/>
                  </a:lnTo>
                  <a:lnTo>
                    <a:pt x="1131" y="1529"/>
                  </a:lnTo>
                  <a:lnTo>
                    <a:pt x="1131" y="1529"/>
                  </a:lnTo>
                  <a:lnTo>
                    <a:pt x="1131" y="1526"/>
                  </a:lnTo>
                  <a:lnTo>
                    <a:pt x="1130" y="1525"/>
                  </a:lnTo>
                  <a:lnTo>
                    <a:pt x="1130" y="1525"/>
                  </a:lnTo>
                  <a:lnTo>
                    <a:pt x="1127" y="1522"/>
                  </a:lnTo>
                  <a:lnTo>
                    <a:pt x="1125" y="1521"/>
                  </a:lnTo>
                  <a:lnTo>
                    <a:pt x="1125" y="1521"/>
                  </a:lnTo>
                  <a:lnTo>
                    <a:pt x="1114" y="1520"/>
                  </a:lnTo>
                  <a:lnTo>
                    <a:pt x="1114" y="1520"/>
                  </a:lnTo>
                  <a:lnTo>
                    <a:pt x="1095" y="1520"/>
                  </a:lnTo>
                  <a:lnTo>
                    <a:pt x="1095" y="1520"/>
                  </a:lnTo>
                  <a:lnTo>
                    <a:pt x="1079" y="1520"/>
                  </a:lnTo>
                  <a:lnTo>
                    <a:pt x="1079" y="1520"/>
                  </a:lnTo>
                  <a:lnTo>
                    <a:pt x="1070" y="1520"/>
                  </a:lnTo>
                  <a:lnTo>
                    <a:pt x="1070" y="1520"/>
                  </a:lnTo>
                  <a:lnTo>
                    <a:pt x="1064" y="1521"/>
                  </a:lnTo>
                  <a:lnTo>
                    <a:pt x="1064" y="1521"/>
                  </a:lnTo>
                  <a:lnTo>
                    <a:pt x="1061" y="1524"/>
                  </a:lnTo>
                  <a:lnTo>
                    <a:pt x="975" y="1579"/>
                  </a:lnTo>
                  <a:lnTo>
                    <a:pt x="975" y="1579"/>
                  </a:lnTo>
                  <a:lnTo>
                    <a:pt x="969" y="1584"/>
                  </a:lnTo>
                  <a:lnTo>
                    <a:pt x="969" y="1584"/>
                  </a:lnTo>
                  <a:lnTo>
                    <a:pt x="967" y="1587"/>
                  </a:lnTo>
                  <a:lnTo>
                    <a:pt x="966" y="1589"/>
                  </a:lnTo>
                  <a:lnTo>
                    <a:pt x="966" y="1589"/>
                  </a:lnTo>
                  <a:lnTo>
                    <a:pt x="965" y="1598"/>
                  </a:lnTo>
                  <a:lnTo>
                    <a:pt x="965" y="1598"/>
                  </a:lnTo>
                  <a:lnTo>
                    <a:pt x="964" y="1610"/>
                  </a:lnTo>
                  <a:lnTo>
                    <a:pt x="964" y="1610"/>
                  </a:lnTo>
                  <a:lnTo>
                    <a:pt x="965" y="1629"/>
                  </a:lnTo>
                  <a:lnTo>
                    <a:pt x="965" y="1629"/>
                  </a:lnTo>
                  <a:lnTo>
                    <a:pt x="966" y="1633"/>
                  </a:lnTo>
                  <a:lnTo>
                    <a:pt x="968" y="1637"/>
                  </a:lnTo>
                  <a:lnTo>
                    <a:pt x="968" y="1637"/>
                  </a:lnTo>
                  <a:lnTo>
                    <a:pt x="972" y="1639"/>
                  </a:lnTo>
                  <a:lnTo>
                    <a:pt x="975" y="1639"/>
                  </a:lnTo>
                  <a:lnTo>
                    <a:pt x="975" y="1639"/>
                  </a:lnTo>
                  <a:lnTo>
                    <a:pt x="981" y="1638"/>
                  </a:lnTo>
                  <a:lnTo>
                    <a:pt x="987" y="1635"/>
                  </a:lnTo>
                  <a:lnTo>
                    <a:pt x="1051" y="1599"/>
                  </a:lnTo>
                  <a:lnTo>
                    <a:pt x="1052" y="1857"/>
                  </a:lnTo>
                  <a:lnTo>
                    <a:pt x="979" y="1859"/>
                  </a:lnTo>
                  <a:lnTo>
                    <a:pt x="979" y="1859"/>
                  </a:lnTo>
                  <a:lnTo>
                    <a:pt x="975" y="1859"/>
                  </a:lnTo>
                  <a:lnTo>
                    <a:pt x="973" y="1860"/>
                  </a:lnTo>
                  <a:lnTo>
                    <a:pt x="973" y="1860"/>
                  </a:lnTo>
                  <a:lnTo>
                    <a:pt x="972" y="1862"/>
                  </a:lnTo>
                  <a:lnTo>
                    <a:pt x="969" y="1866"/>
                  </a:lnTo>
                  <a:lnTo>
                    <a:pt x="969" y="1866"/>
                  </a:lnTo>
                  <a:lnTo>
                    <a:pt x="968" y="1870"/>
                  </a:lnTo>
                  <a:lnTo>
                    <a:pt x="967" y="1875"/>
                  </a:lnTo>
                  <a:lnTo>
                    <a:pt x="967" y="1875"/>
                  </a:lnTo>
                  <a:lnTo>
                    <a:pt x="966" y="1890"/>
                  </a:lnTo>
                  <a:lnTo>
                    <a:pt x="966" y="1890"/>
                  </a:lnTo>
                  <a:lnTo>
                    <a:pt x="967" y="1905"/>
                  </a:lnTo>
                  <a:lnTo>
                    <a:pt x="967" y="1905"/>
                  </a:lnTo>
                  <a:lnTo>
                    <a:pt x="968" y="1911"/>
                  </a:lnTo>
                  <a:lnTo>
                    <a:pt x="971" y="1914"/>
                  </a:lnTo>
                  <a:lnTo>
                    <a:pt x="971" y="1914"/>
                  </a:lnTo>
                  <a:lnTo>
                    <a:pt x="972" y="1918"/>
                  </a:lnTo>
                  <a:lnTo>
                    <a:pt x="974" y="1919"/>
                  </a:lnTo>
                  <a:lnTo>
                    <a:pt x="974" y="1919"/>
                  </a:lnTo>
                  <a:lnTo>
                    <a:pt x="976" y="1920"/>
                  </a:lnTo>
                  <a:lnTo>
                    <a:pt x="979" y="1921"/>
                  </a:lnTo>
                  <a:lnTo>
                    <a:pt x="1198" y="1920"/>
                  </a:lnTo>
                  <a:lnTo>
                    <a:pt x="1198" y="1920"/>
                  </a:lnTo>
                  <a:lnTo>
                    <a:pt x="1200" y="1919"/>
                  </a:lnTo>
                  <a:lnTo>
                    <a:pt x="1202" y="1918"/>
                  </a:lnTo>
                  <a:lnTo>
                    <a:pt x="1202" y="1918"/>
                  </a:lnTo>
                  <a:lnTo>
                    <a:pt x="1205" y="1916"/>
                  </a:lnTo>
                  <a:lnTo>
                    <a:pt x="1206" y="1913"/>
                  </a:lnTo>
                  <a:lnTo>
                    <a:pt x="1206" y="1913"/>
                  </a:lnTo>
                  <a:lnTo>
                    <a:pt x="1208" y="1908"/>
                  </a:lnTo>
                  <a:lnTo>
                    <a:pt x="1209" y="1904"/>
                  </a:lnTo>
                  <a:lnTo>
                    <a:pt x="1209" y="1904"/>
                  </a:lnTo>
                  <a:lnTo>
                    <a:pt x="1209" y="1889"/>
                  </a:lnTo>
                  <a:lnTo>
                    <a:pt x="1209" y="1889"/>
                  </a:lnTo>
                  <a:lnTo>
                    <a:pt x="1209" y="1874"/>
                  </a:lnTo>
                  <a:lnTo>
                    <a:pt x="1209" y="1874"/>
                  </a:lnTo>
                  <a:lnTo>
                    <a:pt x="1208" y="1869"/>
                  </a:lnTo>
                  <a:lnTo>
                    <a:pt x="1206" y="1864"/>
                  </a:lnTo>
                  <a:lnTo>
                    <a:pt x="1206" y="1864"/>
                  </a:lnTo>
                  <a:close/>
                  <a:moveTo>
                    <a:pt x="1511" y="1568"/>
                  </a:moveTo>
                  <a:lnTo>
                    <a:pt x="1511" y="1568"/>
                  </a:lnTo>
                  <a:lnTo>
                    <a:pt x="1503" y="1555"/>
                  </a:lnTo>
                  <a:lnTo>
                    <a:pt x="1492" y="1544"/>
                  </a:lnTo>
                  <a:lnTo>
                    <a:pt x="1481" y="1535"/>
                  </a:lnTo>
                  <a:lnTo>
                    <a:pt x="1468" y="1527"/>
                  </a:lnTo>
                  <a:lnTo>
                    <a:pt x="1468" y="1527"/>
                  </a:lnTo>
                  <a:lnTo>
                    <a:pt x="1454" y="1521"/>
                  </a:lnTo>
                  <a:lnTo>
                    <a:pt x="1438" y="1517"/>
                  </a:lnTo>
                  <a:lnTo>
                    <a:pt x="1419" y="1514"/>
                  </a:lnTo>
                  <a:lnTo>
                    <a:pt x="1400" y="1514"/>
                  </a:lnTo>
                  <a:lnTo>
                    <a:pt x="1400" y="1514"/>
                  </a:lnTo>
                  <a:lnTo>
                    <a:pt x="1381" y="1514"/>
                  </a:lnTo>
                  <a:lnTo>
                    <a:pt x="1363" y="1518"/>
                  </a:lnTo>
                  <a:lnTo>
                    <a:pt x="1347" y="1522"/>
                  </a:lnTo>
                  <a:lnTo>
                    <a:pt x="1333" y="1528"/>
                  </a:lnTo>
                  <a:lnTo>
                    <a:pt x="1333" y="1528"/>
                  </a:lnTo>
                  <a:lnTo>
                    <a:pt x="1319" y="1536"/>
                  </a:lnTo>
                  <a:lnTo>
                    <a:pt x="1307" y="1547"/>
                  </a:lnTo>
                  <a:lnTo>
                    <a:pt x="1297" y="1557"/>
                  </a:lnTo>
                  <a:lnTo>
                    <a:pt x="1288" y="1570"/>
                  </a:lnTo>
                  <a:lnTo>
                    <a:pt x="1288" y="1570"/>
                  </a:lnTo>
                  <a:lnTo>
                    <a:pt x="1280" y="1585"/>
                  </a:lnTo>
                  <a:lnTo>
                    <a:pt x="1273" y="1600"/>
                  </a:lnTo>
                  <a:lnTo>
                    <a:pt x="1267" y="1617"/>
                  </a:lnTo>
                  <a:lnTo>
                    <a:pt x="1262" y="1636"/>
                  </a:lnTo>
                  <a:lnTo>
                    <a:pt x="1262" y="1636"/>
                  </a:lnTo>
                  <a:lnTo>
                    <a:pt x="1259" y="1656"/>
                  </a:lnTo>
                  <a:lnTo>
                    <a:pt x="1257" y="1677"/>
                  </a:lnTo>
                  <a:lnTo>
                    <a:pt x="1256" y="1699"/>
                  </a:lnTo>
                  <a:lnTo>
                    <a:pt x="1256" y="1722"/>
                  </a:lnTo>
                  <a:lnTo>
                    <a:pt x="1256" y="1722"/>
                  </a:lnTo>
                  <a:lnTo>
                    <a:pt x="1256" y="1745"/>
                  </a:lnTo>
                  <a:lnTo>
                    <a:pt x="1257" y="1767"/>
                  </a:lnTo>
                  <a:lnTo>
                    <a:pt x="1259" y="1788"/>
                  </a:lnTo>
                  <a:lnTo>
                    <a:pt x="1262" y="1808"/>
                  </a:lnTo>
                  <a:lnTo>
                    <a:pt x="1262" y="1808"/>
                  </a:lnTo>
                  <a:lnTo>
                    <a:pt x="1266" y="1826"/>
                  </a:lnTo>
                  <a:lnTo>
                    <a:pt x="1271" y="1842"/>
                  </a:lnTo>
                  <a:lnTo>
                    <a:pt x="1277" y="1859"/>
                  </a:lnTo>
                  <a:lnTo>
                    <a:pt x="1284" y="1872"/>
                  </a:lnTo>
                  <a:lnTo>
                    <a:pt x="1284" y="1872"/>
                  </a:lnTo>
                  <a:lnTo>
                    <a:pt x="1292" y="1884"/>
                  </a:lnTo>
                  <a:lnTo>
                    <a:pt x="1303" y="1896"/>
                  </a:lnTo>
                  <a:lnTo>
                    <a:pt x="1314" y="1905"/>
                  </a:lnTo>
                  <a:lnTo>
                    <a:pt x="1327" y="1912"/>
                  </a:lnTo>
                  <a:lnTo>
                    <a:pt x="1327" y="1912"/>
                  </a:lnTo>
                  <a:lnTo>
                    <a:pt x="1341" y="1918"/>
                  </a:lnTo>
                  <a:lnTo>
                    <a:pt x="1357" y="1922"/>
                  </a:lnTo>
                  <a:lnTo>
                    <a:pt x="1376" y="1924"/>
                  </a:lnTo>
                  <a:lnTo>
                    <a:pt x="1394" y="1926"/>
                  </a:lnTo>
                  <a:lnTo>
                    <a:pt x="1394" y="1926"/>
                  </a:lnTo>
                  <a:lnTo>
                    <a:pt x="1414" y="1924"/>
                  </a:lnTo>
                  <a:lnTo>
                    <a:pt x="1432" y="1922"/>
                  </a:lnTo>
                  <a:lnTo>
                    <a:pt x="1448" y="1918"/>
                  </a:lnTo>
                  <a:lnTo>
                    <a:pt x="1462" y="1911"/>
                  </a:lnTo>
                  <a:lnTo>
                    <a:pt x="1462" y="1911"/>
                  </a:lnTo>
                  <a:lnTo>
                    <a:pt x="1476" y="1902"/>
                  </a:lnTo>
                  <a:lnTo>
                    <a:pt x="1488" y="1893"/>
                  </a:lnTo>
                  <a:lnTo>
                    <a:pt x="1498" y="1882"/>
                  </a:lnTo>
                  <a:lnTo>
                    <a:pt x="1507" y="1869"/>
                  </a:lnTo>
                  <a:lnTo>
                    <a:pt x="1507" y="1869"/>
                  </a:lnTo>
                  <a:lnTo>
                    <a:pt x="1515" y="1855"/>
                  </a:lnTo>
                  <a:lnTo>
                    <a:pt x="1522" y="1839"/>
                  </a:lnTo>
                  <a:lnTo>
                    <a:pt x="1528" y="1822"/>
                  </a:lnTo>
                  <a:lnTo>
                    <a:pt x="1533" y="1803"/>
                  </a:lnTo>
                  <a:lnTo>
                    <a:pt x="1533" y="1803"/>
                  </a:lnTo>
                  <a:lnTo>
                    <a:pt x="1535" y="1784"/>
                  </a:lnTo>
                  <a:lnTo>
                    <a:pt x="1537" y="1763"/>
                  </a:lnTo>
                  <a:lnTo>
                    <a:pt x="1539" y="1741"/>
                  </a:lnTo>
                  <a:lnTo>
                    <a:pt x="1539" y="1718"/>
                  </a:lnTo>
                  <a:lnTo>
                    <a:pt x="1539" y="1718"/>
                  </a:lnTo>
                  <a:lnTo>
                    <a:pt x="1538" y="1695"/>
                  </a:lnTo>
                  <a:lnTo>
                    <a:pt x="1537" y="1671"/>
                  </a:lnTo>
                  <a:lnTo>
                    <a:pt x="1536" y="1651"/>
                  </a:lnTo>
                  <a:lnTo>
                    <a:pt x="1533" y="1632"/>
                  </a:lnTo>
                  <a:lnTo>
                    <a:pt x="1533" y="1632"/>
                  </a:lnTo>
                  <a:lnTo>
                    <a:pt x="1529" y="1614"/>
                  </a:lnTo>
                  <a:lnTo>
                    <a:pt x="1524" y="1596"/>
                  </a:lnTo>
                  <a:lnTo>
                    <a:pt x="1518" y="1581"/>
                  </a:lnTo>
                  <a:lnTo>
                    <a:pt x="1511" y="1568"/>
                  </a:lnTo>
                  <a:lnTo>
                    <a:pt x="1511" y="1568"/>
                  </a:lnTo>
                  <a:close/>
                  <a:moveTo>
                    <a:pt x="1458" y="1765"/>
                  </a:moveTo>
                  <a:lnTo>
                    <a:pt x="1458" y="1765"/>
                  </a:lnTo>
                  <a:lnTo>
                    <a:pt x="1455" y="1784"/>
                  </a:lnTo>
                  <a:lnTo>
                    <a:pt x="1453" y="1800"/>
                  </a:lnTo>
                  <a:lnTo>
                    <a:pt x="1453" y="1800"/>
                  </a:lnTo>
                  <a:lnTo>
                    <a:pt x="1451" y="1814"/>
                  </a:lnTo>
                  <a:lnTo>
                    <a:pt x="1446" y="1826"/>
                  </a:lnTo>
                  <a:lnTo>
                    <a:pt x="1446" y="1826"/>
                  </a:lnTo>
                  <a:lnTo>
                    <a:pt x="1441" y="1837"/>
                  </a:lnTo>
                  <a:lnTo>
                    <a:pt x="1434" y="1846"/>
                  </a:lnTo>
                  <a:lnTo>
                    <a:pt x="1434" y="1846"/>
                  </a:lnTo>
                  <a:lnTo>
                    <a:pt x="1428" y="1853"/>
                  </a:lnTo>
                  <a:lnTo>
                    <a:pt x="1418" y="1857"/>
                  </a:lnTo>
                  <a:lnTo>
                    <a:pt x="1418" y="1857"/>
                  </a:lnTo>
                  <a:lnTo>
                    <a:pt x="1409" y="1861"/>
                  </a:lnTo>
                  <a:lnTo>
                    <a:pt x="1397" y="1861"/>
                  </a:lnTo>
                  <a:lnTo>
                    <a:pt x="1397" y="1861"/>
                  </a:lnTo>
                  <a:lnTo>
                    <a:pt x="1389" y="1861"/>
                  </a:lnTo>
                  <a:lnTo>
                    <a:pt x="1382" y="1860"/>
                  </a:lnTo>
                  <a:lnTo>
                    <a:pt x="1376" y="1857"/>
                  </a:lnTo>
                  <a:lnTo>
                    <a:pt x="1370" y="1855"/>
                  </a:lnTo>
                  <a:lnTo>
                    <a:pt x="1370" y="1855"/>
                  </a:lnTo>
                  <a:lnTo>
                    <a:pt x="1364" y="1851"/>
                  </a:lnTo>
                  <a:lnTo>
                    <a:pt x="1359" y="1846"/>
                  </a:lnTo>
                  <a:lnTo>
                    <a:pt x="1355" y="1840"/>
                  </a:lnTo>
                  <a:lnTo>
                    <a:pt x="1351" y="1832"/>
                  </a:lnTo>
                  <a:lnTo>
                    <a:pt x="1351" y="1832"/>
                  </a:lnTo>
                  <a:lnTo>
                    <a:pt x="1348" y="1823"/>
                  </a:lnTo>
                  <a:lnTo>
                    <a:pt x="1344" y="1812"/>
                  </a:lnTo>
                  <a:lnTo>
                    <a:pt x="1342" y="1801"/>
                  </a:lnTo>
                  <a:lnTo>
                    <a:pt x="1341" y="1788"/>
                  </a:lnTo>
                  <a:lnTo>
                    <a:pt x="1341" y="1788"/>
                  </a:lnTo>
                  <a:lnTo>
                    <a:pt x="1337" y="1756"/>
                  </a:lnTo>
                  <a:lnTo>
                    <a:pt x="1336" y="1718"/>
                  </a:lnTo>
                  <a:lnTo>
                    <a:pt x="1336" y="1718"/>
                  </a:lnTo>
                  <a:lnTo>
                    <a:pt x="1337" y="1685"/>
                  </a:lnTo>
                  <a:lnTo>
                    <a:pt x="1339" y="1656"/>
                  </a:lnTo>
                  <a:lnTo>
                    <a:pt x="1339" y="1656"/>
                  </a:lnTo>
                  <a:lnTo>
                    <a:pt x="1343" y="1632"/>
                  </a:lnTo>
                  <a:lnTo>
                    <a:pt x="1346" y="1622"/>
                  </a:lnTo>
                  <a:lnTo>
                    <a:pt x="1349" y="1613"/>
                  </a:lnTo>
                  <a:lnTo>
                    <a:pt x="1349" y="1613"/>
                  </a:lnTo>
                  <a:lnTo>
                    <a:pt x="1352" y="1604"/>
                  </a:lnTo>
                  <a:lnTo>
                    <a:pt x="1357" y="1598"/>
                  </a:lnTo>
                  <a:lnTo>
                    <a:pt x="1362" y="1592"/>
                  </a:lnTo>
                  <a:lnTo>
                    <a:pt x="1367" y="1587"/>
                  </a:lnTo>
                  <a:lnTo>
                    <a:pt x="1367" y="1587"/>
                  </a:lnTo>
                  <a:lnTo>
                    <a:pt x="1373" y="1583"/>
                  </a:lnTo>
                  <a:lnTo>
                    <a:pt x="1380" y="1580"/>
                  </a:lnTo>
                  <a:lnTo>
                    <a:pt x="1388" y="1578"/>
                  </a:lnTo>
                  <a:lnTo>
                    <a:pt x="1397" y="1578"/>
                  </a:lnTo>
                  <a:lnTo>
                    <a:pt x="1397" y="1578"/>
                  </a:lnTo>
                  <a:lnTo>
                    <a:pt x="1407" y="1578"/>
                  </a:lnTo>
                  <a:lnTo>
                    <a:pt x="1416" y="1580"/>
                  </a:lnTo>
                  <a:lnTo>
                    <a:pt x="1416" y="1580"/>
                  </a:lnTo>
                  <a:lnTo>
                    <a:pt x="1424" y="1584"/>
                  </a:lnTo>
                  <a:lnTo>
                    <a:pt x="1431" y="1589"/>
                  </a:lnTo>
                  <a:lnTo>
                    <a:pt x="1431" y="1589"/>
                  </a:lnTo>
                  <a:lnTo>
                    <a:pt x="1438" y="1598"/>
                  </a:lnTo>
                  <a:lnTo>
                    <a:pt x="1444" y="1607"/>
                  </a:lnTo>
                  <a:lnTo>
                    <a:pt x="1444" y="1607"/>
                  </a:lnTo>
                  <a:lnTo>
                    <a:pt x="1447" y="1619"/>
                  </a:lnTo>
                  <a:lnTo>
                    <a:pt x="1452" y="1635"/>
                  </a:lnTo>
                  <a:lnTo>
                    <a:pt x="1452" y="1635"/>
                  </a:lnTo>
                  <a:lnTo>
                    <a:pt x="1454" y="1652"/>
                  </a:lnTo>
                  <a:lnTo>
                    <a:pt x="1456" y="1671"/>
                  </a:lnTo>
                  <a:lnTo>
                    <a:pt x="1456" y="1671"/>
                  </a:lnTo>
                  <a:lnTo>
                    <a:pt x="1458" y="1696"/>
                  </a:lnTo>
                  <a:lnTo>
                    <a:pt x="1458" y="1722"/>
                  </a:lnTo>
                  <a:lnTo>
                    <a:pt x="1458" y="1722"/>
                  </a:lnTo>
                  <a:lnTo>
                    <a:pt x="1458" y="1765"/>
                  </a:lnTo>
                  <a:lnTo>
                    <a:pt x="1458" y="1765"/>
                  </a:lnTo>
                  <a:close/>
                  <a:moveTo>
                    <a:pt x="1844" y="1861"/>
                  </a:moveTo>
                  <a:lnTo>
                    <a:pt x="1844" y="1861"/>
                  </a:lnTo>
                  <a:lnTo>
                    <a:pt x="1842" y="1857"/>
                  </a:lnTo>
                  <a:lnTo>
                    <a:pt x="1839" y="1855"/>
                  </a:lnTo>
                  <a:lnTo>
                    <a:pt x="1839" y="1855"/>
                  </a:lnTo>
                  <a:lnTo>
                    <a:pt x="1837" y="1854"/>
                  </a:lnTo>
                  <a:lnTo>
                    <a:pt x="1835" y="1854"/>
                  </a:lnTo>
                  <a:lnTo>
                    <a:pt x="1770" y="1854"/>
                  </a:lnTo>
                  <a:lnTo>
                    <a:pt x="1768" y="1526"/>
                  </a:lnTo>
                  <a:lnTo>
                    <a:pt x="1768" y="1526"/>
                  </a:lnTo>
                  <a:lnTo>
                    <a:pt x="1768" y="1524"/>
                  </a:lnTo>
                  <a:lnTo>
                    <a:pt x="1767" y="1521"/>
                  </a:lnTo>
                  <a:lnTo>
                    <a:pt x="1767" y="1521"/>
                  </a:lnTo>
                  <a:lnTo>
                    <a:pt x="1766" y="1519"/>
                  </a:lnTo>
                  <a:lnTo>
                    <a:pt x="1762" y="1518"/>
                  </a:lnTo>
                  <a:lnTo>
                    <a:pt x="1762" y="1518"/>
                  </a:lnTo>
                  <a:lnTo>
                    <a:pt x="1752" y="1517"/>
                  </a:lnTo>
                  <a:lnTo>
                    <a:pt x="1752" y="1517"/>
                  </a:lnTo>
                  <a:lnTo>
                    <a:pt x="1732" y="1517"/>
                  </a:lnTo>
                  <a:lnTo>
                    <a:pt x="1732" y="1517"/>
                  </a:lnTo>
                  <a:lnTo>
                    <a:pt x="1717" y="1517"/>
                  </a:lnTo>
                  <a:lnTo>
                    <a:pt x="1717" y="1517"/>
                  </a:lnTo>
                  <a:lnTo>
                    <a:pt x="1707" y="1518"/>
                  </a:lnTo>
                  <a:lnTo>
                    <a:pt x="1707" y="1518"/>
                  </a:lnTo>
                  <a:lnTo>
                    <a:pt x="1701" y="1519"/>
                  </a:lnTo>
                  <a:lnTo>
                    <a:pt x="1701" y="1519"/>
                  </a:lnTo>
                  <a:lnTo>
                    <a:pt x="1698" y="1520"/>
                  </a:lnTo>
                  <a:lnTo>
                    <a:pt x="1612" y="1577"/>
                  </a:lnTo>
                  <a:lnTo>
                    <a:pt x="1612" y="1577"/>
                  </a:lnTo>
                  <a:lnTo>
                    <a:pt x="1606" y="1581"/>
                  </a:lnTo>
                  <a:lnTo>
                    <a:pt x="1606" y="1581"/>
                  </a:lnTo>
                  <a:lnTo>
                    <a:pt x="1604" y="1584"/>
                  </a:lnTo>
                  <a:lnTo>
                    <a:pt x="1603" y="1586"/>
                  </a:lnTo>
                  <a:lnTo>
                    <a:pt x="1603" y="1586"/>
                  </a:lnTo>
                  <a:lnTo>
                    <a:pt x="1602" y="1595"/>
                  </a:lnTo>
                  <a:lnTo>
                    <a:pt x="1602" y="1595"/>
                  </a:lnTo>
                  <a:lnTo>
                    <a:pt x="1602" y="1607"/>
                  </a:lnTo>
                  <a:lnTo>
                    <a:pt x="1602" y="1607"/>
                  </a:lnTo>
                  <a:lnTo>
                    <a:pt x="1603" y="1625"/>
                  </a:lnTo>
                  <a:lnTo>
                    <a:pt x="1603" y="1625"/>
                  </a:lnTo>
                  <a:lnTo>
                    <a:pt x="1604" y="1630"/>
                  </a:lnTo>
                  <a:lnTo>
                    <a:pt x="1606" y="1635"/>
                  </a:lnTo>
                  <a:lnTo>
                    <a:pt x="1606" y="1635"/>
                  </a:lnTo>
                  <a:lnTo>
                    <a:pt x="1609" y="1636"/>
                  </a:lnTo>
                  <a:lnTo>
                    <a:pt x="1613" y="1636"/>
                  </a:lnTo>
                  <a:lnTo>
                    <a:pt x="1613" y="1636"/>
                  </a:lnTo>
                  <a:lnTo>
                    <a:pt x="1618" y="1635"/>
                  </a:lnTo>
                  <a:lnTo>
                    <a:pt x="1625" y="1631"/>
                  </a:lnTo>
                  <a:lnTo>
                    <a:pt x="1688" y="1596"/>
                  </a:lnTo>
                  <a:lnTo>
                    <a:pt x="1689" y="1855"/>
                  </a:lnTo>
                  <a:lnTo>
                    <a:pt x="1616" y="1855"/>
                  </a:lnTo>
                  <a:lnTo>
                    <a:pt x="1616" y="1855"/>
                  </a:lnTo>
                  <a:lnTo>
                    <a:pt x="1613" y="1855"/>
                  </a:lnTo>
                  <a:lnTo>
                    <a:pt x="1611" y="1856"/>
                  </a:lnTo>
                  <a:lnTo>
                    <a:pt x="1611" y="1856"/>
                  </a:lnTo>
                  <a:lnTo>
                    <a:pt x="1609" y="1859"/>
                  </a:lnTo>
                  <a:lnTo>
                    <a:pt x="1606" y="1862"/>
                  </a:lnTo>
                  <a:lnTo>
                    <a:pt x="1606" y="1862"/>
                  </a:lnTo>
                  <a:lnTo>
                    <a:pt x="1605" y="1867"/>
                  </a:lnTo>
                  <a:lnTo>
                    <a:pt x="1604" y="1872"/>
                  </a:lnTo>
                  <a:lnTo>
                    <a:pt x="1604" y="1872"/>
                  </a:lnTo>
                  <a:lnTo>
                    <a:pt x="1604" y="1886"/>
                  </a:lnTo>
                  <a:lnTo>
                    <a:pt x="1604" y="1886"/>
                  </a:lnTo>
                  <a:lnTo>
                    <a:pt x="1605" y="1901"/>
                  </a:lnTo>
                  <a:lnTo>
                    <a:pt x="1605" y="1901"/>
                  </a:lnTo>
                  <a:lnTo>
                    <a:pt x="1606" y="1907"/>
                  </a:lnTo>
                  <a:lnTo>
                    <a:pt x="1608" y="1911"/>
                  </a:lnTo>
                  <a:lnTo>
                    <a:pt x="1608" y="1911"/>
                  </a:lnTo>
                  <a:lnTo>
                    <a:pt x="1609" y="1914"/>
                  </a:lnTo>
                  <a:lnTo>
                    <a:pt x="1611" y="1916"/>
                  </a:lnTo>
                  <a:lnTo>
                    <a:pt x="1611" y="1916"/>
                  </a:lnTo>
                  <a:lnTo>
                    <a:pt x="1613" y="1918"/>
                  </a:lnTo>
                  <a:lnTo>
                    <a:pt x="1616" y="1918"/>
                  </a:lnTo>
                  <a:lnTo>
                    <a:pt x="1835" y="1916"/>
                  </a:lnTo>
                  <a:lnTo>
                    <a:pt x="1835" y="1916"/>
                  </a:lnTo>
                  <a:lnTo>
                    <a:pt x="1837" y="1916"/>
                  </a:lnTo>
                  <a:lnTo>
                    <a:pt x="1839" y="1915"/>
                  </a:lnTo>
                  <a:lnTo>
                    <a:pt x="1839" y="1915"/>
                  </a:lnTo>
                  <a:lnTo>
                    <a:pt x="1842" y="1913"/>
                  </a:lnTo>
                  <a:lnTo>
                    <a:pt x="1844" y="1909"/>
                  </a:lnTo>
                  <a:lnTo>
                    <a:pt x="1844" y="1909"/>
                  </a:lnTo>
                  <a:lnTo>
                    <a:pt x="1845" y="1906"/>
                  </a:lnTo>
                  <a:lnTo>
                    <a:pt x="1846" y="1900"/>
                  </a:lnTo>
                  <a:lnTo>
                    <a:pt x="1846" y="1900"/>
                  </a:lnTo>
                  <a:lnTo>
                    <a:pt x="1848" y="1885"/>
                  </a:lnTo>
                  <a:lnTo>
                    <a:pt x="1848" y="1885"/>
                  </a:lnTo>
                  <a:lnTo>
                    <a:pt x="1846" y="1870"/>
                  </a:lnTo>
                  <a:lnTo>
                    <a:pt x="1846" y="1870"/>
                  </a:lnTo>
                  <a:lnTo>
                    <a:pt x="1845" y="1866"/>
                  </a:lnTo>
                  <a:lnTo>
                    <a:pt x="1844" y="1861"/>
                  </a:lnTo>
                  <a:lnTo>
                    <a:pt x="1844" y="1861"/>
                  </a:lnTo>
                  <a:close/>
                  <a:moveTo>
                    <a:pt x="971" y="1164"/>
                  </a:moveTo>
                  <a:lnTo>
                    <a:pt x="971" y="1164"/>
                  </a:lnTo>
                  <a:lnTo>
                    <a:pt x="972" y="1166"/>
                  </a:lnTo>
                  <a:lnTo>
                    <a:pt x="975" y="1166"/>
                  </a:lnTo>
                  <a:lnTo>
                    <a:pt x="1194" y="1164"/>
                  </a:lnTo>
                  <a:lnTo>
                    <a:pt x="1194" y="1164"/>
                  </a:lnTo>
                  <a:lnTo>
                    <a:pt x="1197" y="1164"/>
                  </a:lnTo>
                  <a:lnTo>
                    <a:pt x="1199" y="1163"/>
                  </a:lnTo>
                  <a:lnTo>
                    <a:pt x="1199" y="1163"/>
                  </a:lnTo>
                  <a:lnTo>
                    <a:pt x="1201" y="1161"/>
                  </a:lnTo>
                  <a:lnTo>
                    <a:pt x="1202" y="1157"/>
                  </a:lnTo>
                  <a:lnTo>
                    <a:pt x="1202" y="1157"/>
                  </a:lnTo>
                  <a:lnTo>
                    <a:pt x="1204" y="1154"/>
                  </a:lnTo>
                  <a:lnTo>
                    <a:pt x="1205" y="1148"/>
                  </a:lnTo>
                  <a:lnTo>
                    <a:pt x="1205" y="1148"/>
                  </a:lnTo>
                  <a:lnTo>
                    <a:pt x="1206" y="1133"/>
                  </a:lnTo>
                  <a:lnTo>
                    <a:pt x="1206" y="1133"/>
                  </a:lnTo>
                  <a:lnTo>
                    <a:pt x="1205" y="1118"/>
                  </a:lnTo>
                  <a:lnTo>
                    <a:pt x="1205" y="1118"/>
                  </a:lnTo>
                  <a:lnTo>
                    <a:pt x="1204" y="1114"/>
                  </a:lnTo>
                  <a:lnTo>
                    <a:pt x="1202" y="1109"/>
                  </a:lnTo>
                  <a:lnTo>
                    <a:pt x="1202" y="1109"/>
                  </a:lnTo>
                  <a:lnTo>
                    <a:pt x="1201" y="1105"/>
                  </a:lnTo>
                  <a:lnTo>
                    <a:pt x="1199" y="1103"/>
                  </a:lnTo>
                  <a:lnTo>
                    <a:pt x="1199" y="1103"/>
                  </a:lnTo>
                  <a:lnTo>
                    <a:pt x="1197" y="1102"/>
                  </a:lnTo>
                  <a:lnTo>
                    <a:pt x="1193" y="1102"/>
                  </a:lnTo>
                  <a:lnTo>
                    <a:pt x="1129" y="1102"/>
                  </a:lnTo>
                  <a:lnTo>
                    <a:pt x="1127" y="774"/>
                  </a:lnTo>
                  <a:lnTo>
                    <a:pt x="1127" y="774"/>
                  </a:lnTo>
                  <a:lnTo>
                    <a:pt x="1126" y="772"/>
                  </a:lnTo>
                  <a:lnTo>
                    <a:pt x="1126" y="769"/>
                  </a:lnTo>
                  <a:lnTo>
                    <a:pt x="1126" y="769"/>
                  </a:lnTo>
                  <a:lnTo>
                    <a:pt x="1124" y="767"/>
                  </a:lnTo>
                  <a:lnTo>
                    <a:pt x="1121" y="766"/>
                  </a:lnTo>
                  <a:lnTo>
                    <a:pt x="1121" y="766"/>
                  </a:lnTo>
                  <a:lnTo>
                    <a:pt x="1110" y="765"/>
                  </a:lnTo>
                  <a:lnTo>
                    <a:pt x="1110" y="765"/>
                  </a:lnTo>
                  <a:lnTo>
                    <a:pt x="1091" y="765"/>
                  </a:lnTo>
                  <a:lnTo>
                    <a:pt x="1091" y="765"/>
                  </a:lnTo>
                  <a:lnTo>
                    <a:pt x="1076" y="765"/>
                  </a:lnTo>
                  <a:lnTo>
                    <a:pt x="1076" y="765"/>
                  </a:lnTo>
                  <a:lnTo>
                    <a:pt x="1066" y="766"/>
                  </a:lnTo>
                  <a:lnTo>
                    <a:pt x="1066" y="766"/>
                  </a:lnTo>
                  <a:lnTo>
                    <a:pt x="1059" y="767"/>
                  </a:lnTo>
                  <a:lnTo>
                    <a:pt x="1059" y="767"/>
                  </a:lnTo>
                  <a:lnTo>
                    <a:pt x="1056" y="768"/>
                  </a:lnTo>
                  <a:lnTo>
                    <a:pt x="971" y="825"/>
                  </a:lnTo>
                  <a:lnTo>
                    <a:pt x="971" y="825"/>
                  </a:lnTo>
                  <a:lnTo>
                    <a:pt x="965" y="829"/>
                  </a:lnTo>
                  <a:lnTo>
                    <a:pt x="965" y="829"/>
                  </a:lnTo>
                  <a:lnTo>
                    <a:pt x="964" y="832"/>
                  </a:lnTo>
                  <a:lnTo>
                    <a:pt x="962" y="834"/>
                  </a:lnTo>
                  <a:lnTo>
                    <a:pt x="962" y="834"/>
                  </a:lnTo>
                  <a:lnTo>
                    <a:pt x="960" y="843"/>
                  </a:lnTo>
                  <a:lnTo>
                    <a:pt x="960" y="843"/>
                  </a:lnTo>
                  <a:lnTo>
                    <a:pt x="960" y="855"/>
                  </a:lnTo>
                  <a:lnTo>
                    <a:pt x="960" y="855"/>
                  </a:lnTo>
                  <a:lnTo>
                    <a:pt x="961" y="873"/>
                  </a:lnTo>
                  <a:lnTo>
                    <a:pt x="961" y="873"/>
                  </a:lnTo>
                  <a:lnTo>
                    <a:pt x="962" y="878"/>
                  </a:lnTo>
                  <a:lnTo>
                    <a:pt x="965" y="883"/>
                  </a:lnTo>
                  <a:lnTo>
                    <a:pt x="965" y="883"/>
                  </a:lnTo>
                  <a:lnTo>
                    <a:pt x="968" y="884"/>
                  </a:lnTo>
                  <a:lnTo>
                    <a:pt x="972" y="884"/>
                  </a:lnTo>
                  <a:lnTo>
                    <a:pt x="972" y="884"/>
                  </a:lnTo>
                  <a:lnTo>
                    <a:pt x="977" y="883"/>
                  </a:lnTo>
                  <a:lnTo>
                    <a:pt x="983" y="879"/>
                  </a:lnTo>
                  <a:lnTo>
                    <a:pt x="1047" y="844"/>
                  </a:lnTo>
                  <a:lnTo>
                    <a:pt x="1048" y="1103"/>
                  </a:lnTo>
                  <a:lnTo>
                    <a:pt x="974" y="1103"/>
                  </a:lnTo>
                  <a:lnTo>
                    <a:pt x="974" y="1103"/>
                  </a:lnTo>
                  <a:lnTo>
                    <a:pt x="972" y="1103"/>
                  </a:lnTo>
                  <a:lnTo>
                    <a:pt x="969" y="1104"/>
                  </a:lnTo>
                  <a:lnTo>
                    <a:pt x="969" y="1104"/>
                  </a:lnTo>
                  <a:lnTo>
                    <a:pt x="967" y="1107"/>
                  </a:lnTo>
                  <a:lnTo>
                    <a:pt x="966" y="1110"/>
                  </a:lnTo>
                  <a:lnTo>
                    <a:pt x="966" y="1110"/>
                  </a:lnTo>
                  <a:lnTo>
                    <a:pt x="964" y="1115"/>
                  </a:lnTo>
                  <a:lnTo>
                    <a:pt x="964" y="1119"/>
                  </a:lnTo>
                  <a:lnTo>
                    <a:pt x="964" y="1119"/>
                  </a:lnTo>
                  <a:lnTo>
                    <a:pt x="962" y="1134"/>
                  </a:lnTo>
                  <a:lnTo>
                    <a:pt x="962" y="1134"/>
                  </a:lnTo>
                  <a:lnTo>
                    <a:pt x="964" y="1149"/>
                  </a:lnTo>
                  <a:lnTo>
                    <a:pt x="964" y="1149"/>
                  </a:lnTo>
                  <a:lnTo>
                    <a:pt x="965" y="1155"/>
                  </a:lnTo>
                  <a:lnTo>
                    <a:pt x="966" y="1159"/>
                  </a:lnTo>
                  <a:lnTo>
                    <a:pt x="966" y="1159"/>
                  </a:lnTo>
                  <a:lnTo>
                    <a:pt x="968" y="1162"/>
                  </a:lnTo>
                  <a:lnTo>
                    <a:pt x="971" y="1164"/>
                  </a:lnTo>
                  <a:lnTo>
                    <a:pt x="971" y="1164"/>
                  </a:lnTo>
                  <a:close/>
                  <a:moveTo>
                    <a:pt x="874" y="1571"/>
                  </a:moveTo>
                  <a:lnTo>
                    <a:pt x="874" y="1571"/>
                  </a:lnTo>
                  <a:lnTo>
                    <a:pt x="864" y="1558"/>
                  </a:lnTo>
                  <a:lnTo>
                    <a:pt x="855" y="1548"/>
                  </a:lnTo>
                  <a:lnTo>
                    <a:pt x="844" y="1539"/>
                  </a:lnTo>
                  <a:lnTo>
                    <a:pt x="831" y="1531"/>
                  </a:lnTo>
                  <a:lnTo>
                    <a:pt x="831" y="1531"/>
                  </a:lnTo>
                  <a:lnTo>
                    <a:pt x="816" y="1525"/>
                  </a:lnTo>
                  <a:lnTo>
                    <a:pt x="800" y="1520"/>
                  </a:lnTo>
                  <a:lnTo>
                    <a:pt x="782" y="1518"/>
                  </a:lnTo>
                  <a:lnTo>
                    <a:pt x="763" y="1517"/>
                  </a:lnTo>
                  <a:lnTo>
                    <a:pt x="763" y="1517"/>
                  </a:lnTo>
                  <a:lnTo>
                    <a:pt x="743" y="1518"/>
                  </a:lnTo>
                  <a:lnTo>
                    <a:pt x="726" y="1521"/>
                  </a:lnTo>
                  <a:lnTo>
                    <a:pt x="710" y="1526"/>
                  </a:lnTo>
                  <a:lnTo>
                    <a:pt x="695" y="1532"/>
                  </a:lnTo>
                  <a:lnTo>
                    <a:pt x="695" y="1532"/>
                  </a:lnTo>
                  <a:lnTo>
                    <a:pt x="682" y="1540"/>
                  </a:lnTo>
                  <a:lnTo>
                    <a:pt x="670" y="1549"/>
                  </a:lnTo>
                  <a:lnTo>
                    <a:pt x="659" y="1561"/>
                  </a:lnTo>
                  <a:lnTo>
                    <a:pt x="650" y="1573"/>
                  </a:lnTo>
                  <a:lnTo>
                    <a:pt x="650" y="1573"/>
                  </a:lnTo>
                  <a:lnTo>
                    <a:pt x="643" y="1588"/>
                  </a:lnTo>
                  <a:lnTo>
                    <a:pt x="636" y="1603"/>
                  </a:lnTo>
                  <a:lnTo>
                    <a:pt x="630" y="1621"/>
                  </a:lnTo>
                  <a:lnTo>
                    <a:pt x="625" y="1639"/>
                  </a:lnTo>
                  <a:lnTo>
                    <a:pt x="625" y="1639"/>
                  </a:lnTo>
                  <a:lnTo>
                    <a:pt x="622" y="1659"/>
                  </a:lnTo>
                  <a:lnTo>
                    <a:pt x="620" y="1680"/>
                  </a:lnTo>
                  <a:lnTo>
                    <a:pt x="619" y="1703"/>
                  </a:lnTo>
                  <a:lnTo>
                    <a:pt x="617" y="1726"/>
                  </a:lnTo>
                  <a:lnTo>
                    <a:pt x="617" y="1726"/>
                  </a:lnTo>
                  <a:lnTo>
                    <a:pt x="619" y="1749"/>
                  </a:lnTo>
                  <a:lnTo>
                    <a:pt x="620" y="1771"/>
                  </a:lnTo>
                  <a:lnTo>
                    <a:pt x="622" y="1792"/>
                  </a:lnTo>
                  <a:lnTo>
                    <a:pt x="624" y="1811"/>
                  </a:lnTo>
                  <a:lnTo>
                    <a:pt x="624" y="1811"/>
                  </a:lnTo>
                  <a:lnTo>
                    <a:pt x="629" y="1830"/>
                  </a:lnTo>
                  <a:lnTo>
                    <a:pt x="634" y="1846"/>
                  </a:lnTo>
                  <a:lnTo>
                    <a:pt x="639" y="1861"/>
                  </a:lnTo>
                  <a:lnTo>
                    <a:pt x="647" y="1875"/>
                  </a:lnTo>
                  <a:lnTo>
                    <a:pt x="647" y="1875"/>
                  </a:lnTo>
                  <a:lnTo>
                    <a:pt x="655" y="1887"/>
                  </a:lnTo>
                  <a:lnTo>
                    <a:pt x="666" y="1898"/>
                  </a:lnTo>
                  <a:lnTo>
                    <a:pt x="677" y="1907"/>
                  </a:lnTo>
                  <a:lnTo>
                    <a:pt x="690" y="1915"/>
                  </a:lnTo>
                  <a:lnTo>
                    <a:pt x="690" y="1915"/>
                  </a:lnTo>
                  <a:lnTo>
                    <a:pt x="704" y="1921"/>
                  </a:lnTo>
                  <a:lnTo>
                    <a:pt x="720" y="1926"/>
                  </a:lnTo>
                  <a:lnTo>
                    <a:pt x="737" y="1928"/>
                  </a:lnTo>
                  <a:lnTo>
                    <a:pt x="757" y="1929"/>
                  </a:lnTo>
                  <a:lnTo>
                    <a:pt x="757" y="1929"/>
                  </a:lnTo>
                  <a:lnTo>
                    <a:pt x="777" y="1928"/>
                  </a:lnTo>
                  <a:lnTo>
                    <a:pt x="794" y="1926"/>
                  </a:lnTo>
                  <a:lnTo>
                    <a:pt x="810" y="1921"/>
                  </a:lnTo>
                  <a:lnTo>
                    <a:pt x="825" y="1914"/>
                  </a:lnTo>
                  <a:lnTo>
                    <a:pt x="825" y="1914"/>
                  </a:lnTo>
                  <a:lnTo>
                    <a:pt x="838" y="1906"/>
                  </a:lnTo>
                  <a:lnTo>
                    <a:pt x="851" y="1897"/>
                  </a:lnTo>
                  <a:lnTo>
                    <a:pt x="861" y="1885"/>
                  </a:lnTo>
                  <a:lnTo>
                    <a:pt x="870" y="1872"/>
                  </a:lnTo>
                  <a:lnTo>
                    <a:pt x="870" y="1872"/>
                  </a:lnTo>
                  <a:lnTo>
                    <a:pt x="878" y="1859"/>
                  </a:lnTo>
                  <a:lnTo>
                    <a:pt x="885" y="1842"/>
                  </a:lnTo>
                  <a:lnTo>
                    <a:pt x="891" y="1825"/>
                  </a:lnTo>
                  <a:lnTo>
                    <a:pt x="894" y="1807"/>
                  </a:lnTo>
                  <a:lnTo>
                    <a:pt x="894" y="1807"/>
                  </a:lnTo>
                  <a:lnTo>
                    <a:pt x="898" y="1787"/>
                  </a:lnTo>
                  <a:lnTo>
                    <a:pt x="900" y="1766"/>
                  </a:lnTo>
                  <a:lnTo>
                    <a:pt x="901" y="1744"/>
                  </a:lnTo>
                  <a:lnTo>
                    <a:pt x="902" y="1721"/>
                  </a:lnTo>
                  <a:lnTo>
                    <a:pt x="902" y="1721"/>
                  </a:lnTo>
                  <a:lnTo>
                    <a:pt x="901" y="1697"/>
                  </a:lnTo>
                  <a:lnTo>
                    <a:pt x="900" y="1675"/>
                  </a:lnTo>
                  <a:lnTo>
                    <a:pt x="898" y="1654"/>
                  </a:lnTo>
                  <a:lnTo>
                    <a:pt x="896" y="1635"/>
                  </a:lnTo>
                  <a:lnTo>
                    <a:pt x="896" y="1635"/>
                  </a:lnTo>
                  <a:lnTo>
                    <a:pt x="892" y="1617"/>
                  </a:lnTo>
                  <a:lnTo>
                    <a:pt x="886" y="1600"/>
                  </a:lnTo>
                  <a:lnTo>
                    <a:pt x="881" y="1585"/>
                  </a:lnTo>
                  <a:lnTo>
                    <a:pt x="874" y="1571"/>
                  </a:lnTo>
                  <a:lnTo>
                    <a:pt x="874" y="1571"/>
                  </a:lnTo>
                  <a:close/>
                  <a:moveTo>
                    <a:pt x="819" y="1767"/>
                  </a:moveTo>
                  <a:lnTo>
                    <a:pt x="819" y="1767"/>
                  </a:lnTo>
                  <a:lnTo>
                    <a:pt x="818" y="1786"/>
                  </a:lnTo>
                  <a:lnTo>
                    <a:pt x="816" y="1803"/>
                  </a:lnTo>
                  <a:lnTo>
                    <a:pt x="816" y="1803"/>
                  </a:lnTo>
                  <a:lnTo>
                    <a:pt x="812" y="1817"/>
                  </a:lnTo>
                  <a:lnTo>
                    <a:pt x="809" y="1830"/>
                  </a:lnTo>
                  <a:lnTo>
                    <a:pt x="809" y="1830"/>
                  </a:lnTo>
                  <a:lnTo>
                    <a:pt x="803" y="1840"/>
                  </a:lnTo>
                  <a:lnTo>
                    <a:pt x="797" y="1849"/>
                  </a:lnTo>
                  <a:lnTo>
                    <a:pt x="797" y="1849"/>
                  </a:lnTo>
                  <a:lnTo>
                    <a:pt x="789" y="1856"/>
                  </a:lnTo>
                  <a:lnTo>
                    <a:pt x="781" y="1861"/>
                  </a:lnTo>
                  <a:lnTo>
                    <a:pt x="781" y="1861"/>
                  </a:lnTo>
                  <a:lnTo>
                    <a:pt x="771" y="1863"/>
                  </a:lnTo>
                  <a:lnTo>
                    <a:pt x="760" y="1864"/>
                  </a:lnTo>
                  <a:lnTo>
                    <a:pt x="760" y="1864"/>
                  </a:lnTo>
                  <a:lnTo>
                    <a:pt x="752" y="1864"/>
                  </a:lnTo>
                  <a:lnTo>
                    <a:pt x="745" y="1863"/>
                  </a:lnTo>
                  <a:lnTo>
                    <a:pt x="739" y="1861"/>
                  </a:lnTo>
                  <a:lnTo>
                    <a:pt x="733" y="1859"/>
                  </a:lnTo>
                  <a:lnTo>
                    <a:pt x="733" y="1859"/>
                  </a:lnTo>
                  <a:lnTo>
                    <a:pt x="727" y="1854"/>
                  </a:lnTo>
                  <a:lnTo>
                    <a:pt x="722" y="1849"/>
                  </a:lnTo>
                  <a:lnTo>
                    <a:pt x="718" y="1842"/>
                  </a:lnTo>
                  <a:lnTo>
                    <a:pt x="714" y="1835"/>
                  </a:lnTo>
                  <a:lnTo>
                    <a:pt x="714" y="1835"/>
                  </a:lnTo>
                  <a:lnTo>
                    <a:pt x="711" y="1826"/>
                  </a:lnTo>
                  <a:lnTo>
                    <a:pt x="707" y="1816"/>
                  </a:lnTo>
                  <a:lnTo>
                    <a:pt x="705" y="1804"/>
                  </a:lnTo>
                  <a:lnTo>
                    <a:pt x="703" y="1792"/>
                  </a:lnTo>
                  <a:lnTo>
                    <a:pt x="703" y="1792"/>
                  </a:lnTo>
                  <a:lnTo>
                    <a:pt x="700" y="1759"/>
                  </a:lnTo>
                  <a:lnTo>
                    <a:pt x="699" y="1721"/>
                  </a:lnTo>
                  <a:lnTo>
                    <a:pt x="699" y="1721"/>
                  </a:lnTo>
                  <a:lnTo>
                    <a:pt x="699" y="1689"/>
                  </a:lnTo>
                  <a:lnTo>
                    <a:pt x="702" y="1660"/>
                  </a:lnTo>
                  <a:lnTo>
                    <a:pt x="702" y="1660"/>
                  </a:lnTo>
                  <a:lnTo>
                    <a:pt x="705" y="1636"/>
                  </a:lnTo>
                  <a:lnTo>
                    <a:pt x="709" y="1625"/>
                  </a:lnTo>
                  <a:lnTo>
                    <a:pt x="711" y="1616"/>
                  </a:lnTo>
                  <a:lnTo>
                    <a:pt x="711" y="1616"/>
                  </a:lnTo>
                  <a:lnTo>
                    <a:pt x="715" y="1608"/>
                  </a:lnTo>
                  <a:lnTo>
                    <a:pt x="719" y="1601"/>
                  </a:lnTo>
                  <a:lnTo>
                    <a:pt x="725" y="1595"/>
                  </a:lnTo>
                  <a:lnTo>
                    <a:pt x="729" y="1589"/>
                  </a:lnTo>
                  <a:lnTo>
                    <a:pt x="729" y="1589"/>
                  </a:lnTo>
                  <a:lnTo>
                    <a:pt x="736" y="1586"/>
                  </a:lnTo>
                  <a:lnTo>
                    <a:pt x="743" y="1584"/>
                  </a:lnTo>
                  <a:lnTo>
                    <a:pt x="751" y="1581"/>
                  </a:lnTo>
                  <a:lnTo>
                    <a:pt x="759" y="1581"/>
                  </a:lnTo>
                  <a:lnTo>
                    <a:pt x="759" y="1581"/>
                  </a:lnTo>
                  <a:lnTo>
                    <a:pt x="770" y="1581"/>
                  </a:lnTo>
                  <a:lnTo>
                    <a:pt x="779" y="1584"/>
                  </a:lnTo>
                  <a:lnTo>
                    <a:pt x="779" y="1584"/>
                  </a:lnTo>
                  <a:lnTo>
                    <a:pt x="787" y="1587"/>
                  </a:lnTo>
                  <a:lnTo>
                    <a:pt x="794" y="1593"/>
                  </a:lnTo>
                  <a:lnTo>
                    <a:pt x="794" y="1593"/>
                  </a:lnTo>
                  <a:lnTo>
                    <a:pt x="801" y="1601"/>
                  </a:lnTo>
                  <a:lnTo>
                    <a:pt x="805" y="1610"/>
                  </a:lnTo>
                  <a:lnTo>
                    <a:pt x="805" y="1610"/>
                  </a:lnTo>
                  <a:lnTo>
                    <a:pt x="810" y="1623"/>
                  </a:lnTo>
                  <a:lnTo>
                    <a:pt x="814" y="1638"/>
                  </a:lnTo>
                  <a:lnTo>
                    <a:pt x="814" y="1638"/>
                  </a:lnTo>
                  <a:lnTo>
                    <a:pt x="817" y="1655"/>
                  </a:lnTo>
                  <a:lnTo>
                    <a:pt x="819" y="1675"/>
                  </a:lnTo>
                  <a:lnTo>
                    <a:pt x="819" y="1675"/>
                  </a:lnTo>
                  <a:lnTo>
                    <a:pt x="820" y="1698"/>
                  </a:lnTo>
                  <a:lnTo>
                    <a:pt x="820" y="1725"/>
                  </a:lnTo>
                  <a:lnTo>
                    <a:pt x="820" y="1725"/>
                  </a:lnTo>
                  <a:lnTo>
                    <a:pt x="819" y="1767"/>
                  </a:lnTo>
                  <a:lnTo>
                    <a:pt x="819" y="1767"/>
                  </a:lnTo>
                  <a:close/>
                  <a:moveTo>
                    <a:pt x="550" y="817"/>
                  </a:moveTo>
                  <a:lnTo>
                    <a:pt x="550" y="817"/>
                  </a:lnTo>
                  <a:lnTo>
                    <a:pt x="542" y="805"/>
                  </a:lnTo>
                  <a:lnTo>
                    <a:pt x="532" y="794"/>
                  </a:lnTo>
                  <a:lnTo>
                    <a:pt x="520" y="784"/>
                  </a:lnTo>
                  <a:lnTo>
                    <a:pt x="508" y="777"/>
                  </a:lnTo>
                  <a:lnTo>
                    <a:pt x="508" y="777"/>
                  </a:lnTo>
                  <a:lnTo>
                    <a:pt x="494" y="772"/>
                  </a:lnTo>
                  <a:lnTo>
                    <a:pt x="478" y="767"/>
                  </a:lnTo>
                  <a:lnTo>
                    <a:pt x="459" y="765"/>
                  </a:lnTo>
                  <a:lnTo>
                    <a:pt x="440" y="764"/>
                  </a:lnTo>
                  <a:lnTo>
                    <a:pt x="440" y="764"/>
                  </a:lnTo>
                  <a:lnTo>
                    <a:pt x="421" y="765"/>
                  </a:lnTo>
                  <a:lnTo>
                    <a:pt x="403" y="767"/>
                  </a:lnTo>
                  <a:lnTo>
                    <a:pt x="387" y="772"/>
                  </a:lnTo>
                  <a:lnTo>
                    <a:pt x="373" y="779"/>
                  </a:lnTo>
                  <a:lnTo>
                    <a:pt x="373" y="779"/>
                  </a:lnTo>
                  <a:lnTo>
                    <a:pt x="359" y="787"/>
                  </a:lnTo>
                  <a:lnTo>
                    <a:pt x="347" y="796"/>
                  </a:lnTo>
                  <a:lnTo>
                    <a:pt x="337" y="807"/>
                  </a:lnTo>
                  <a:lnTo>
                    <a:pt x="328" y="820"/>
                  </a:lnTo>
                  <a:lnTo>
                    <a:pt x="328" y="820"/>
                  </a:lnTo>
                  <a:lnTo>
                    <a:pt x="320" y="834"/>
                  </a:lnTo>
                  <a:lnTo>
                    <a:pt x="313" y="850"/>
                  </a:lnTo>
                  <a:lnTo>
                    <a:pt x="307" y="868"/>
                  </a:lnTo>
                  <a:lnTo>
                    <a:pt x="302" y="886"/>
                  </a:lnTo>
                  <a:lnTo>
                    <a:pt x="302" y="886"/>
                  </a:lnTo>
                  <a:lnTo>
                    <a:pt x="299" y="906"/>
                  </a:lnTo>
                  <a:lnTo>
                    <a:pt x="297" y="926"/>
                  </a:lnTo>
                  <a:lnTo>
                    <a:pt x="295" y="948"/>
                  </a:lnTo>
                  <a:lnTo>
                    <a:pt x="295" y="971"/>
                  </a:lnTo>
                  <a:lnTo>
                    <a:pt x="295" y="971"/>
                  </a:lnTo>
                  <a:lnTo>
                    <a:pt x="295" y="995"/>
                  </a:lnTo>
                  <a:lnTo>
                    <a:pt x="298" y="1018"/>
                  </a:lnTo>
                  <a:lnTo>
                    <a:pt x="299" y="1038"/>
                  </a:lnTo>
                  <a:lnTo>
                    <a:pt x="302" y="1057"/>
                  </a:lnTo>
                  <a:lnTo>
                    <a:pt x="302" y="1057"/>
                  </a:lnTo>
                  <a:lnTo>
                    <a:pt x="306" y="1075"/>
                  </a:lnTo>
                  <a:lnTo>
                    <a:pt x="310" y="1093"/>
                  </a:lnTo>
                  <a:lnTo>
                    <a:pt x="317" y="1108"/>
                  </a:lnTo>
                  <a:lnTo>
                    <a:pt x="324" y="1122"/>
                  </a:lnTo>
                  <a:lnTo>
                    <a:pt x="324" y="1122"/>
                  </a:lnTo>
                  <a:lnTo>
                    <a:pt x="334" y="1134"/>
                  </a:lnTo>
                  <a:lnTo>
                    <a:pt x="343" y="1145"/>
                  </a:lnTo>
                  <a:lnTo>
                    <a:pt x="354" y="1154"/>
                  </a:lnTo>
                  <a:lnTo>
                    <a:pt x="367" y="1162"/>
                  </a:lnTo>
                  <a:lnTo>
                    <a:pt x="367" y="1162"/>
                  </a:lnTo>
                  <a:lnTo>
                    <a:pt x="381" y="1168"/>
                  </a:lnTo>
                  <a:lnTo>
                    <a:pt x="397" y="1172"/>
                  </a:lnTo>
                  <a:lnTo>
                    <a:pt x="415" y="1175"/>
                  </a:lnTo>
                  <a:lnTo>
                    <a:pt x="435" y="1175"/>
                  </a:lnTo>
                  <a:lnTo>
                    <a:pt x="435" y="1175"/>
                  </a:lnTo>
                  <a:lnTo>
                    <a:pt x="454" y="1175"/>
                  </a:lnTo>
                  <a:lnTo>
                    <a:pt x="472" y="1171"/>
                  </a:lnTo>
                  <a:lnTo>
                    <a:pt x="488" y="1167"/>
                  </a:lnTo>
                  <a:lnTo>
                    <a:pt x="502" y="1161"/>
                  </a:lnTo>
                  <a:lnTo>
                    <a:pt x="502" y="1161"/>
                  </a:lnTo>
                  <a:lnTo>
                    <a:pt x="516" y="1153"/>
                  </a:lnTo>
                  <a:lnTo>
                    <a:pt x="527" y="1142"/>
                  </a:lnTo>
                  <a:lnTo>
                    <a:pt x="538" y="1132"/>
                  </a:lnTo>
                  <a:lnTo>
                    <a:pt x="547" y="1119"/>
                  </a:lnTo>
                  <a:lnTo>
                    <a:pt x="547" y="1119"/>
                  </a:lnTo>
                  <a:lnTo>
                    <a:pt x="555" y="1104"/>
                  </a:lnTo>
                  <a:lnTo>
                    <a:pt x="562" y="1089"/>
                  </a:lnTo>
                  <a:lnTo>
                    <a:pt x="568" y="1072"/>
                  </a:lnTo>
                  <a:lnTo>
                    <a:pt x="572" y="1053"/>
                  </a:lnTo>
                  <a:lnTo>
                    <a:pt x="572" y="1053"/>
                  </a:lnTo>
                  <a:lnTo>
                    <a:pt x="576" y="1034"/>
                  </a:lnTo>
                  <a:lnTo>
                    <a:pt x="578" y="1013"/>
                  </a:lnTo>
                  <a:lnTo>
                    <a:pt x="579" y="990"/>
                  </a:lnTo>
                  <a:lnTo>
                    <a:pt x="579" y="967"/>
                  </a:lnTo>
                  <a:lnTo>
                    <a:pt x="579" y="967"/>
                  </a:lnTo>
                  <a:lnTo>
                    <a:pt x="579" y="944"/>
                  </a:lnTo>
                  <a:lnTo>
                    <a:pt x="578" y="922"/>
                  </a:lnTo>
                  <a:lnTo>
                    <a:pt x="576" y="901"/>
                  </a:lnTo>
                  <a:lnTo>
                    <a:pt x="572" y="881"/>
                  </a:lnTo>
                  <a:lnTo>
                    <a:pt x="572" y="881"/>
                  </a:lnTo>
                  <a:lnTo>
                    <a:pt x="569" y="863"/>
                  </a:lnTo>
                  <a:lnTo>
                    <a:pt x="564" y="847"/>
                  </a:lnTo>
                  <a:lnTo>
                    <a:pt x="559" y="831"/>
                  </a:lnTo>
                  <a:lnTo>
                    <a:pt x="550" y="817"/>
                  </a:lnTo>
                  <a:lnTo>
                    <a:pt x="550" y="817"/>
                  </a:lnTo>
                  <a:close/>
                  <a:moveTo>
                    <a:pt x="497" y="1014"/>
                  </a:moveTo>
                  <a:lnTo>
                    <a:pt x="497" y="1014"/>
                  </a:lnTo>
                  <a:lnTo>
                    <a:pt x="496" y="1033"/>
                  </a:lnTo>
                  <a:lnTo>
                    <a:pt x="494" y="1049"/>
                  </a:lnTo>
                  <a:lnTo>
                    <a:pt x="494" y="1049"/>
                  </a:lnTo>
                  <a:lnTo>
                    <a:pt x="490" y="1064"/>
                  </a:lnTo>
                  <a:lnTo>
                    <a:pt x="486" y="1077"/>
                  </a:lnTo>
                  <a:lnTo>
                    <a:pt x="486" y="1077"/>
                  </a:lnTo>
                  <a:lnTo>
                    <a:pt x="481" y="1087"/>
                  </a:lnTo>
                  <a:lnTo>
                    <a:pt x="474" y="1095"/>
                  </a:lnTo>
                  <a:lnTo>
                    <a:pt x="474" y="1095"/>
                  </a:lnTo>
                  <a:lnTo>
                    <a:pt x="467" y="1102"/>
                  </a:lnTo>
                  <a:lnTo>
                    <a:pt x="458" y="1107"/>
                  </a:lnTo>
                  <a:lnTo>
                    <a:pt x="458" y="1107"/>
                  </a:lnTo>
                  <a:lnTo>
                    <a:pt x="449" y="1110"/>
                  </a:lnTo>
                  <a:lnTo>
                    <a:pt x="437" y="1111"/>
                  </a:lnTo>
                  <a:lnTo>
                    <a:pt x="437" y="1111"/>
                  </a:lnTo>
                  <a:lnTo>
                    <a:pt x="429" y="1111"/>
                  </a:lnTo>
                  <a:lnTo>
                    <a:pt x="422" y="1109"/>
                  </a:lnTo>
                  <a:lnTo>
                    <a:pt x="415" y="1108"/>
                  </a:lnTo>
                  <a:lnTo>
                    <a:pt x="410" y="1104"/>
                  </a:lnTo>
                  <a:lnTo>
                    <a:pt x="410" y="1104"/>
                  </a:lnTo>
                  <a:lnTo>
                    <a:pt x="405" y="1101"/>
                  </a:lnTo>
                  <a:lnTo>
                    <a:pt x="399" y="1095"/>
                  </a:lnTo>
                  <a:lnTo>
                    <a:pt x="395" y="1089"/>
                  </a:lnTo>
                  <a:lnTo>
                    <a:pt x="391" y="1081"/>
                  </a:lnTo>
                  <a:lnTo>
                    <a:pt x="391" y="1081"/>
                  </a:lnTo>
                  <a:lnTo>
                    <a:pt x="388" y="1073"/>
                  </a:lnTo>
                  <a:lnTo>
                    <a:pt x="385" y="1063"/>
                  </a:lnTo>
                  <a:lnTo>
                    <a:pt x="382" y="1051"/>
                  </a:lnTo>
                  <a:lnTo>
                    <a:pt x="381" y="1037"/>
                  </a:lnTo>
                  <a:lnTo>
                    <a:pt x="381" y="1037"/>
                  </a:lnTo>
                  <a:lnTo>
                    <a:pt x="377" y="1006"/>
                  </a:lnTo>
                  <a:lnTo>
                    <a:pt x="376" y="967"/>
                  </a:lnTo>
                  <a:lnTo>
                    <a:pt x="376" y="967"/>
                  </a:lnTo>
                  <a:lnTo>
                    <a:pt x="377" y="934"/>
                  </a:lnTo>
                  <a:lnTo>
                    <a:pt x="380" y="907"/>
                  </a:lnTo>
                  <a:lnTo>
                    <a:pt x="380" y="907"/>
                  </a:lnTo>
                  <a:lnTo>
                    <a:pt x="383" y="883"/>
                  </a:lnTo>
                  <a:lnTo>
                    <a:pt x="385" y="872"/>
                  </a:lnTo>
                  <a:lnTo>
                    <a:pt x="389" y="863"/>
                  </a:lnTo>
                  <a:lnTo>
                    <a:pt x="389" y="863"/>
                  </a:lnTo>
                  <a:lnTo>
                    <a:pt x="392" y="855"/>
                  </a:lnTo>
                  <a:lnTo>
                    <a:pt x="397" y="848"/>
                  </a:lnTo>
                  <a:lnTo>
                    <a:pt x="402" y="841"/>
                  </a:lnTo>
                  <a:lnTo>
                    <a:pt x="407" y="836"/>
                  </a:lnTo>
                  <a:lnTo>
                    <a:pt x="407" y="836"/>
                  </a:lnTo>
                  <a:lnTo>
                    <a:pt x="413" y="833"/>
                  </a:lnTo>
                  <a:lnTo>
                    <a:pt x="420" y="829"/>
                  </a:lnTo>
                  <a:lnTo>
                    <a:pt x="428" y="828"/>
                  </a:lnTo>
                  <a:lnTo>
                    <a:pt x="437" y="827"/>
                  </a:lnTo>
                  <a:lnTo>
                    <a:pt x="437" y="827"/>
                  </a:lnTo>
                  <a:lnTo>
                    <a:pt x="447" y="828"/>
                  </a:lnTo>
                  <a:lnTo>
                    <a:pt x="456" y="831"/>
                  </a:lnTo>
                  <a:lnTo>
                    <a:pt x="456" y="831"/>
                  </a:lnTo>
                  <a:lnTo>
                    <a:pt x="464" y="834"/>
                  </a:lnTo>
                  <a:lnTo>
                    <a:pt x="472" y="840"/>
                  </a:lnTo>
                  <a:lnTo>
                    <a:pt x="472" y="840"/>
                  </a:lnTo>
                  <a:lnTo>
                    <a:pt x="478" y="847"/>
                  </a:lnTo>
                  <a:lnTo>
                    <a:pt x="484" y="857"/>
                  </a:lnTo>
                  <a:lnTo>
                    <a:pt x="484" y="857"/>
                  </a:lnTo>
                  <a:lnTo>
                    <a:pt x="488" y="870"/>
                  </a:lnTo>
                  <a:lnTo>
                    <a:pt x="492" y="884"/>
                  </a:lnTo>
                  <a:lnTo>
                    <a:pt x="492" y="884"/>
                  </a:lnTo>
                  <a:lnTo>
                    <a:pt x="494" y="901"/>
                  </a:lnTo>
                  <a:lnTo>
                    <a:pt x="496" y="922"/>
                  </a:lnTo>
                  <a:lnTo>
                    <a:pt x="496" y="922"/>
                  </a:lnTo>
                  <a:lnTo>
                    <a:pt x="497" y="945"/>
                  </a:lnTo>
                  <a:lnTo>
                    <a:pt x="499" y="971"/>
                  </a:lnTo>
                  <a:lnTo>
                    <a:pt x="499" y="971"/>
                  </a:lnTo>
                  <a:lnTo>
                    <a:pt x="497" y="1014"/>
                  </a:lnTo>
                  <a:lnTo>
                    <a:pt x="497" y="1014"/>
                  </a:lnTo>
                  <a:close/>
                  <a:moveTo>
                    <a:pt x="643" y="1120"/>
                  </a:moveTo>
                  <a:lnTo>
                    <a:pt x="643" y="1120"/>
                  </a:lnTo>
                  <a:lnTo>
                    <a:pt x="652" y="1132"/>
                  </a:lnTo>
                  <a:lnTo>
                    <a:pt x="661" y="1144"/>
                  </a:lnTo>
                  <a:lnTo>
                    <a:pt x="673" y="1153"/>
                  </a:lnTo>
                  <a:lnTo>
                    <a:pt x="685" y="1160"/>
                  </a:lnTo>
                  <a:lnTo>
                    <a:pt x="685" y="1160"/>
                  </a:lnTo>
                  <a:lnTo>
                    <a:pt x="700" y="1166"/>
                  </a:lnTo>
                  <a:lnTo>
                    <a:pt x="715" y="1170"/>
                  </a:lnTo>
                  <a:lnTo>
                    <a:pt x="734" y="1172"/>
                  </a:lnTo>
                  <a:lnTo>
                    <a:pt x="754" y="1174"/>
                  </a:lnTo>
                  <a:lnTo>
                    <a:pt x="754" y="1174"/>
                  </a:lnTo>
                  <a:lnTo>
                    <a:pt x="773" y="1172"/>
                  </a:lnTo>
                  <a:lnTo>
                    <a:pt x="790" y="1170"/>
                  </a:lnTo>
                  <a:lnTo>
                    <a:pt x="807" y="1166"/>
                  </a:lnTo>
                  <a:lnTo>
                    <a:pt x="822" y="1159"/>
                  </a:lnTo>
                  <a:lnTo>
                    <a:pt x="822" y="1159"/>
                  </a:lnTo>
                  <a:lnTo>
                    <a:pt x="834" y="1151"/>
                  </a:lnTo>
                  <a:lnTo>
                    <a:pt x="846" y="1141"/>
                  </a:lnTo>
                  <a:lnTo>
                    <a:pt x="857" y="1130"/>
                  </a:lnTo>
                  <a:lnTo>
                    <a:pt x="867" y="1117"/>
                  </a:lnTo>
                  <a:lnTo>
                    <a:pt x="867" y="1117"/>
                  </a:lnTo>
                  <a:lnTo>
                    <a:pt x="874" y="1103"/>
                  </a:lnTo>
                  <a:lnTo>
                    <a:pt x="881" y="1087"/>
                  </a:lnTo>
                  <a:lnTo>
                    <a:pt x="886" y="1070"/>
                  </a:lnTo>
                  <a:lnTo>
                    <a:pt x="891" y="1051"/>
                  </a:lnTo>
                  <a:lnTo>
                    <a:pt x="891" y="1051"/>
                  </a:lnTo>
                  <a:lnTo>
                    <a:pt x="894" y="1032"/>
                  </a:lnTo>
                  <a:lnTo>
                    <a:pt x="897" y="1011"/>
                  </a:lnTo>
                  <a:lnTo>
                    <a:pt x="898" y="989"/>
                  </a:lnTo>
                  <a:lnTo>
                    <a:pt x="898" y="966"/>
                  </a:lnTo>
                  <a:lnTo>
                    <a:pt x="898" y="966"/>
                  </a:lnTo>
                  <a:lnTo>
                    <a:pt x="898" y="943"/>
                  </a:lnTo>
                  <a:lnTo>
                    <a:pt x="897" y="921"/>
                  </a:lnTo>
                  <a:lnTo>
                    <a:pt x="894" y="899"/>
                  </a:lnTo>
                  <a:lnTo>
                    <a:pt x="892" y="880"/>
                  </a:lnTo>
                  <a:lnTo>
                    <a:pt x="892" y="880"/>
                  </a:lnTo>
                  <a:lnTo>
                    <a:pt x="887" y="862"/>
                  </a:lnTo>
                  <a:lnTo>
                    <a:pt x="883" y="844"/>
                  </a:lnTo>
                  <a:lnTo>
                    <a:pt x="877" y="829"/>
                  </a:lnTo>
                  <a:lnTo>
                    <a:pt x="869" y="816"/>
                  </a:lnTo>
                  <a:lnTo>
                    <a:pt x="869" y="816"/>
                  </a:lnTo>
                  <a:lnTo>
                    <a:pt x="861" y="803"/>
                  </a:lnTo>
                  <a:lnTo>
                    <a:pt x="851" y="792"/>
                  </a:lnTo>
                  <a:lnTo>
                    <a:pt x="839" y="783"/>
                  </a:lnTo>
                  <a:lnTo>
                    <a:pt x="826" y="775"/>
                  </a:lnTo>
                  <a:lnTo>
                    <a:pt x="826" y="775"/>
                  </a:lnTo>
                  <a:lnTo>
                    <a:pt x="812" y="769"/>
                  </a:lnTo>
                  <a:lnTo>
                    <a:pt x="796" y="765"/>
                  </a:lnTo>
                  <a:lnTo>
                    <a:pt x="779" y="762"/>
                  </a:lnTo>
                  <a:lnTo>
                    <a:pt x="759" y="762"/>
                  </a:lnTo>
                  <a:lnTo>
                    <a:pt x="759" y="762"/>
                  </a:lnTo>
                  <a:lnTo>
                    <a:pt x="740" y="762"/>
                  </a:lnTo>
                  <a:lnTo>
                    <a:pt x="722" y="766"/>
                  </a:lnTo>
                  <a:lnTo>
                    <a:pt x="706" y="770"/>
                  </a:lnTo>
                  <a:lnTo>
                    <a:pt x="691" y="776"/>
                  </a:lnTo>
                  <a:lnTo>
                    <a:pt x="691" y="776"/>
                  </a:lnTo>
                  <a:lnTo>
                    <a:pt x="679" y="784"/>
                  </a:lnTo>
                  <a:lnTo>
                    <a:pt x="666" y="795"/>
                  </a:lnTo>
                  <a:lnTo>
                    <a:pt x="655" y="805"/>
                  </a:lnTo>
                  <a:lnTo>
                    <a:pt x="646" y="818"/>
                  </a:lnTo>
                  <a:lnTo>
                    <a:pt x="646" y="818"/>
                  </a:lnTo>
                  <a:lnTo>
                    <a:pt x="638" y="833"/>
                  </a:lnTo>
                  <a:lnTo>
                    <a:pt x="631" y="848"/>
                  </a:lnTo>
                  <a:lnTo>
                    <a:pt x="625" y="865"/>
                  </a:lnTo>
                  <a:lnTo>
                    <a:pt x="622" y="884"/>
                  </a:lnTo>
                  <a:lnTo>
                    <a:pt x="622" y="884"/>
                  </a:lnTo>
                  <a:lnTo>
                    <a:pt x="619" y="904"/>
                  </a:lnTo>
                  <a:lnTo>
                    <a:pt x="616" y="925"/>
                  </a:lnTo>
                  <a:lnTo>
                    <a:pt x="614" y="947"/>
                  </a:lnTo>
                  <a:lnTo>
                    <a:pt x="614" y="970"/>
                  </a:lnTo>
                  <a:lnTo>
                    <a:pt x="614" y="970"/>
                  </a:lnTo>
                  <a:lnTo>
                    <a:pt x="615" y="993"/>
                  </a:lnTo>
                  <a:lnTo>
                    <a:pt x="616" y="1015"/>
                  </a:lnTo>
                  <a:lnTo>
                    <a:pt x="619" y="1036"/>
                  </a:lnTo>
                  <a:lnTo>
                    <a:pt x="621" y="1056"/>
                  </a:lnTo>
                  <a:lnTo>
                    <a:pt x="621" y="1056"/>
                  </a:lnTo>
                  <a:lnTo>
                    <a:pt x="624" y="1074"/>
                  </a:lnTo>
                  <a:lnTo>
                    <a:pt x="630" y="1090"/>
                  </a:lnTo>
                  <a:lnTo>
                    <a:pt x="636" y="1107"/>
                  </a:lnTo>
                  <a:lnTo>
                    <a:pt x="643" y="1120"/>
                  </a:lnTo>
                  <a:lnTo>
                    <a:pt x="643" y="1120"/>
                  </a:lnTo>
                  <a:close/>
                  <a:moveTo>
                    <a:pt x="698" y="904"/>
                  </a:moveTo>
                  <a:lnTo>
                    <a:pt x="698" y="904"/>
                  </a:lnTo>
                  <a:lnTo>
                    <a:pt x="702" y="880"/>
                  </a:lnTo>
                  <a:lnTo>
                    <a:pt x="704" y="870"/>
                  </a:lnTo>
                  <a:lnTo>
                    <a:pt x="707" y="861"/>
                  </a:lnTo>
                  <a:lnTo>
                    <a:pt x="707" y="861"/>
                  </a:lnTo>
                  <a:lnTo>
                    <a:pt x="711" y="852"/>
                  </a:lnTo>
                  <a:lnTo>
                    <a:pt x="715" y="846"/>
                  </a:lnTo>
                  <a:lnTo>
                    <a:pt x="720" y="840"/>
                  </a:lnTo>
                  <a:lnTo>
                    <a:pt x="726" y="835"/>
                  </a:lnTo>
                  <a:lnTo>
                    <a:pt x="726" y="835"/>
                  </a:lnTo>
                  <a:lnTo>
                    <a:pt x="732" y="831"/>
                  </a:lnTo>
                  <a:lnTo>
                    <a:pt x="740" y="828"/>
                  </a:lnTo>
                  <a:lnTo>
                    <a:pt x="747" y="826"/>
                  </a:lnTo>
                  <a:lnTo>
                    <a:pt x="756" y="826"/>
                  </a:lnTo>
                  <a:lnTo>
                    <a:pt x="756" y="826"/>
                  </a:lnTo>
                  <a:lnTo>
                    <a:pt x="766" y="826"/>
                  </a:lnTo>
                  <a:lnTo>
                    <a:pt x="774" y="828"/>
                  </a:lnTo>
                  <a:lnTo>
                    <a:pt x="774" y="828"/>
                  </a:lnTo>
                  <a:lnTo>
                    <a:pt x="784" y="832"/>
                  </a:lnTo>
                  <a:lnTo>
                    <a:pt x="790" y="837"/>
                  </a:lnTo>
                  <a:lnTo>
                    <a:pt x="790" y="837"/>
                  </a:lnTo>
                  <a:lnTo>
                    <a:pt x="796" y="846"/>
                  </a:lnTo>
                  <a:lnTo>
                    <a:pt x="802" y="855"/>
                  </a:lnTo>
                  <a:lnTo>
                    <a:pt x="802" y="855"/>
                  </a:lnTo>
                  <a:lnTo>
                    <a:pt x="807" y="868"/>
                  </a:lnTo>
                  <a:lnTo>
                    <a:pt x="810" y="883"/>
                  </a:lnTo>
                  <a:lnTo>
                    <a:pt x="810" y="883"/>
                  </a:lnTo>
                  <a:lnTo>
                    <a:pt x="812" y="900"/>
                  </a:lnTo>
                  <a:lnTo>
                    <a:pt x="815" y="919"/>
                  </a:lnTo>
                  <a:lnTo>
                    <a:pt x="815" y="919"/>
                  </a:lnTo>
                  <a:lnTo>
                    <a:pt x="816" y="944"/>
                  </a:lnTo>
                  <a:lnTo>
                    <a:pt x="817" y="970"/>
                  </a:lnTo>
                  <a:lnTo>
                    <a:pt x="817" y="970"/>
                  </a:lnTo>
                  <a:lnTo>
                    <a:pt x="816" y="1013"/>
                  </a:lnTo>
                  <a:lnTo>
                    <a:pt x="816" y="1013"/>
                  </a:lnTo>
                  <a:lnTo>
                    <a:pt x="815" y="1032"/>
                  </a:lnTo>
                  <a:lnTo>
                    <a:pt x="812" y="1048"/>
                  </a:lnTo>
                  <a:lnTo>
                    <a:pt x="812" y="1048"/>
                  </a:lnTo>
                  <a:lnTo>
                    <a:pt x="809" y="1062"/>
                  </a:lnTo>
                  <a:lnTo>
                    <a:pt x="804" y="1074"/>
                  </a:lnTo>
                  <a:lnTo>
                    <a:pt x="804" y="1074"/>
                  </a:lnTo>
                  <a:lnTo>
                    <a:pt x="800" y="1085"/>
                  </a:lnTo>
                  <a:lnTo>
                    <a:pt x="793" y="1094"/>
                  </a:lnTo>
                  <a:lnTo>
                    <a:pt x="793" y="1094"/>
                  </a:lnTo>
                  <a:lnTo>
                    <a:pt x="786" y="1101"/>
                  </a:lnTo>
                  <a:lnTo>
                    <a:pt x="777" y="1105"/>
                  </a:lnTo>
                  <a:lnTo>
                    <a:pt x="777" y="1105"/>
                  </a:lnTo>
                  <a:lnTo>
                    <a:pt x="767" y="1109"/>
                  </a:lnTo>
                  <a:lnTo>
                    <a:pt x="756" y="1109"/>
                  </a:lnTo>
                  <a:lnTo>
                    <a:pt x="756" y="1109"/>
                  </a:lnTo>
                  <a:lnTo>
                    <a:pt x="748" y="1109"/>
                  </a:lnTo>
                  <a:lnTo>
                    <a:pt x="741" y="1108"/>
                  </a:lnTo>
                  <a:lnTo>
                    <a:pt x="735" y="1105"/>
                  </a:lnTo>
                  <a:lnTo>
                    <a:pt x="728" y="1103"/>
                  </a:lnTo>
                  <a:lnTo>
                    <a:pt x="728" y="1103"/>
                  </a:lnTo>
                  <a:lnTo>
                    <a:pt x="724" y="1099"/>
                  </a:lnTo>
                  <a:lnTo>
                    <a:pt x="718" y="1094"/>
                  </a:lnTo>
                  <a:lnTo>
                    <a:pt x="714" y="1088"/>
                  </a:lnTo>
                  <a:lnTo>
                    <a:pt x="710" y="1080"/>
                  </a:lnTo>
                  <a:lnTo>
                    <a:pt x="710" y="1080"/>
                  </a:lnTo>
                  <a:lnTo>
                    <a:pt x="706" y="1071"/>
                  </a:lnTo>
                  <a:lnTo>
                    <a:pt x="704" y="1060"/>
                  </a:lnTo>
                  <a:lnTo>
                    <a:pt x="702" y="1049"/>
                  </a:lnTo>
                  <a:lnTo>
                    <a:pt x="699" y="1036"/>
                  </a:lnTo>
                  <a:lnTo>
                    <a:pt x="699" y="1036"/>
                  </a:lnTo>
                  <a:lnTo>
                    <a:pt x="697" y="1004"/>
                  </a:lnTo>
                  <a:lnTo>
                    <a:pt x="696" y="966"/>
                  </a:lnTo>
                  <a:lnTo>
                    <a:pt x="696" y="966"/>
                  </a:lnTo>
                  <a:lnTo>
                    <a:pt x="696" y="933"/>
                  </a:lnTo>
                  <a:lnTo>
                    <a:pt x="698" y="904"/>
                  </a:lnTo>
                  <a:lnTo>
                    <a:pt x="698" y="904"/>
                  </a:lnTo>
                  <a:close/>
                  <a:moveTo>
                    <a:pt x="569" y="1868"/>
                  </a:moveTo>
                  <a:lnTo>
                    <a:pt x="569" y="1868"/>
                  </a:lnTo>
                  <a:lnTo>
                    <a:pt x="568" y="1864"/>
                  </a:lnTo>
                  <a:lnTo>
                    <a:pt x="565" y="1862"/>
                  </a:lnTo>
                  <a:lnTo>
                    <a:pt x="565" y="1862"/>
                  </a:lnTo>
                  <a:lnTo>
                    <a:pt x="563" y="1861"/>
                  </a:lnTo>
                  <a:lnTo>
                    <a:pt x="560" y="1861"/>
                  </a:lnTo>
                  <a:lnTo>
                    <a:pt x="495" y="1861"/>
                  </a:lnTo>
                  <a:lnTo>
                    <a:pt x="494" y="1533"/>
                  </a:lnTo>
                  <a:lnTo>
                    <a:pt x="494" y="1533"/>
                  </a:lnTo>
                  <a:lnTo>
                    <a:pt x="493" y="1529"/>
                  </a:lnTo>
                  <a:lnTo>
                    <a:pt x="493" y="1528"/>
                  </a:lnTo>
                  <a:lnTo>
                    <a:pt x="493" y="1528"/>
                  </a:lnTo>
                  <a:lnTo>
                    <a:pt x="490" y="1526"/>
                  </a:lnTo>
                  <a:lnTo>
                    <a:pt x="487" y="1525"/>
                  </a:lnTo>
                  <a:lnTo>
                    <a:pt x="487" y="1525"/>
                  </a:lnTo>
                  <a:lnTo>
                    <a:pt x="477" y="1524"/>
                  </a:lnTo>
                  <a:lnTo>
                    <a:pt x="477" y="1524"/>
                  </a:lnTo>
                  <a:lnTo>
                    <a:pt x="458" y="1522"/>
                  </a:lnTo>
                  <a:lnTo>
                    <a:pt x="458" y="1522"/>
                  </a:lnTo>
                  <a:lnTo>
                    <a:pt x="442" y="1524"/>
                  </a:lnTo>
                  <a:lnTo>
                    <a:pt x="442" y="1524"/>
                  </a:lnTo>
                  <a:lnTo>
                    <a:pt x="433" y="1524"/>
                  </a:lnTo>
                  <a:lnTo>
                    <a:pt x="433" y="1524"/>
                  </a:lnTo>
                  <a:lnTo>
                    <a:pt x="427" y="1525"/>
                  </a:lnTo>
                  <a:lnTo>
                    <a:pt x="427" y="1525"/>
                  </a:lnTo>
                  <a:lnTo>
                    <a:pt x="422" y="1527"/>
                  </a:lnTo>
                  <a:lnTo>
                    <a:pt x="337" y="1583"/>
                  </a:lnTo>
                  <a:lnTo>
                    <a:pt x="337" y="1583"/>
                  </a:lnTo>
                  <a:lnTo>
                    <a:pt x="331" y="1587"/>
                  </a:lnTo>
                  <a:lnTo>
                    <a:pt x="331" y="1587"/>
                  </a:lnTo>
                  <a:lnTo>
                    <a:pt x="330" y="1589"/>
                  </a:lnTo>
                  <a:lnTo>
                    <a:pt x="329" y="1593"/>
                  </a:lnTo>
                  <a:lnTo>
                    <a:pt x="329" y="1593"/>
                  </a:lnTo>
                  <a:lnTo>
                    <a:pt x="327" y="1601"/>
                  </a:lnTo>
                  <a:lnTo>
                    <a:pt x="327" y="1601"/>
                  </a:lnTo>
                  <a:lnTo>
                    <a:pt x="327" y="1614"/>
                  </a:lnTo>
                  <a:lnTo>
                    <a:pt x="327" y="1614"/>
                  </a:lnTo>
                  <a:lnTo>
                    <a:pt x="328" y="1631"/>
                  </a:lnTo>
                  <a:lnTo>
                    <a:pt x="328" y="1631"/>
                  </a:lnTo>
                  <a:lnTo>
                    <a:pt x="329" y="1637"/>
                  </a:lnTo>
                  <a:lnTo>
                    <a:pt x="331" y="1640"/>
                  </a:lnTo>
                  <a:lnTo>
                    <a:pt x="331" y="1640"/>
                  </a:lnTo>
                  <a:lnTo>
                    <a:pt x="335" y="1643"/>
                  </a:lnTo>
                  <a:lnTo>
                    <a:pt x="338" y="1643"/>
                  </a:lnTo>
                  <a:lnTo>
                    <a:pt x="338" y="1643"/>
                  </a:lnTo>
                  <a:lnTo>
                    <a:pt x="344" y="1641"/>
                  </a:lnTo>
                  <a:lnTo>
                    <a:pt x="350" y="1638"/>
                  </a:lnTo>
                  <a:lnTo>
                    <a:pt x="413" y="1602"/>
                  </a:lnTo>
                  <a:lnTo>
                    <a:pt x="414" y="1861"/>
                  </a:lnTo>
                  <a:lnTo>
                    <a:pt x="340" y="1862"/>
                  </a:lnTo>
                  <a:lnTo>
                    <a:pt x="340" y="1862"/>
                  </a:lnTo>
                  <a:lnTo>
                    <a:pt x="338" y="1862"/>
                  </a:lnTo>
                  <a:lnTo>
                    <a:pt x="336" y="1863"/>
                  </a:lnTo>
                  <a:lnTo>
                    <a:pt x="336" y="1863"/>
                  </a:lnTo>
                  <a:lnTo>
                    <a:pt x="334" y="1866"/>
                  </a:lnTo>
                  <a:lnTo>
                    <a:pt x="332" y="1869"/>
                  </a:lnTo>
                  <a:lnTo>
                    <a:pt x="332" y="1869"/>
                  </a:lnTo>
                  <a:lnTo>
                    <a:pt x="331" y="1872"/>
                  </a:lnTo>
                  <a:lnTo>
                    <a:pt x="330" y="1878"/>
                  </a:lnTo>
                  <a:lnTo>
                    <a:pt x="330" y="1878"/>
                  </a:lnTo>
                  <a:lnTo>
                    <a:pt x="329" y="1893"/>
                  </a:lnTo>
                  <a:lnTo>
                    <a:pt x="329" y="1893"/>
                  </a:lnTo>
                  <a:lnTo>
                    <a:pt x="330" y="1908"/>
                  </a:lnTo>
                  <a:lnTo>
                    <a:pt x="330" y="1908"/>
                  </a:lnTo>
                  <a:lnTo>
                    <a:pt x="331" y="1913"/>
                  </a:lnTo>
                  <a:lnTo>
                    <a:pt x="332" y="1918"/>
                  </a:lnTo>
                  <a:lnTo>
                    <a:pt x="332" y="1918"/>
                  </a:lnTo>
                  <a:lnTo>
                    <a:pt x="335" y="1921"/>
                  </a:lnTo>
                  <a:lnTo>
                    <a:pt x="337" y="1922"/>
                  </a:lnTo>
                  <a:lnTo>
                    <a:pt x="337" y="1922"/>
                  </a:lnTo>
                  <a:lnTo>
                    <a:pt x="339" y="1923"/>
                  </a:lnTo>
                  <a:lnTo>
                    <a:pt x="342" y="1924"/>
                  </a:lnTo>
                  <a:lnTo>
                    <a:pt x="561" y="1923"/>
                  </a:lnTo>
                  <a:lnTo>
                    <a:pt x="561" y="1923"/>
                  </a:lnTo>
                  <a:lnTo>
                    <a:pt x="563" y="1922"/>
                  </a:lnTo>
                  <a:lnTo>
                    <a:pt x="565" y="1921"/>
                  </a:lnTo>
                  <a:lnTo>
                    <a:pt x="565" y="1921"/>
                  </a:lnTo>
                  <a:lnTo>
                    <a:pt x="568" y="1920"/>
                  </a:lnTo>
                  <a:lnTo>
                    <a:pt x="569" y="1916"/>
                  </a:lnTo>
                  <a:lnTo>
                    <a:pt x="569" y="1916"/>
                  </a:lnTo>
                  <a:lnTo>
                    <a:pt x="571" y="1907"/>
                  </a:lnTo>
                  <a:lnTo>
                    <a:pt x="571" y="1907"/>
                  </a:lnTo>
                  <a:lnTo>
                    <a:pt x="572" y="1892"/>
                  </a:lnTo>
                  <a:lnTo>
                    <a:pt x="572" y="1892"/>
                  </a:lnTo>
                  <a:lnTo>
                    <a:pt x="571" y="1877"/>
                  </a:lnTo>
                  <a:lnTo>
                    <a:pt x="571" y="1877"/>
                  </a:lnTo>
                  <a:lnTo>
                    <a:pt x="570" y="1871"/>
                  </a:lnTo>
                  <a:lnTo>
                    <a:pt x="569" y="1868"/>
                  </a:lnTo>
                  <a:lnTo>
                    <a:pt x="569" y="1868"/>
                  </a:lnTo>
                  <a:close/>
                  <a:moveTo>
                    <a:pt x="2150" y="1569"/>
                  </a:moveTo>
                  <a:lnTo>
                    <a:pt x="2150" y="1569"/>
                  </a:lnTo>
                  <a:lnTo>
                    <a:pt x="2178" y="1565"/>
                  </a:lnTo>
                  <a:lnTo>
                    <a:pt x="2205" y="1559"/>
                  </a:lnTo>
                  <a:lnTo>
                    <a:pt x="2233" y="1554"/>
                  </a:lnTo>
                  <a:lnTo>
                    <a:pt x="2258" y="1546"/>
                  </a:lnTo>
                  <a:lnTo>
                    <a:pt x="2285" y="1537"/>
                  </a:lnTo>
                  <a:lnTo>
                    <a:pt x="2310" y="1527"/>
                  </a:lnTo>
                  <a:lnTo>
                    <a:pt x="2336" y="1517"/>
                  </a:lnTo>
                  <a:lnTo>
                    <a:pt x="2360" y="1504"/>
                  </a:lnTo>
                  <a:lnTo>
                    <a:pt x="2383" y="1491"/>
                  </a:lnTo>
                  <a:lnTo>
                    <a:pt x="2406" y="1477"/>
                  </a:lnTo>
                  <a:lnTo>
                    <a:pt x="2428" y="1462"/>
                  </a:lnTo>
                  <a:lnTo>
                    <a:pt x="2450" y="1446"/>
                  </a:lnTo>
                  <a:lnTo>
                    <a:pt x="2471" y="1429"/>
                  </a:lnTo>
                  <a:lnTo>
                    <a:pt x="2490" y="1410"/>
                  </a:lnTo>
                  <a:lnTo>
                    <a:pt x="2510" y="1392"/>
                  </a:lnTo>
                  <a:lnTo>
                    <a:pt x="2527" y="1372"/>
                  </a:lnTo>
                  <a:lnTo>
                    <a:pt x="2546" y="1353"/>
                  </a:lnTo>
                  <a:lnTo>
                    <a:pt x="2562" y="1331"/>
                  </a:lnTo>
                  <a:lnTo>
                    <a:pt x="2577" y="1309"/>
                  </a:lnTo>
                  <a:lnTo>
                    <a:pt x="2592" y="1287"/>
                  </a:lnTo>
                  <a:lnTo>
                    <a:pt x="2606" y="1263"/>
                  </a:lnTo>
                  <a:lnTo>
                    <a:pt x="2618" y="1239"/>
                  </a:lnTo>
                  <a:lnTo>
                    <a:pt x="2629" y="1214"/>
                  </a:lnTo>
                  <a:lnTo>
                    <a:pt x="2639" y="1190"/>
                  </a:lnTo>
                  <a:lnTo>
                    <a:pt x="2648" y="1163"/>
                  </a:lnTo>
                  <a:lnTo>
                    <a:pt x="2657" y="1138"/>
                  </a:lnTo>
                  <a:lnTo>
                    <a:pt x="2663" y="1111"/>
                  </a:lnTo>
                  <a:lnTo>
                    <a:pt x="2669" y="1084"/>
                  </a:lnTo>
                  <a:lnTo>
                    <a:pt x="2674" y="1056"/>
                  </a:lnTo>
                  <a:lnTo>
                    <a:pt x="2677" y="1028"/>
                  </a:lnTo>
                  <a:lnTo>
                    <a:pt x="2680" y="999"/>
                  </a:lnTo>
                  <a:lnTo>
                    <a:pt x="2680" y="970"/>
                  </a:lnTo>
                  <a:lnTo>
                    <a:pt x="2680" y="970"/>
                  </a:lnTo>
                  <a:lnTo>
                    <a:pt x="2678" y="941"/>
                  </a:lnTo>
                  <a:lnTo>
                    <a:pt x="2676" y="913"/>
                  </a:lnTo>
                  <a:lnTo>
                    <a:pt x="2673" y="884"/>
                  </a:lnTo>
                  <a:lnTo>
                    <a:pt x="2668" y="855"/>
                  </a:lnTo>
                  <a:lnTo>
                    <a:pt x="2661" y="827"/>
                  </a:lnTo>
                  <a:lnTo>
                    <a:pt x="2654" y="799"/>
                  </a:lnTo>
                  <a:lnTo>
                    <a:pt x="2645" y="773"/>
                  </a:lnTo>
                  <a:lnTo>
                    <a:pt x="2636" y="747"/>
                  </a:lnTo>
                  <a:lnTo>
                    <a:pt x="2624" y="721"/>
                  </a:lnTo>
                  <a:lnTo>
                    <a:pt x="2612" y="697"/>
                  </a:lnTo>
                  <a:lnTo>
                    <a:pt x="2599" y="672"/>
                  </a:lnTo>
                  <a:lnTo>
                    <a:pt x="2584" y="648"/>
                  </a:lnTo>
                  <a:lnTo>
                    <a:pt x="2569" y="626"/>
                  </a:lnTo>
                  <a:lnTo>
                    <a:pt x="2552" y="604"/>
                  </a:lnTo>
                  <a:lnTo>
                    <a:pt x="2534" y="582"/>
                  </a:lnTo>
                  <a:lnTo>
                    <a:pt x="2516" y="563"/>
                  </a:lnTo>
                  <a:lnTo>
                    <a:pt x="2496" y="543"/>
                  </a:lnTo>
                  <a:lnTo>
                    <a:pt x="2476" y="524"/>
                  </a:lnTo>
                  <a:lnTo>
                    <a:pt x="2456" y="506"/>
                  </a:lnTo>
                  <a:lnTo>
                    <a:pt x="2434" y="490"/>
                  </a:lnTo>
                  <a:lnTo>
                    <a:pt x="2411" y="474"/>
                  </a:lnTo>
                  <a:lnTo>
                    <a:pt x="2388" y="459"/>
                  </a:lnTo>
                  <a:lnTo>
                    <a:pt x="2363" y="446"/>
                  </a:lnTo>
                  <a:lnTo>
                    <a:pt x="2338" y="433"/>
                  </a:lnTo>
                  <a:lnTo>
                    <a:pt x="2313" y="422"/>
                  </a:lnTo>
                  <a:lnTo>
                    <a:pt x="2287" y="411"/>
                  </a:lnTo>
                  <a:lnTo>
                    <a:pt x="2261" y="402"/>
                  </a:lnTo>
                  <a:lnTo>
                    <a:pt x="2233" y="394"/>
                  </a:lnTo>
                  <a:lnTo>
                    <a:pt x="2205" y="388"/>
                  </a:lnTo>
                  <a:lnTo>
                    <a:pt x="2178" y="382"/>
                  </a:lnTo>
                  <a:lnTo>
                    <a:pt x="2149" y="379"/>
                  </a:lnTo>
                  <a:lnTo>
                    <a:pt x="2120" y="377"/>
                  </a:lnTo>
                  <a:lnTo>
                    <a:pt x="2120" y="377"/>
                  </a:lnTo>
                  <a:lnTo>
                    <a:pt x="2129" y="366"/>
                  </a:lnTo>
                  <a:lnTo>
                    <a:pt x="2137" y="356"/>
                  </a:lnTo>
                  <a:lnTo>
                    <a:pt x="2137" y="356"/>
                  </a:lnTo>
                  <a:lnTo>
                    <a:pt x="2145" y="341"/>
                  </a:lnTo>
                  <a:lnTo>
                    <a:pt x="2152" y="326"/>
                  </a:lnTo>
                  <a:lnTo>
                    <a:pt x="2157" y="308"/>
                  </a:lnTo>
                  <a:lnTo>
                    <a:pt x="2161" y="290"/>
                  </a:lnTo>
                  <a:lnTo>
                    <a:pt x="2161" y="290"/>
                  </a:lnTo>
                  <a:lnTo>
                    <a:pt x="2165" y="270"/>
                  </a:lnTo>
                  <a:lnTo>
                    <a:pt x="2167" y="250"/>
                  </a:lnTo>
                  <a:lnTo>
                    <a:pt x="2168" y="226"/>
                  </a:lnTo>
                  <a:lnTo>
                    <a:pt x="2168" y="203"/>
                  </a:lnTo>
                  <a:lnTo>
                    <a:pt x="2168" y="203"/>
                  </a:lnTo>
                  <a:lnTo>
                    <a:pt x="2168" y="180"/>
                  </a:lnTo>
                  <a:lnTo>
                    <a:pt x="2167" y="158"/>
                  </a:lnTo>
                  <a:lnTo>
                    <a:pt x="2165" y="137"/>
                  </a:lnTo>
                  <a:lnTo>
                    <a:pt x="2163" y="118"/>
                  </a:lnTo>
                  <a:lnTo>
                    <a:pt x="2163" y="118"/>
                  </a:lnTo>
                  <a:lnTo>
                    <a:pt x="2159" y="99"/>
                  </a:lnTo>
                  <a:lnTo>
                    <a:pt x="2153" y="83"/>
                  </a:lnTo>
                  <a:lnTo>
                    <a:pt x="2148" y="67"/>
                  </a:lnTo>
                  <a:lnTo>
                    <a:pt x="2141" y="53"/>
                  </a:lnTo>
                  <a:lnTo>
                    <a:pt x="2141" y="53"/>
                  </a:lnTo>
                  <a:lnTo>
                    <a:pt x="2131" y="42"/>
                  </a:lnTo>
                  <a:lnTo>
                    <a:pt x="2122" y="30"/>
                  </a:lnTo>
                  <a:lnTo>
                    <a:pt x="2111" y="21"/>
                  </a:lnTo>
                  <a:lnTo>
                    <a:pt x="2098" y="14"/>
                  </a:lnTo>
                  <a:lnTo>
                    <a:pt x="2098" y="14"/>
                  </a:lnTo>
                  <a:lnTo>
                    <a:pt x="2083" y="8"/>
                  </a:lnTo>
                  <a:lnTo>
                    <a:pt x="2067" y="3"/>
                  </a:lnTo>
                  <a:lnTo>
                    <a:pt x="2050" y="1"/>
                  </a:lnTo>
                  <a:lnTo>
                    <a:pt x="2030" y="0"/>
                  </a:lnTo>
                  <a:lnTo>
                    <a:pt x="2030" y="0"/>
                  </a:lnTo>
                  <a:lnTo>
                    <a:pt x="2010" y="1"/>
                  </a:lnTo>
                  <a:lnTo>
                    <a:pt x="1993" y="3"/>
                  </a:lnTo>
                  <a:lnTo>
                    <a:pt x="1977" y="8"/>
                  </a:lnTo>
                  <a:lnTo>
                    <a:pt x="1962" y="15"/>
                  </a:lnTo>
                  <a:lnTo>
                    <a:pt x="1962" y="15"/>
                  </a:lnTo>
                  <a:lnTo>
                    <a:pt x="1949" y="23"/>
                  </a:lnTo>
                  <a:lnTo>
                    <a:pt x="1938" y="32"/>
                  </a:lnTo>
                  <a:lnTo>
                    <a:pt x="1926" y="44"/>
                  </a:lnTo>
                  <a:lnTo>
                    <a:pt x="1917" y="57"/>
                  </a:lnTo>
                  <a:lnTo>
                    <a:pt x="1917" y="57"/>
                  </a:lnTo>
                  <a:lnTo>
                    <a:pt x="1909" y="70"/>
                  </a:lnTo>
                  <a:lnTo>
                    <a:pt x="1902" y="87"/>
                  </a:lnTo>
                  <a:lnTo>
                    <a:pt x="1897" y="104"/>
                  </a:lnTo>
                  <a:lnTo>
                    <a:pt x="1893" y="122"/>
                  </a:lnTo>
                  <a:lnTo>
                    <a:pt x="1893" y="122"/>
                  </a:lnTo>
                  <a:lnTo>
                    <a:pt x="1889" y="142"/>
                  </a:lnTo>
                  <a:lnTo>
                    <a:pt x="1887" y="163"/>
                  </a:lnTo>
                  <a:lnTo>
                    <a:pt x="1886" y="185"/>
                  </a:lnTo>
                  <a:lnTo>
                    <a:pt x="1884" y="208"/>
                  </a:lnTo>
                  <a:lnTo>
                    <a:pt x="1884" y="208"/>
                  </a:lnTo>
                  <a:lnTo>
                    <a:pt x="1886" y="231"/>
                  </a:lnTo>
                  <a:lnTo>
                    <a:pt x="1887" y="254"/>
                  </a:lnTo>
                  <a:lnTo>
                    <a:pt x="1889" y="275"/>
                  </a:lnTo>
                  <a:lnTo>
                    <a:pt x="1891" y="295"/>
                  </a:lnTo>
                  <a:lnTo>
                    <a:pt x="1891" y="295"/>
                  </a:lnTo>
                  <a:lnTo>
                    <a:pt x="1896" y="312"/>
                  </a:lnTo>
                  <a:lnTo>
                    <a:pt x="1901" y="329"/>
                  </a:lnTo>
                  <a:lnTo>
                    <a:pt x="1906" y="344"/>
                  </a:lnTo>
                  <a:lnTo>
                    <a:pt x="1914" y="358"/>
                  </a:lnTo>
                  <a:lnTo>
                    <a:pt x="1914" y="358"/>
                  </a:lnTo>
                  <a:lnTo>
                    <a:pt x="1920" y="367"/>
                  </a:lnTo>
                  <a:lnTo>
                    <a:pt x="1928" y="375"/>
                  </a:lnTo>
                  <a:lnTo>
                    <a:pt x="1936" y="384"/>
                  </a:lnTo>
                  <a:lnTo>
                    <a:pt x="1944" y="390"/>
                  </a:lnTo>
                  <a:lnTo>
                    <a:pt x="1944" y="390"/>
                  </a:lnTo>
                  <a:lnTo>
                    <a:pt x="1925" y="395"/>
                  </a:lnTo>
                  <a:lnTo>
                    <a:pt x="1905" y="401"/>
                  </a:lnTo>
                  <a:lnTo>
                    <a:pt x="1867" y="414"/>
                  </a:lnTo>
                  <a:lnTo>
                    <a:pt x="1830" y="430"/>
                  </a:lnTo>
                  <a:lnTo>
                    <a:pt x="1794" y="447"/>
                  </a:lnTo>
                  <a:lnTo>
                    <a:pt x="1761" y="468"/>
                  </a:lnTo>
                  <a:lnTo>
                    <a:pt x="1728" y="490"/>
                  </a:lnTo>
                  <a:lnTo>
                    <a:pt x="1696" y="514"/>
                  </a:lnTo>
                  <a:lnTo>
                    <a:pt x="1668" y="541"/>
                  </a:lnTo>
                  <a:lnTo>
                    <a:pt x="1640" y="568"/>
                  </a:lnTo>
                  <a:lnTo>
                    <a:pt x="1614" y="598"/>
                  </a:lnTo>
                  <a:lnTo>
                    <a:pt x="1590" y="630"/>
                  </a:lnTo>
                  <a:lnTo>
                    <a:pt x="1568" y="663"/>
                  </a:lnTo>
                  <a:lnTo>
                    <a:pt x="1549" y="698"/>
                  </a:lnTo>
                  <a:lnTo>
                    <a:pt x="1533" y="734"/>
                  </a:lnTo>
                  <a:lnTo>
                    <a:pt x="1518" y="772"/>
                  </a:lnTo>
                  <a:lnTo>
                    <a:pt x="1505" y="810"/>
                  </a:lnTo>
                  <a:lnTo>
                    <a:pt x="1505" y="810"/>
                  </a:lnTo>
                  <a:lnTo>
                    <a:pt x="1497" y="798"/>
                  </a:lnTo>
                  <a:lnTo>
                    <a:pt x="1486" y="788"/>
                  </a:lnTo>
                  <a:lnTo>
                    <a:pt x="1476" y="780"/>
                  </a:lnTo>
                  <a:lnTo>
                    <a:pt x="1464" y="772"/>
                  </a:lnTo>
                  <a:lnTo>
                    <a:pt x="1464" y="772"/>
                  </a:lnTo>
                  <a:lnTo>
                    <a:pt x="1449" y="766"/>
                  </a:lnTo>
                  <a:lnTo>
                    <a:pt x="1433" y="762"/>
                  </a:lnTo>
                  <a:lnTo>
                    <a:pt x="1416" y="759"/>
                  </a:lnTo>
                  <a:lnTo>
                    <a:pt x="1396" y="759"/>
                  </a:lnTo>
                  <a:lnTo>
                    <a:pt x="1396" y="759"/>
                  </a:lnTo>
                  <a:lnTo>
                    <a:pt x="1377" y="760"/>
                  </a:lnTo>
                  <a:lnTo>
                    <a:pt x="1359" y="762"/>
                  </a:lnTo>
                  <a:lnTo>
                    <a:pt x="1343" y="767"/>
                  </a:lnTo>
                  <a:lnTo>
                    <a:pt x="1328" y="774"/>
                  </a:lnTo>
                  <a:lnTo>
                    <a:pt x="1328" y="774"/>
                  </a:lnTo>
                  <a:lnTo>
                    <a:pt x="1316" y="781"/>
                  </a:lnTo>
                  <a:lnTo>
                    <a:pt x="1304" y="791"/>
                  </a:lnTo>
                  <a:lnTo>
                    <a:pt x="1292" y="803"/>
                  </a:lnTo>
                  <a:lnTo>
                    <a:pt x="1283" y="816"/>
                  </a:lnTo>
                  <a:lnTo>
                    <a:pt x="1283" y="816"/>
                  </a:lnTo>
                  <a:lnTo>
                    <a:pt x="1275" y="829"/>
                  </a:lnTo>
                  <a:lnTo>
                    <a:pt x="1269" y="846"/>
                  </a:lnTo>
                  <a:lnTo>
                    <a:pt x="1264" y="862"/>
                  </a:lnTo>
                  <a:lnTo>
                    <a:pt x="1259" y="881"/>
                  </a:lnTo>
                  <a:lnTo>
                    <a:pt x="1259" y="881"/>
                  </a:lnTo>
                  <a:lnTo>
                    <a:pt x="1256" y="901"/>
                  </a:lnTo>
                  <a:lnTo>
                    <a:pt x="1253" y="922"/>
                  </a:lnTo>
                  <a:lnTo>
                    <a:pt x="1252" y="944"/>
                  </a:lnTo>
                  <a:lnTo>
                    <a:pt x="1251" y="967"/>
                  </a:lnTo>
                  <a:lnTo>
                    <a:pt x="1251" y="967"/>
                  </a:lnTo>
                  <a:lnTo>
                    <a:pt x="1252" y="990"/>
                  </a:lnTo>
                  <a:lnTo>
                    <a:pt x="1253" y="1012"/>
                  </a:lnTo>
                  <a:lnTo>
                    <a:pt x="1256" y="1033"/>
                  </a:lnTo>
                  <a:lnTo>
                    <a:pt x="1258" y="1052"/>
                  </a:lnTo>
                  <a:lnTo>
                    <a:pt x="1258" y="1052"/>
                  </a:lnTo>
                  <a:lnTo>
                    <a:pt x="1262" y="1071"/>
                  </a:lnTo>
                  <a:lnTo>
                    <a:pt x="1267" y="1088"/>
                  </a:lnTo>
                  <a:lnTo>
                    <a:pt x="1273" y="1103"/>
                  </a:lnTo>
                  <a:lnTo>
                    <a:pt x="1281" y="1117"/>
                  </a:lnTo>
                  <a:lnTo>
                    <a:pt x="1281" y="1117"/>
                  </a:lnTo>
                  <a:lnTo>
                    <a:pt x="1289" y="1129"/>
                  </a:lnTo>
                  <a:lnTo>
                    <a:pt x="1299" y="1140"/>
                  </a:lnTo>
                  <a:lnTo>
                    <a:pt x="1310" y="1149"/>
                  </a:lnTo>
                  <a:lnTo>
                    <a:pt x="1324" y="1156"/>
                  </a:lnTo>
                  <a:lnTo>
                    <a:pt x="1324" y="1156"/>
                  </a:lnTo>
                  <a:lnTo>
                    <a:pt x="1337" y="1163"/>
                  </a:lnTo>
                  <a:lnTo>
                    <a:pt x="1354" y="1167"/>
                  </a:lnTo>
                  <a:lnTo>
                    <a:pt x="1371" y="1170"/>
                  </a:lnTo>
                  <a:lnTo>
                    <a:pt x="1391" y="1170"/>
                  </a:lnTo>
                  <a:lnTo>
                    <a:pt x="1391" y="1170"/>
                  </a:lnTo>
                  <a:lnTo>
                    <a:pt x="1410" y="1169"/>
                  </a:lnTo>
                  <a:lnTo>
                    <a:pt x="1428" y="1167"/>
                  </a:lnTo>
                  <a:lnTo>
                    <a:pt x="1444" y="1162"/>
                  </a:lnTo>
                  <a:lnTo>
                    <a:pt x="1459" y="1155"/>
                  </a:lnTo>
                  <a:lnTo>
                    <a:pt x="1459" y="1155"/>
                  </a:lnTo>
                  <a:lnTo>
                    <a:pt x="1470" y="1148"/>
                  </a:lnTo>
                  <a:lnTo>
                    <a:pt x="1482" y="1139"/>
                  </a:lnTo>
                  <a:lnTo>
                    <a:pt x="1491" y="1130"/>
                  </a:lnTo>
                  <a:lnTo>
                    <a:pt x="1500" y="1118"/>
                  </a:lnTo>
                  <a:lnTo>
                    <a:pt x="1500" y="1118"/>
                  </a:lnTo>
                  <a:lnTo>
                    <a:pt x="1505" y="1138"/>
                  </a:lnTo>
                  <a:lnTo>
                    <a:pt x="1512" y="1157"/>
                  </a:lnTo>
                  <a:lnTo>
                    <a:pt x="1518" y="1177"/>
                  </a:lnTo>
                  <a:lnTo>
                    <a:pt x="1526" y="1197"/>
                  </a:lnTo>
                  <a:lnTo>
                    <a:pt x="1533" y="1215"/>
                  </a:lnTo>
                  <a:lnTo>
                    <a:pt x="1542" y="1234"/>
                  </a:lnTo>
                  <a:lnTo>
                    <a:pt x="1560" y="1269"/>
                  </a:lnTo>
                  <a:lnTo>
                    <a:pt x="1581" y="1304"/>
                  </a:lnTo>
                  <a:lnTo>
                    <a:pt x="1604" y="1336"/>
                  </a:lnTo>
                  <a:lnTo>
                    <a:pt x="1629" y="1368"/>
                  </a:lnTo>
                  <a:lnTo>
                    <a:pt x="1657" y="1397"/>
                  </a:lnTo>
                  <a:lnTo>
                    <a:pt x="1686" y="1424"/>
                  </a:lnTo>
                  <a:lnTo>
                    <a:pt x="1717" y="1450"/>
                  </a:lnTo>
                  <a:lnTo>
                    <a:pt x="1751" y="1473"/>
                  </a:lnTo>
                  <a:lnTo>
                    <a:pt x="1784" y="1494"/>
                  </a:lnTo>
                  <a:lnTo>
                    <a:pt x="1820" y="1513"/>
                  </a:lnTo>
                  <a:lnTo>
                    <a:pt x="1838" y="1521"/>
                  </a:lnTo>
                  <a:lnTo>
                    <a:pt x="1857" y="1529"/>
                  </a:lnTo>
                  <a:lnTo>
                    <a:pt x="1876" y="1536"/>
                  </a:lnTo>
                  <a:lnTo>
                    <a:pt x="1896" y="1543"/>
                  </a:lnTo>
                  <a:lnTo>
                    <a:pt x="1916" y="1549"/>
                  </a:lnTo>
                  <a:lnTo>
                    <a:pt x="1935" y="1555"/>
                  </a:lnTo>
                  <a:lnTo>
                    <a:pt x="1935" y="1555"/>
                  </a:lnTo>
                  <a:lnTo>
                    <a:pt x="1929" y="1561"/>
                  </a:lnTo>
                  <a:lnTo>
                    <a:pt x="1925" y="1568"/>
                  </a:lnTo>
                  <a:lnTo>
                    <a:pt x="1925" y="1568"/>
                  </a:lnTo>
                  <a:lnTo>
                    <a:pt x="1917" y="1581"/>
                  </a:lnTo>
                  <a:lnTo>
                    <a:pt x="1910" y="1598"/>
                  </a:lnTo>
                  <a:lnTo>
                    <a:pt x="1904" y="1614"/>
                  </a:lnTo>
                  <a:lnTo>
                    <a:pt x="1901" y="1633"/>
                  </a:lnTo>
                  <a:lnTo>
                    <a:pt x="1901" y="1633"/>
                  </a:lnTo>
                  <a:lnTo>
                    <a:pt x="1897" y="1653"/>
                  </a:lnTo>
                  <a:lnTo>
                    <a:pt x="1895" y="1674"/>
                  </a:lnTo>
                  <a:lnTo>
                    <a:pt x="1893" y="1696"/>
                  </a:lnTo>
                  <a:lnTo>
                    <a:pt x="1893" y="1719"/>
                  </a:lnTo>
                  <a:lnTo>
                    <a:pt x="1893" y="1719"/>
                  </a:lnTo>
                  <a:lnTo>
                    <a:pt x="1894" y="1742"/>
                  </a:lnTo>
                  <a:lnTo>
                    <a:pt x="1895" y="1764"/>
                  </a:lnTo>
                  <a:lnTo>
                    <a:pt x="1896" y="1785"/>
                  </a:lnTo>
                  <a:lnTo>
                    <a:pt x="1899" y="1804"/>
                  </a:lnTo>
                  <a:lnTo>
                    <a:pt x="1899" y="1804"/>
                  </a:lnTo>
                  <a:lnTo>
                    <a:pt x="1903" y="1823"/>
                  </a:lnTo>
                  <a:lnTo>
                    <a:pt x="1909" y="1840"/>
                  </a:lnTo>
                  <a:lnTo>
                    <a:pt x="1914" y="1855"/>
                  </a:lnTo>
                  <a:lnTo>
                    <a:pt x="1921" y="1869"/>
                  </a:lnTo>
                  <a:lnTo>
                    <a:pt x="1921" y="1869"/>
                  </a:lnTo>
                  <a:lnTo>
                    <a:pt x="1931" y="1881"/>
                  </a:lnTo>
                  <a:lnTo>
                    <a:pt x="1940" y="1892"/>
                  </a:lnTo>
                  <a:lnTo>
                    <a:pt x="1951" y="1901"/>
                  </a:lnTo>
                  <a:lnTo>
                    <a:pt x="1964" y="1908"/>
                  </a:lnTo>
                  <a:lnTo>
                    <a:pt x="1964" y="1908"/>
                  </a:lnTo>
                  <a:lnTo>
                    <a:pt x="1979" y="1915"/>
                  </a:lnTo>
                  <a:lnTo>
                    <a:pt x="1994" y="1919"/>
                  </a:lnTo>
                  <a:lnTo>
                    <a:pt x="2013" y="1922"/>
                  </a:lnTo>
                  <a:lnTo>
                    <a:pt x="2032" y="1922"/>
                  </a:lnTo>
                  <a:lnTo>
                    <a:pt x="2032" y="1922"/>
                  </a:lnTo>
                  <a:lnTo>
                    <a:pt x="2052" y="1921"/>
                  </a:lnTo>
                  <a:lnTo>
                    <a:pt x="2069" y="1919"/>
                  </a:lnTo>
                  <a:lnTo>
                    <a:pt x="2085" y="1914"/>
                  </a:lnTo>
                  <a:lnTo>
                    <a:pt x="2100" y="1907"/>
                  </a:lnTo>
                  <a:lnTo>
                    <a:pt x="2100" y="1907"/>
                  </a:lnTo>
                  <a:lnTo>
                    <a:pt x="2113" y="1899"/>
                  </a:lnTo>
                  <a:lnTo>
                    <a:pt x="2125" y="1890"/>
                  </a:lnTo>
                  <a:lnTo>
                    <a:pt x="2136" y="1878"/>
                  </a:lnTo>
                  <a:lnTo>
                    <a:pt x="2145" y="1866"/>
                  </a:lnTo>
                  <a:lnTo>
                    <a:pt x="2145" y="1866"/>
                  </a:lnTo>
                  <a:lnTo>
                    <a:pt x="2152" y="1852"/>
                  </a:lnTo>
                  <a:lnTo>
                    <a:pt x="2159" y="1835"/>
                  </a:lnTo>
                  <a:lnTo>
                    <a:pt x="2165" y="1819"/>
                  </a:lnTo>
                  <a:lnTo>
                    <a:pt x="2170" y="1800"/>
                  </a:lnTo>
                  <a:lnTo>
                    <a:pt x="2170" y="1800"/>
                  </a:lnTo>
                  <a:lnTo>
                    <a:pt x="2173" y="1780"/>
                  </a:lnTo>
                  <a:lnTo>
                    <a:pt x="2175" y="1759"/>
                  </a:lnTo>
                  <a:lnTo>
                    <a:pt x="2176" y="1737"/>
                  </a:lnTo>
                  <a:lnTo>
                    <a:pt x="2176" y="1714"/>
                  </a:lnTo>
                  <a:lnTo>
                    <a:pt x="2176" y="1714"/>
                  </a:lnTo>
                  <a:lnTo>
                    <a:pt x="2176" y="1691"/>
                  </a:lnTo>
                  <a:lnTo>
                    <a:pt x="2175" y="1669"/>
                  </a:lnTo>
                  <a:lnTo>
                    <a:pt x="2173" y="1648"/>
                  </a:lnTo>
                  <a:lnTo>
                    <a:pt x="2171" y="1629"/>
                  </a:lnTo>
                  <a:lnTo>
                    <a:pt x="2171" y="1629"/>
                  </a:lnTo>
                  <a:lnTo>
                    <a:pt x="2167" y="1611"/>
                  </a:lnTo>
                  <a:lnTo>
                    <a:pt x="2163" y="1596"/>
                  </a:lnTo>
                  <a:lnTo>
                    <a:pt x="2157" y="1583"/>
                  </a:lnTo>
                  <a:lnTo>
                    <a:pt x="2150" y="1569"/>
                  </a:lnTo>
                  <a:lnTo>
                    <a:pt x="2150" y="1569"/>
                  </a:lnTo>
                  <a:close/>
                  <a:moveTo>
                    <a:pt x="1453" y="1010"/>
                  </a:moveTo>
                  <a:lnTo>
                    <a:pt x="1453" y="1010"/>
                  </a:lnTo>
                  <a:lnTo>
                    <a:pt x="1452" y="1028"/>
                  </a:lnTo>
                  <a:lnTo>
                    <a:pt x="1449" y="1044"/>
                  </a:lnTo>
                  <a:lnTo>
                    <a:pt x="1449" y="1044"/>
                  </a:lnTo>
                  <a:lnTo>
                    <a:pt x="1446" y="1058"/>
                  </a:lnTo>
                  <a:lnTo>
                    <a:pt x="1443" y="1071"/>
                  </a:lnTo>
                  <a:lnTo>
                    <a:pt x="1443" y="1071"/>
                  </a:lnTo>
                  <a:lnTo>
                    <a:pt x="1437" y="1082"/>
                  </a:lnTo>
                  <a:lnTo>
                    <a:pt x="1431" y="1090"/>
                  </a:lnTo>
                  <a:lnTo>
                    <a:pt x="1431" y="1090"/>
                  </a:lnTo>
                  <a:lnTo>
                    <a:pt x="1423" y="1097"/>
                  </a:lnTo>
                  <a:lnTo>
                    <a:pt x="1415" y="1102"/>
                  </a:lnTo>
                  <a:lnTo>
                    <a:pt x="1415" y="1102"/>
                  </a:lnTo>
                  <a:lnTo>
                    <a:pt x="1404" y="1105"/>
                  </a:lnTo>
                  <a:lnTo>
                    <a:pt x="1393" y="1107"/>
                  </a:lnTo>
                  <a:lnTo>
                    <a:pt x="1393" y="1107"/>
                  </a:lnTo>
                  <a:lnTo>
                    <a:pt x="1386" y="1105"/>
                  </a:lnTo>
                  <a:lnTo>
                    <a:pt x="1379" y="1104"/>
                  </a:lnTo>
                  <a:lnTo>
                    <a:pt x="1372" y="1102"/>
                  </a:lnTo>
                  <a:lnTo>
                    <a:pt x="1366" y="1100"/>
                  </a:lnTo>
                  <a:lnTo>
                    <a:pt x="1366" y="1100"/>
                  </a:lnTo>
                  <a:lnTo>
                    <a:pt x="1361" y="1096"/>
                  </a:lnTo>
                  <a:lnTo>
                    <a:pt x="1356" y="1090"/>
                  </a:lnTo>
                  <a:lnTo>
                    <a:pt x="1351" y="1085"/>
                  </a:lnTo>
                  <a:lnTo>
                    <a:pt x="1348" y="1077"/>
                  </a:lnTo>
                  <a:lnTo>
                    <a:pt x="1348" y="1077"/>
                  </a:lnTo>
                  <a:lnTo>
                    <a:pt x="1344" y="1067"/>
                  </a:lnTo>
                  <a:lnTo>
                    <a:pt x="1341" y="1057"/>
                  </a:lnTo>
                  <a:lnTo>
                    <a:pt x="1339" y="1045"/>
                  </a:lnTo>
                  <a:lnTo>
                    <a:pt x="1336" y="1033"/>
                  </a:lnTo>
                  <a:lnTo>
                    <a:pt x="1336" y="1033"/>
                  </a:lnTo>
                  <a:lnTo>
                    <a:pt x="1334" y="1001"/>
                  </a:lnTo>
                  <a:lnTo>
                    <a:pt x="1333" y="962"/>
                  </a:lnTo>
                  <a:lnTo>
                    <a:pt x="1333" y="962"/>
                  </a:lnTo>
                  <a:lnTo>
                    <a:pt x="1333" y="930"/>
                  </a:lnTo>
                  <a:lnTo>
                    <a:pt x="1335" y="901"/>
                  </a:lnTo>
                  <a:lnTo>
                    <a:pt x="1335" y="901"/>
                  </a:lnTo>
                  <a:lnTo>
                    <a:pt x="1339" y="878"/>
                  </a:lnTo>
                  <a:lnTo>
                    <a:pt x="1342" y="868"/>
                  </a:lnTo>
                  <a:lnTo>
                    <a:pt x="1344" y="858"/>
                  </a:lnTo>
                  <a:lnTo>
                    <a:pt x="1344" y="858"/>
                  </a:lnTo>
                  <a:lnTo>
                    <a:pt x="1348" y="849"/>
                  </a:lnTo>
                  <a:lnTo>
                    <a:pt x="1352" y="842"/>
                  </a:lnTo>
                  <a:lnTo>
                    <a:pt x="1358" y="836"/>
                  </a:lnTo>
                  <a:lnTo>
                    <a:pt x="1363" y="832"/>
                  </a:lnTo>
                  <a:lnTo>
                    <a:pt x="1363" y="832"/>
                  </a:lnTo>
                  <a:lnTo>
                    <a:pt x="1370" y="827"/>
                  </a:lnTo>
                  <a:lnTo>
                    <a:pt x="1377" y="825"/>
                  </a:lnTo>
                  <a:lnTo>
                    <a:pt x="1385" y="824"/>
                  </a:lnTo>
                  <a:lnTo>
                    <a:pt x="1393" y="822"/>
                  </a:lnTo>
                  <a:lnTo>
                    <a:pt x="1393" y="822"/>
                  </a:lnTo>
                  <a:lnTo>
                    <a:pt x="1403" y="824"/>
                  </a:lnTo>
                  <a:lnTo>
                    <a:pt x="1412" y="825"/>
                  </a:lnTo>
                  <a:lnTo>
                    <a:pt x="1412" y="825"/>
                  </a:lnTo>
                  <a:lnTo>
                    <a:pt x="1421" y="829"/>
                  </a:lnTo>
                  <a:lnTo>
                    <a:pt x="1428" y="834"/>
                  </a:lnTo>
                  <a:lnTo>
                    <a:pt x="1428" y="834"/>
                  </a:lnTo>
                  <a:lnTo>
                    <a:pt x="1434" y="842"/>
                  </a:lnTo>
                  <a:lnTo>
                    <a:pt x="1439" y="852"/>
                  </a:lnTo>
                  <a:lnTo>
                    <a:pt x="1439" y="852"/>
                  </a:lnTo>
                  <a:lnTo>
                    <a:pt x="1444" y="864"/>
                  </a:lnTo>
                  <a:lnTo>
                    <a:pt x="1447" y="879"/>
                  </a:lnTo>
                  <a:lnTo>
                    <a:pt x="1447" y="879"/>
                  </a:lnTo>
                  <a:lnTo>
                    <a:pt x="1451" y="896"/>
                  </a:lnTo>
                  <a:lnTo>
                    <a:pt x="1452" y="917"/>
                  </a:lnTo>
                  <a:lnTo>
                    <a:pt x="1452" y="917"/>
                  </a:lnTo>
                  <a:lnTo>
                    <a:pt x="1454" y="940"/>
                  </a:lnTo>
                  <a:lnTo>
                    <a:pt x="1454" y="967"/>
                  </a:lnTo>
                  <a:lnTo>
                    <a:pt x="1454" y="967"/>
                  </a:lnTo>
                  <a:lnTo>
                    <a:pt x="1453" y="1010"/>
                  </a:lnTo>
                  <a:lnTo>
                    <a:pt x="1453" y="1010"/>
                  </a:lnTo>
                  <a:close/>
                  <a:moveTo>
                    <a:pt x="1969" y="143"/>
                  </a:moveTo>
                  <a:lnTo>
                    <a:pt x="1969" y="143"/>
                  </a:lnTo>
                  <a:lnTo>
                    <a:pt x="1972" y="119"/>
                  </a:lnTo>
                  <a:lnTo>
                    <a:pt x="1974" y="109"/>
                  </a:lnTo>
                  <a:lnTo>
                    <a:pt x="1978" y="99"/>
                  </a:lnTo>
                  <a:lnTo>
                    <a:pt x="1978" y="99"/>
                  </a:lnTo>
                  <a:lnTo>
                    <a:pt x="1981" y="91"/>
                  </a:lnTo>
                  <a:lnTo>
                    <a:pt x="1986" y="84"/>
                  </a:lnTo>
                  <a:lnTo>
                    <a:pt x="1991" y="77"/>
                  </a:lnTo>
                  <a:lnTo>
                    <a:pt x="1996" y="73"/>
                  </a:lnTo>
                  <a:lnTo>
                    <a:pt x="1996" y="73"/>
                  </a:lnTo>
                  <a:lnTo>
                    <a:pt x="2003" y="69"/>
                  </a:lnTo>
                  <a:lnTo>
                    <a:pt x="2010" y="66"/>
                  </a:lnTo>
                  <a:lnTo>
                    <a:pt x="2018" y="65"/>
                  </a:lnTo>
                  <a:lnTo>
                    <a:pt x="2026" y="64"/>
                  </a:lnTo>
                  <a:lnTo>
                    <a:pt x="2026" y="64"/>
                  </a:lnTo>
                  <a:lnTo>
                    <a:pt x="2037" y="65"/>
                  </a:lnTo>
                  <a:lnTo>
                    <a:pt x="2046" y="67"/>
                  </a:lnTo>
                  <a:lnTo>
                    <a:pt x="2046" y="67"/>
                  </a:lnTo>
                  <a:lnTo>
                    <a:pt x="2054" y="70"/>
                  </a:lnTo>
                  <a:lnTo>
                    <a:pt x="2061" y="76"/>
                  </a:lnTo>
                  <a:lnTo>
                    <a:pt x="2061" y="76"/>
                  </a:lnTo>
                  <a:lnTo>
                    <a:pt x="2068" y="83"/>
                  </a:lnTo>
                  <a:lnTo>
                    <a:pt x="2073" y="94"/>
                  </a:lnTo>
                  <a:lnTo>
                    <a:pt x="2073" y="94"/>
                  </a:lnTo>
                  <a:lnTo>
                    <a:pt x="2077" y="106"/>
                  </a:lnTo>
                  <a:lnTo>
                    <a:pt x="2081" y="120"/>
                  </a:lnTo>
                  <a:lnTo>
                    <a:pt x="2081" y="120"/>
                  </a:lnTo>
                  <a:lnTo>
                    <a:pt x="2084" y="137"/>
                  </a:lnTo>
                  <a:lnTo>
                    <a:pt x="2085" y="158"/>
                  </a:lnTo>
                  <a:lnTo>
                    <a:pt x="2085" y="158"/>
                  </a:lnTo>
                  <a:lnTo>
                    <a:pt x="2088" y="181"/>
                  </a:lnTo>
                  <a:lnTo>
                    <a:pt x="2088" y="208"/>
                  </a:lnTo>
                  <a:lnTo>
                    <a:pt x="2088" y="208"/>
                  </a:lnTo>
                  <a:lnTo>
                    <a:pt x="2086" y="251"/>
                  </a:lnTo>
                  <a:lnTo>
                    <a:pt x="2086" y="251"/>
                  </a:lnTo>
                  <a:lnTo>
                    <a:pt x="2085" y="269"/>
                  </a:lnTo>
                  <a:lnTo>
                    <a:pt x="2083" y="285"/>
                  </a:lnTo>
                  <a:lnTo>
                    <a:pt x="2083" y="285"/>
                  </a:lnTo>
                  <a:lnTo>
                    <a:pt x="2080" y="300"/>
                  </a:lnTo>
                  <a:lnTo>
                    <a:pt x="2076" y="313"/>
                  </a:lnTo>
                  <a:lnTo>
                    <a:pt x="2076" y="313"/>
                  </a:lnTo>
                  <a:lnTo>
                    <a:pt x="2070" y="323"/>
                  </a:lnTo>
                  <a:lnTo>
                    <a:pt x="2065" y="332"/>
                  </a:lnTo>
                  <a:lnTo>
                    <a:pt x="2065" y="332"/>
                  </a:lnTo>
                  <a:lnTo>
                    <a:pt x="2056" y="338"/>
                  </a:lnTo>
                  <a:lnTo>
                    <a:pt x="2048" y="344"/>
                  </a:lnTo>
                  <a:lnTo>
                    <a:pt x="2048" y="344"/>
                  </a:lnTo>
                  <a:lnTo>
                    <a:pt x="2038" y="347"/>
                  </a:lnTo>
                  <a:lnTo>
                    <a:pt x="2026" y="348"/>
                  </a:lnTo>
                  <a:lnTo>
                    <a:pt x="2026" y="348"/>
                  </a:lnTo>
                  <a:lnTo>
                    <a:pt x="2020" y="348"/>
                  </a:lnTo>
                  <a:lnTo>
                    <a:pt x="2013" y="347"/>
                  </a:lnTo>
                  <a:lnTo>
                    <a:pt x="2006" y="344"/>
                  </a:lnTo>
                  <a:lnTo>
                    <a:pt x="2000" y="341"/>
                  </a:lnTo>
                  <a:lnTo>
                    <a:pt x="2000" y="341"/>
                  </a:lnTo>
                  <a:lnTo>
                    <a:pt x="1994" y="337"/>
                  </a:lnTo>
                  <a:lnTo>
                    <a:pt x="1990" y="333"/>
                  </a:lnTo>
                  <a:lnTo>
                    <a:pt x="1985" y="326"/>
                  </a:lnTo>
                  <a:lnTo>
                    <a:pt x="1980" y="318"/>
                  </a:lnTo>
                  <a:lnTo>
                    <a:pt x="1980" y="318"/>
                  </a:lnTo>
                  <a:lnTo>
                    <a:pt x="1978" y="310"/>
                  </a:lnTo>
                  <a:lnTo>
                    <a:pt x="1974" y="299"/>
                  </a:lnTo>
                  <a:lnTo>
                    <a:pt x="1972" y="288"/>
                  </a:lnTo>
                  <a:lnTo>
                    <a:pt x="1970" y="274"/>
                  </a:lnTo>
                  <a:lnTo>
                    <a:pt x="1970" y="274"/>
                  </a:lnTo>
                  <a:lnTo>
                    <a:pt x="1968" y="243"/>
                  </a:lnTo>
                  <a:lnTo>
                    <a:pt x="1966" y="203"/>
                  </a:lnTo>
                  <a:lnTo>
                    <a:pt x="1966" y="203"/>
                  </a:lnTo>
                  <a:lnTo>
                    <a:pt x="1966" y="171"/>
                  </a:lnTo>
                  <a:lnTo>
                    <a:pt x="1969" y="143"/>
                  </a:lnTo>
                  <a:lnTo>
                    <a:pt x="1969" y="143"/>
                  </a:lnTo>
                  <a:close/>
                  <a:moveTo>
                    <a:pt x="2095" y="1762"/>
                  </a:moveTo>
                  <a:lnTo>
                    <a:pt x="2095" y="1762"/>
                  </a:lnTo>
                  <a:lnTo>
                    <a:pt x="2093" y="1780"/>
                  </a:lnTo>
                  <a:lnTo>
                    <a:pt x="2091" y="1796"/>
                  </a:lnTo>
                  <a:lnTo>
                    <a:pt x="2091" y="1796"/>
                  </a:lnTo>
                  <a:lnTo>
                    <a:pt x="2088" y="1810"/>
                  </a:lnTo>
                  <a:lnTo>
                    <a:pt x="2083" y="1823"/>
                  </a:lnTo>
                  <a:lnTo>
                    <a:pt x="2083" y="1823"/>
                  </a:lnTo>
                  <a:lnTo>
                    <a:pt x="2078" y="1834"/>
                  </a:lnTo>
                  <a:lnTo>
                    <a:pt x="2071" y="1842"/>
                  </a:lnTo>
                  <a:lnTo>
                    <a:pt x="2071" y="1842"/>
                  </a:lnTo>
                  <a:lnTo>
                    <a:pt x="2065" y="1849"/>
                  </a:lnTo>
                  <a:lnTo>
                    <a:pt x="2055" y="1854"/>
                  </a:lnTo>
                  <a:lnTo>
                    <a:pt x="2055" y="1854"/>
                  </a:lnTo>
                  <a:lnTo>
                    <a:pt x="2046" y="1857"/>
                  </a:lnTo>
                  <a:lnTo>
                    <a:pt x="2035" y="1859"/>
                  </a:lnTo>
                  <a:lnTo>
                    <a:pt x="2035" y="1859"/>
                  </a:lnTo>
                  <a:lnTo>
                    <a:pt x="2026" y="1857"/>
                  </a:lnTo>
                  <a:lnTo>
                    <a:pt x="2020" y="1856"/>
                  </a:lnTo>
                  <a:lnTo>
                    <a:pt x="2014" y="1854"/>
                  </a:lnTo>
                  <a:lnTo>
                    <a:pt x="2007" y="1852"/>
                  </a:lnTo>
                  <a:lnTo>
                    <a:pt x="2007" y="1852"/>
                  </a:lnTo>
                  <a:lnTo>
                    <a:pt x="2002" y="1848"/>
                  </a:lnTo>
                  <a:lnTo>
                    <a:pt x="1996" y="1842"/>
                  </a:lnTo>
                  <a:lnTo>
                    <a:pt x="1993" y="1837"/>
                  </a:lnTo>
                  <a:lnTo>
                    <a:pt x="1988" y="1829"/>
                  </a:lnTo>
                  <a:lnTo>
                    <a:pt x="1988" y="1829"/>
                  </a:lnTo>
                  <a:lnTo>
                    <a:pt x="1985" y="1819"/>
                  </a:lnTo>
                  <a:lnTo>
                    <a:pt x="1983" y="1809"/>
                  </a:lnTo>
                  <a:lnTo>
                    <a:pt x="1980" y="1797"/>
                  </a:lnTo>
                  <a:lnTo>
                    <a:pt x="1978" y="1785"/>
                  </a:lnTo>
                  <a:lnTo>
                    <a:pt x="1978" y="1785"/>
                  </a:lnTo>
                  <a:lnTo>
                    <a:pt x="1976" y="1753"/>
                  </a:lnTo>
                  <a:lnTo>
                    <a:pt x="1974" y="1714"/>
                  </a:lnTo>
                  <a:lnTo>
                    <a:pt x="1974" y="1714"/>
                  </a:lnTo>
                  <a:lnTo>
                    <a:pt x="1974" y="1682"/>
                  </a:lnTo>
                  <a:lnTo>
                    <a:pt x="1977" y="1653"/>
                  </a:lnTo>
                  <a:lnTo>
                    <a:pt x="1977" y="1653"/>
                  </a:lnTo>
                  <a:lnTo>
                    <a:pt x="1980" y="1630"/>
                  </a:lnTo>
                  <a:lnTo>
                    <a:pt x="1983" y="1619"/>
                  </a:lnTo>
                  <a:lnTo>
                    <a:pt x="1986" y="1610"/>
                  </a:lnTo>
                  <a:lnTo>
                    <a:pt x="1986" y="1610"/>
                  </a:lnTo>
                  <a:lnTo>
                    <a:pt x="1990" y="1601"/>
                  </a:lnTo>
                  <a:lnTo>
                    <a:pt x="1994" y="1594"/>
                  </a:lnTo>
                  <a:lnTo>
                    <a:pt x="1999" y="1588"/>
                  </a:lnTo>
                  <a:lnTo>
                    <a:pt x="2005" y="1584"/>
                  </a:lnTo>
                  <a:lnTo>
                    <a:pt x="2005" y="1584"/>
                  </a:lnTo>
                  <a:lnTo>
                    <a:pt x="2010" y="1579"/>
                  </a:lnTo>
                  <a:lnTo>
                    <a:pt x="2018" y="1577"/>
                  </a:lnTo>
                  <a:lnTo>
                    <a:pt x="2025" y="1576"/>
                  </a:lnTo>
                  <a:lnTo>
                    <a:pt x="2035" y="1574"/>
                  </a:lnTo>
                  <a:lnTo>
                    <a:pt x="2035" y="1574"/>
                  </a:lnTo>
                  <a:lnTo>
                    <a:pt x="2045" y="1576"/>
                  </a:lnTo>
                  <a:lnTo>
                    <a:pt x="2053" y="1577"/>
                  </a:lnTo>
                  <a:lnTo>
                    <a:pt x="2053" y="1577"/>
                  </a:lnTo>
                  <a:lnTo>
                    <a:pt x="2061" y="1581"/>
                  </a:lnTo>
                  <a:lnTo>
                    <a:pt x="2069" y="1586"/>
                  </a:lnTo>
                  <a:lnTo>
                    <a:pt x="2069" y="1586"/>
                  </a:lnTo>
                  <a:lnTo>
                    <a:pt x="2075" y="1594"/>
                  </a:lnTo>
                  <a:lnTo>
                    <a:pt x="2081" y="1604"/>
                  </a:lnTo>
                  <a:lnTo>
                    <a:pt x="2081" y="1604"/>
                  </a:lnTo>
                  <a:lnTo>
                    <a:pt x="2085" y="1616"/>
                  </a:lnTo>
                  <a:lnTo>
                    <a:pt x="2089" y="1631"/>
                  </a:lnTo>
                  <a:lnTo>
                    <a:pt x="2089" y="1631"/>
                  </a:lnTo>
                  <a:lnTo>
                    <a:pt x="2091" y="1648"/>
                  </a:lnTo>
                  <a:lnTo>
                    <a:pt x="2093" y="1669"/>
                  </a:lnTo>
                  <a:lnTo>
                    <a:pt x="2093" y="1669"/>
                  </a:lnTo>
                  <a:lnTo>
                    <a:pt x="2095" y="1692"/>
                  </a:lnTo>
                  <a:lnTo>
                    <a:pt x="2096" y="1719"/>
                  </a:lnTo>
                  <a:lnTo>
                    <a:pt x="2096" y="1719"/>
                  </a:lnTo>
                  <a:lnTo>
                    <a:pt x="2095" y="1762"/>
                  </a:lnTo>
                  <a:lnTo>
                    <a:pt x="2095" y="1762"/>
                  </a:lnTo>
                  <a:close/>
                  <a:moveTo>
                    <a:pt x="2083" y="1497"/>
                  </a:moveTo>
                  <a:lnTo>
                    <a:pt x="2083" y="1497"/>
                  </a:lnTo>
                  <a:lnTo>
                    <a:pt x="2056" y="1496"/>
                  </a:lnTo>
                  <a:lnTo>
                    <a:pt x="2030" y="1495"/>
                  </a:lnTo>
                  <a:lnTo>
                    <a:pt x="2003" y="1491"/>
                  </a:lnTo>
                  <a:lnTo>
                    <a:pt x="1978" y="1487"/>
                  </a:lnTo>
                  <a:lnTo>
                    <a:pt x="1953" y="1481"/>
                  </a:lnTo>
                  <a:lnTo>
                    <a:pt x="1928" y="1474"/>
                  </a:lnTo>
                  <a:lnTo>
                    <a:pt x="1903" y="1466"/>
                  </a:lnTo>
                  <a:lnTo>
                    <a:pt x="1880" y="1457"/>
                  </a:lnTo>
                  <a:lnTo>
                    <a:pt x="1857" y="1446"/>
                  </a:lnTo>
                  <a:lnTo>
                    <a:pt x="1834" y="1435"/>
                  </a:lnTo>
                  <a:lnTo>
                    <a:pt x="1812" y="1422"/>
                  </a:lnTo>
                  <a:lnTo>
                    <a:pt x="1791" y="1409"/>
                  </a:lnTo>
                  <a:lnTo>
                    <a:pt x="1770" y="1394"/>
                  </a:lnTo>
                  <a:lnTo>
                    <a:pt x="1751" y="1379"/>
                  </a:lnTo>
                  <a:lnTo>
                    <a:pt x="1731" y="1363"/>
                  </a:lnTo>
                  <a:lnTo>
                    <a:pt x="1713" y="1346"/>
                  </a:lnTo>
                  <a:lnTo>
                    <a:pt x="1695" y="1327"/>
                  </a:lnTo>
                  <a:lnTo>
                    <a:pt x="1679" y="1309"/>
                  </a:lnTo>
                  <a:lnTo>
                    <a:pt x="1664" y="1289"/>
                  </a:lnTo>
                  <a:lnTo>
                    <a:pt x="1649" y="1268"/>
                  </a:lnTo>
                  <a:lnTo>
                    <a:pt x="1635" y="1248"/>
                  </a:lnTo>
                  <a:lnTo>
                    <a:pt x="1623" y="1226"/>
                  </a:lnTo>
                  <a:lnTo>
                    <a:pt x="1611" y="1202"/>
                  </a:lnTo>
                  <a:lnTo>
                    <a:pt x="1601" y="1179"/>
                  </a:lnTo>
                  <a:lnTo>
                    <a:pt x="1590" y="1156"/>
                  </a:lnTo>
                  <a:lnTo>
                    <a:pt x="1582" y="1132"/>
                  </a:lnTo>
                  <a:lnTo>
                    <a:pt x="1575" y="1107"/>
                  </a:lnTo>
                  <a:lnTo>
                    <a:pt x="1569" y="1082"/>
                  </a:lnTo>
                  <a:lnTo>
                    <a:pt x="1565" y="1056"/>
                  </a:lnTo>
                  <a:lnTo>
                    <a:pt x="1561" y="1030"/>
                  </a:lnTo>
                  <a:lnTo>
                    <a:pt x="1559" y="1004"/>
                  </a:lnTo>
                  <a:lnTo>
                    <a:pt x="1558" y="976"/>
                  </a:lnTo>
                  <a:lnTo>
                    <a:pt x="1558" y="976"/>
                  </a:lnTo>
                  <a:lnTo>
                    <a:pt x="1558" y="950"/>
                  </a:lnTo>
                  <a:lnTo>
                    <a:pt x="1560" y="923"/>
                  </a:lnTo>
                  <a:lnTo>
                    <a:pt x="1564" y="896"/>
                  </a:lnTo>
                  <a:lnTo>
                    <a:pt x="1568" y="871"/>
                  </a:lnTo>
                  <a:lnTo>
                    <a:pt x="1574" y="846"/>
                  </a:lnTo>
                  <a:lnTo>
                    <a:pt x="1581" y="821"/>
                  </a:lnTo>
                  <a:lnTo>
                    <a:pt x="1589" y="796"/>
                  </a:lnTo>
                  <a:lnTo>
                    <a:pt x="1598" y="773"/>
                  </a:lnTo>
                  <a:lnTo>
                    <a:pt x="1609" y="750"/>
                  </a:lnTo>
                  <a:lnTo>
                    <a:pt x="1620" y="727"/>
                  </a:lnTo>
                  <a:lnTo>
                    <a:pt x="1633" y="705"/>
                  </a:lnTo>
                  <a:lnTo>
                    <a:pt x="1646" y="684"/>
                  </a:lnTo>
                  <a:lnTo>
                    <a:pt x="1661" y="663"/>
                  </a:lnTo>
                  <a:lnTo>
                    <a:pt x="1676" y="643"/>
                  </a:lnTo>
                  <a:lnTo>
                    <a:pt x="1692" y="624"/>
                  </a:lnTo>
                  <a:lnTo>
                    <a:pt x="1709" y="605"/>
                  </a:lnTo>
                  <a:lnTo>
                    <a:pt x="1728" y="588"/>
                  </a:lnTo>
                  <a:lnTo>
                    <a:pt x="1746" y="572"/>
                  </a:lnTo>
                  <a:lnTo>
                    <a:pt x="1766" y="556"/>
                  </a:lnTo>
                  <a:lnTo>
                    <a:pt x="1786" y="542"/>
                  </a:lnTo>
                  <a:lnTo>
                    <a:pt x="1807" y="528"/>
                  </a:lnTo>
                  <a:lnTo>
                    <a:pt x="1829" y="515"/>
                  </a:lnTo>
                  <a:lnTo>
                    <a:pt x="1852" y="504"/>
                  </a:lnTo>
                  <a:lnTo>
                    <a:pt x="1875" y="493"/>
                  </a:lnTo>
                  <a:lnTo>
                    <a:pt x="1898" y="483"/>
                  </a:lnTo>
                  <a:lnTo>
                    <a:pt x="1923" y="475"/>
                  </a:lnTo>
                  <a:lnTo>
                    <a:pt x="1948" y="468"/>
                  </a:lnTo>
                  <a:lnTo>
                    <a:pt x="1972" y="462"/>
                  </a:lnTo>
                  <a:lnTo>
                    <a:pt x="1999" y="457"/>
                  </a:lnTo>
                  <a:lnTo>
                    <a:pt x="2024" y="454"/>
                  </a:lnTo>
                  <a:lnTo>
                    <a:pt x="2051" y="452"/>
                  </a:lnTo>
                  <a:lnTo>
                    <a:pt x="2078" y="451"/>
                  </a:lnTo>
                  <a:lnTo>
                    <a:pt x="2078" y="451"/>
                  </a:lnTo>
                  <a:lnTo>
                    <a:pt x="2105" y="451"/>
                  </a:lnTo>
                  <a:lnTo>
                    <a:pt x="2131" y="453"/>
                  </a:lnTo>
                  <a:lnTo>
                    <a:pt x="2158" y="456"/>
                  </a:lnTo>
                  <a:lnTo>
                    <a:pt x="2183" y="461"/>
                  </a:lnTo>
                  <a:lnTo>
                    <a:pt x="2209" y="467"/>
                  </a:lnTo>
                  <a:lnTo>
                    <a:pt x="2233" y="474"/>
                  </a:lnTo>
                  <a:lnTo>
                    <a:pt x="2258" y="482"/>
                  </a:lnTo>
                  <a:lnTo>
                    <a:pt x="2281" y="491"/>
                  </a:lnTo>
                  <a:lnTo>
                    <a:pt x="2305" y="501"/>
                  </a:lnTo>
                  <a:lnTo>
                    <a:pt x="2328" y="513"/>
                  </a:lnTo>
                  <a:lnTo>
                    <a:pt x="2350" y="524"/>
                  </a:lnTo>
                  <a:lnTo>
                    <a:pt x="2370" y="538"/>
                  </a:lnTo>
                  <a:lnTo>
                    <a:pt x="2391" y="553"/>
                  </a:lnTo>
                  <a:lnTo>
                    <a:pt x="2411" y="568"/>
                  </a:lnTo>
                  <a:lnTo>
                    <a:pt x="2430" y="584"/>
                  </a:lnTo>
                  <a:lnTo>
                    <a:pt x="2449" y="602"/>
                  </a:lnTo>
                  <a:lnTo>
                    <a:pt x="2466" y="620"/>
                  </a:lnTo>
                  <a:lnTo>
                    <a:pt x="2482" y="639"/>
                  </a:lnTo>
                  <a:lnTo>
                    <a:pt x="2497" y="658"/>
                  </a:lnTo>
                  <a:lnTo>
                    <a:pt x="2512" y="679"/>
                  </a:lnTo>
                  <a:lnTo>
                    <a:pt x="2526" y="700"/>
                  </a:lnTo>
                  <a:lnTo>
                    <a:pt x="2539" y="722"/>
                  </a:lnTo>
                  <a:lnTo>
                    <a:pt x="2550" y="745"/>
                  </a:lnTo>
                  <a:lnTo>
                    <a:pt x="2561" y="768"/>
                  </a:lnTo>
                  <a:lnTo>
                    <a:pt x="2571" y="791"/>
                  </a:lnTo>
                  <a:lnTo>
                    <a:pt x="2579" y="816"/>
                  </a:lnTo>
                  <a:lnTo>
                    <a:pt x="2586" y="841"/>
                  </a:lnTo>
                  <a:lnTo>
                    <a:pt x="2592" y="865"/>
                  </a:lnTo>
                  <a:lnTo>
                    <a:pt x="2597" y="892"/>
                  </a:lnTo>
                  <a:lnTo>
                    <a:pt x="2600" y="917"/>
                  </a:lnTo>
                  <a:lnTo>
                    <a:pt x="2602" y="944"/>
                  </a:lnTo>
                  <a:lnTo>
                    <a:pt x="2603" y="971"/>
                  </a:lnTo>
                  <a:lnTo>
                    <a:pt x="2603" y="971"/>
                  </a:lnTo>
                  <a:lnTo>
                    <a:pt x="2603" y="998"/>
                  </a:lnTo>
                  <a:lnTo>
                    <a:pt x="2601" y="1025"/>
                  </a:lnTo>
                  <a:lnTo>
                    <a:pt x="2598" y="1051"/>
                  </a:lnTo>
                  <a:lnTo>
                    <a:pt x="2593" y="1077"/>
                  </a:lnTo>
                  <a:lnTo>
                    <a:pt x="2587" y="1102"/>
                  </a:lnTo>
                  <a:lnTo>
                    <a:pt x="2580" y="1126"/>
                  </a:lnTo>
                  <a:lnTo>
                    <a:pt x="2572" y="1151"/>
                  </a:lnTo>
                  <a:lnTo>
                    <a:pt x="2563" y="1175"/>
                  </a:lnTo>
                  <a:lnTo>
                    <a:pt x="2553" y="1198"/>
                  </a:lnTo>
                  <a:lnTo>
                    <a:pt x="2541" y="1221"/>
                  </a:lnTo>
                  <a:lnTo>
                    <a:pt x="2528" y="1243"/>
                  </a:lnTo>
                  <a:lnTo>
                    <a:pt x="2516" y="1264"/>
                  </a:lnTo>
                  <a:lnTo>
                    <a:pt x="2501" y="1285"/>
                  </a:lnTo>
                  <a:lnTo>
                    <a:pt x="2486" y="1304"/>
                  </a:lnTo>
                  <a:lnTo>
                    <a:pt x="2470" y="1324"/>
                  </a:lnTo>
                  <a:lnTo>
                    <a:pt x="2452" y="1341"/>
                  </a:lnTo>
                  <a:lnTo>
                    <a:pt x="2434" y="1360"/>
                  </a:lnTo>
                  <a:lnTo>
                    <a:pt x="2415" y="1376"/>
                  </a:lnTo>
                  <a:lnTo>
                    <a:pt x="2396" y="1391"/>
                  </a:lnTo>
                  <a:lnTo>
                    <a:pt x="2375" y="1406"/>
                  </a:lnTo>
                  <a:lnTo>
                    <a:pt x="2354" y="1420"/>
                  </a:lnTo>
                  <a:lnTo>
                    <a:pt x="2332" y="1432"/>
                  </a:lnTo>
                  <a:lnTo>
                    <a:pt x="2309" y="1444"/>
                  </a:lnTo>
                  <a:lnTo>
                    <a:pt x="2286" y="1454"/>
                  </a:lnTo>
                  <a:lnTo>
                    <a:pt x="2263" y="1465"/>
                  </a:lnTo>
                  <a:lnTo>
                    <a:pt x="2239" y="1473"/>
                  </a:lnTo>
                  <a:lnTo>
                    <a:pt x="2213" y="1480"/>
                  </a:lnTo>
                  <a:lnTo>
                    <a:pt x="2189" y="1485"/>
                  </a:lnTo>
                  <a:lnTo>
                    <a:pt x="2163" y="1490"/>
                  </a:lnTo>
                  <a:lnTo>
                    <a:pt x="2137" y="1494"/>
                  </a:lnTo>
                  <a:lnTo>
                    <a:pt x="2111" y="1496"/>
                  </a:lnTo>
                  <a:lnTo>
                    <a:pt x="2083" y="1497"/>
                  </a:lnTo>
                  <a:lnTo>
                    <a:pt x="2083" y="1497"/>
                  </a:lnTo>
                  <a:close/>
                  <a:moveTo>
                    <a:pt x="1925" y="780"/>
                  </a:moveTo>
                  <a:lnTo>
                    <a:pt x="1925" y="780"/>
                  </a:lnTo>
                  <a:lnTo>
                    <a:pt x="1914" y="766"/>
                  </a:lnTo>
                  <a:lnTo>
                    <a:pt x="1903" y="753"/>
                  </a:lnTo>
                  <a:lnTo>
                    <a:pt x="1890" y="742"/>
                  </a:lnTo>
                  <a:lnTo>
                    <a:pt x="1875" y="732"/>
                  </a:lnTo>
                  <a:lnTo>
                    <a:pt x="1875" y="732"/>
                  </a:lnTo>
                  <a:lnTo>
                    <a:pt x="1858" y="725"/>
                  </a:lnTo>
                  <a:lnTo>
                    <a:pt x="1839" y="721"/>
                  </a:lnTo>
                  <a:lnTo>
                    <a:pt x="1819" y="717"/>
                  </a:lnTo>
                  <a:lnTo>
                    <a:pt x="1796" y="716"/>
                  </a:lnTo>
                  <a:lnTo>
                    <a:pt x="1796" y="716"/>
                  </a:lnTo>
                  <a:lnTo>
                    <a:pt x="1774" y="717"/>
                  </a:lnTo>
                  <a:lnTo>
                    <a:pt x="1753" y="721"/>
                  </a:lnTo>
                  <a:lnTo>
                    <a:pt x="1734" y="727"/>
                  </a:lnTo>
                  <a:lnTo>
                    <a:pt x="1717" y="734"/>
                  </a:lnTo>
                  <a:lnTo>
                    <a:pt x="1717" y="734"/>
                  </a:lnTo>
                  <a:lnTo>
                    <a:pt x="1702" y="743"/>
                  </a:lnTo>
                  <a:lnTo>
                    <a:pt x="1688" y="754"/>
                  </a:lnTo>
                  <a:lnTo>
                    <a:pt x="1676" y="767"/>
                  </a:lnTo>
                  <a:lnTo>
                    <a:pt x="1665" y="782"/>
                  </a:lnTo>
                  <a:lnTo>
                    <a:pt x="1665" y="782"/>
                  </a:lnTo>
                  <a:lnTo>
                    <a:pt x="1655" y="798"/>
                  </a:lnTo>
                  <a:lnTo>
                    <a:pt x="1647" y="817"/>
                  </a:lnTo>
                  <a:lnTo>
                    <a:pt x="1641" y="836"/>
                  </a:lnTo>
                  <a:lnTo>
                    <a:pt x="1635" y="858"/>
                  </a:lnTo>
                  <a:lnTo>
                    <a:pt x="1635" y="858"/>
                  </a:lnTo>
                  <a:lnTo>
                    <a:pt x="1632" y="881"/>
                  </a:lnTo>
                  <a:lnTo>
                    <a:pt x="1628" y="906"/>
                  </a:lnTo>
                  <a:lnTo>
                    <a:pt x="1627" y="931"/>
                  </a:lnTo>
                  <a:lnTo>
                    <a:pt x="1626" y="959"/>
                  </a:lnTo>
                  <a:lnTo>
                    <a:pt x="1626" y="959"/>
                  </a:lnTo>
                  <a:lnTo>
                    <a:pt x="1627" y="985"/>
                  </a:lnTo>
                  <a:lnTo>
                    <a:pt x="1628" y="1011"/>
                  </a:lnTo>
                  <a:lnTo>
                    <a:pt x="1631" y="1035"/>
                  </a:lnTo>
                  <a:lnTo>
                    <a:pt x="1634" y="1058"/>
                  </a:lnTo>
                  <a:lnTo>
                    <a:pt x="1634" y="1058"/>
                  </a:lnTo>
                  <a:lnTo>
                    <a:pt x="1638" y="1080"/>
                  </a:lnTo>
                  <a:lnTo>
                    <a:pt x="1643" y="1100"/>
                  </a:lnTo>
                  <a:lnTo>
                    <a:pt x="1650" y="1117"/>
                  </a:lnTo>
                  <a:lnTo>
                    <a:pt x="1659" y="1133"/>
                  </a:lnTo>
                  <a:lnTo>
                    <a:pt x="1659" y="1133"/>
                  </a:lnTo>
                  <a:lnTo>
                    <a:pt x="1669" y="1147"/>
                  </a:lnTo>
                  <a:lnTo>
                    <a:pt x="1680" y="1160"/>
                  </a:lnTo>
                  <a:lnTo>
                    <a:pt x="1694" y="1171"/>
                  </a:lnTo>
                  <a:lnTo>
                    <a:pt x="1709" y="1181"/>
                  </a:lnTo>
                  <a:lnTo>
                    <a:pt x="1709" y="1181"/>
                  </a:lnTo>
                  <a:lnTo>
                    <a:pt x="1725" y="1187"/>
                  </a:lnTo>
                  <a:lnTo>
                    <a:pt x="1744" y="1192"/>
                  </a:lnTo>
                  <a:lnTo>
                    <a:pt x="1764" y="1196"/>
                  </a:lnTo>
                  <a:lnTo>
                    <a:pt x="1788" y="1197"/>
                  </a:lnTo>
                  <a:lnTo>
                    <a:pt x="1788" y="1197"/>
                  </a:lnTo>
                  <a:lnTo>
                    <a:pt x="1809" y="1196"/>
                  </a:lnTo>
                  <a:lnTo>
                    <a:pt x="1830" y="1192"/>
                  </a:lnTo>
                  <a:lnTo>
                    <a:pt x="1850" y="1187"/>
                  </a:lnTo>
                  <a:lnTo>
                    <a:pt x="1866" y="1179"/>
                  </a:lnTo>
                  <a:lnTo>
                    <a:pt x="1866" y="1179"/>
                  </a:lnTo>
                  <a:lnTo>
                    <a:pt x="1882" y="1170"/>
                  </a:lnTo>
                  <a:lnTo>
                    <a:pt x="1896" y="1159"/>
                  </a:lnTo>
                  <a:lnTo>
                    <a:pt x="1909" y="1146"/>
                  </a:lnTo>
                  <a:lnTo>
                    <a:pt x="1919" y="1131"/>
                  </a:lnTo>
                  <a:lnTo>
                    <a:pt x="1919" y="1131"/>
                  </a:lnTo>
                  <a:lnTo>
                    <a:pt x="1928" y="1115"/>
                  </a:lnTo>
                  <a:lnTo>
                    <a:pt x="1936" y="1096"/>
                  </a:lnTo>
                  <a:lnTo>
                    <a:pt x="1943" y="1077"/>
                  </a:lnTo>
                  <a:lnTo>
                    <a:pt x="1948" y="1055"/>
                  </a:lnTo>
                  <a:lnTo>
                    <a:pt x="1948" y="1055"/>
                  </a:lnTo>
                  <a:lnTo>
                    <a:pt x="1953" y="1032"/>
                  </a:lnTo>
                  <a:lnTo>
                    <a:pt x="1955" y="1007"/>
                  </a:lnTo>
                  <a:lnTo>
                    <a:pt x="1956" y="982"/>
                  </a:lnTo>
                  <a:lnTo>
                    <a:pt x="1957" y="954"/>
                  </a:lnTo>
                  <a:lnTo>
                    <a:pt x="1957" y="954"/>
                  </a:lnTo>
                  <a:lnTo>
                    <a:pt x="1957" y="928"/>
                  </a:lnTo>
                  <a:lnTo>
                    <a:pt x="1955" y="902"/>
                  </a:lnTo>
                  <a:lnTo>
                    <a:pt x="1953" y="878"/>
                  </a:lnTo>
                  <a:lnTo>
                    <a:pt x="1950" y="855"/>
                  </a:lnTo>
                  <a:lnTo>
                    <a:pt x="1950" y="855"/>
                  </a:lnTo>
                  <a:lnTo>
                    <a:pt x="1946" y="833"/>
                  </a:lnTo>
                  <a:lnTo>
                    <a:pt x="1940" y="814"/>
                  </a:lnTo>
                  <a:lnTo>
                    <a:pt x="1933" y="796"/>
                  </a:lnTo>
                  <a:lnTo>
                    <a:pt x="1925" y="780"/>
                  </a:lnTo>
                  <a:lnTo>
                    <a:pt x="1925" y="780"/>
                  </a:lnTo>
                  <a:close/>
                  <a:moveTo>
                    <a:pt x="1861" y="1010"/>
                  </a:moveTo>
                  <a:lnTo>
                    <a:pt x="1861" y="1010"/>
                  </a:lnTo>
                  <a:lnTo>
                    <a:pt x="1859" y="1030"/>
                  </a:lnTo>
                  <a:lnTo>
                    <a:pt x="1857" y="1050"/>
                  </a:lnTo>
                  <a:lnTo>
                    <a:pt x="1857" y="1050"/>
                  </a:lnTo>
                  <a:lnTo>
                    <a:pt x="1852" y="1066"/>
                  </a:lnTo>
                  <a:lnTo>
                    <a:pt x="1848" y="1081"/>
                  </a:lnTo>
                  <a:lnTo>
                    <a:pt x="1848" y="1081"/>
                  </a:lnTo>
                  <a:lnTo>
                    <a:pt x="1842" y="1094"/>
                  </a:lnTo>
                  <a:lnTo>
                    <a:pt x="1834" y="1103"/>
                  </a:lnTo>
                  <a:lnTo>
                    <a:pt x="1834" y="1103"/>
                  </a:lnTo>
                  <a:lnTo>
                    <a:pt x="1826" y="1111"/>
                  </a:lnTo>
                  <a:lnTo>
                    <a:pt x="1815" y="1117"/>
                  </a:lnTo>
                  <a:lnTo>
                    <a:pt x="1815" y="1117"/>
                  </a:lnTo>
                  <a:lnTo>
                    <a:pt x="1804" y="1120"/>
                  </a:lnTo>
                  <a:lnTo>
                    <a:pt x="1791" y="1122"/>
                  </a:lnTo>
                  <a:lnTo>
                    <a:pt x="1791" y="1122"/>
                  </a:lnTo>
                  <a:lnTo>
                    <a:pt x="1782" y="1122"/>
                  </a:lnTo>
                  <a:lnTo>
                    <a:pt x="1774" y="1119"/>
                  </a:lnTo>
                  <a:lnTo>
                    <a:pt x="1766" y="1117"/>
                  </a:lnTo>
                  <a:lnTo>
                    <a:pt x="1759" y="1114"/>
                  </a:lnTo>
                  <a:lnTo>
                    <a:pt x="1759" y="1114"/>
                  </a:lnTo>
                  <a:lnTo>
                    <a:pt x="1753" y="1109"/>
                  </a:lnTo>
                  <a:lnTo>
                    <a:pt x="1747" y="1103"/>
                  </a:lnTo>
                  <a:lnTo>
                    <a:pt x="1741" y="1096"/>
                  </a:lnTo>
                  <a:lnTo>
                    <a:pt x="1737" y="1087"/>
                  </a:lnTo>
                  <a:lnTo>
                    <a:pt x="1737" y="1087"/>
                  </a:lnTo>
                  <a:lnTo>
                    <a:pt x="1733" y="1077"/>
                  </a:lnTo>
                  <a:lnTo>
                    <a:pt x="1730" y="1065"/>
                  </a:lnTo>
                  <a:lnTo>
                    <a:pt x="1728" y="1051"/>
                  </a:lnTo>
                  <a:lnTo>
                    <a:pt x="1725" y="1035"/>
                  </a:lnTo>
                  <a:lnTo>
                    <a:pt x="1725" y="1035"/>
                  </a:lnTo>
                  <a:lnTo>
                    <a:pt x="1722" y="999"/>
                  </a:lnTo>
                  <a:lnTo>
                    <a:pt x="1721" y="954"/>
                  </a:lnTo>
                  <a:lnTo>
                    <a:pt x="1721" y="954"/>
                  </a:lnTo>
                  <a:lnTo>
                    <a:pt x="1722" y="916"/>
                  </a:lnTo>
                  <a:lnTo>
                    <a:pt x="1724" y="883"/>
                  </a:lnTo>
                  <a:lnTo>
                    <a:pt x="1724" y="883"/>
                  </a:lnTo>
                  <a:lnTo>
                    <a:pt x="1726" y="869"/>
                  </a:lnTo>
                  <a:lnTo>
                    <a:pt x="1729" y="855"/>
                  </a:lnTo>
                  <a:lnTo>
                    <a:pt x="1732" y="843"/>
                  </a:lnTo>
                  <a:lnTo>
                    <a:pt x="1736" y="832"/>
                  </a:lnTo>
                  <a:lnTo>
                    <a:pt x="1736" y="832"/>
                  </a:lnTo>
                  <a:lnTo>
                    <a:pt x="1740" y="822"/>
                  </a:lnTo>
                  <a:lnTo>
                    <a:pt x="1745" y="814"/>
                  </a:lnTo>
                  <a:lnTo>
                    <a:pt x="1751" y="807"/>
                  </a:lnTo>
                  <a:lnTo>
                    <a:pt x="1758" y="802"/>
                  </a:lnTo>
                  <a:lnTo>
                    <a:pt x="1758" y="802"/>
                  </a:lnTo>
                  <a:lnTo>
                    <a:pt x="1764" y="797"/>
                  </a:lnTo>
                  <a:lnTo>
                    <a:pt x="1773" y="794"/>
                  </a:lnTo>
                  <a:lnTo>
                    <a:pt x="1782" y="791"/>
                  </a:lnTo>
                  <a:lnTo>
                    <a:pt x="1792" y="791"/>
                  </a:lnTo>
                  <a:lnTo>
                    <a:pt x="1792" y="791"/>
                  </a:lnTo>
                  <a:lnTo>
                    <a:pt x="1804" y="792"/>
                  </a:lnTo>
                  <a:lnTo>
                    <a:pt x="1814" y="795"/>
                  </a:lnTo>
                  <a:lnTo>
                    <a:pt x="1814" y="795"/>
                  </a:lnTo>
                  <a:lnTo>
                    <a:pt x="1823" y="798"/>
                  </a:lnTo>
                  <a:lnTo>
                    <a:pt x="1833" y="805"/>
                  </a:lnTo>
                  <a:lnTo>
                    <a:pt x="1833" y="805"/>
                  </a:lnTo>
                  <a:lnTo>
                    <a:pt x="1839" y="814"/>
                  </a:lnTo>
                  <a:lnTo>
                    <a:pt x="1845" y="826"/>
                  </a:lnTo>
                  <a:lnTo>
                    <a:pt x="1845" y="826"/>
                  </a:lnTo>
                  <a:lnTo>
                    <a:pt x="1851" y="840"/>
                  </a:lnTo>
                  <a:lnTo>
                    <a:pt x="1854" y="857"/>
                  </a:lnTo>
                  <a:lnTo>
                    <a:pt x="1854" y="857"/>
                  </a:lnTo>
                  <a:lnTo>
                    <a:pt x="1858" y="878"/>
                  </a:lnTo>
                  <a:lnTo>
                    <a:pt x="1860" y="901"/>
                  </a:lnTo>
                  <a:lnTo>
                    <a:pt x="1860" y="901"/>
                  </a:lnTo>
                  <a:lnTo>
                    <a:pt x="1861" y="929"/>
                  </a:lnTo>
                  <a:lnTo>
                    <a:pt x="1863" y="960"/>
                  </a:lnTo>
                  <a:lnTo>
                    <a:pt x="1863" y="960"/>
                  </a:lnTo>
                  <a:lnTo>
                    <a:pt x="1861" y="1010"/>
                  </a:lnTo>
                  <a:lnTo>
                    <a:pt x="1861" y="1010"/>
                  </a:lnTo>
                  <a:close/>
                  <a:moveTo>
                    <a:pt x="2311" y="1124"/>
                  </a:moveTo>
                  <a:lnTo>
                    <a:pt x="2311" y="1124"/>
                  </a:lnTo>
                  <a:lnTo>
                    <a:pt x="2309" y="1120"/>
                  </a:lnTo>
                  <a:lnTo>
                    <a:pt x="2307" y="1117"/>
                  </a:lnTo>
                  <a:lnTo>
                    <a:pt x="2307" y="1117"/>
                  </a:lnTo>
                  <a:lnTo>
                    <a:pt x="2303" y="1116"/>
                  </a:lnTo>
                  <a:lnTo>
                    <a:pt x="2301" y="1116"/>
                  </a:lnTo>
                  <a:lnTo>
                    <a:pt x="2225" y="1116"/>
                  </a:lnTo>
                  <a:lnTo>
                    <a:pt x="2225" y="732"/>
                  </a:lnTo>
                  <a:lnTo>
                    <a:pt x="2225" y="732"/>
                  </a:lnTo>
                  <a:lnTo>
                    <a:pt x="2225" y="730"/>
                  </a:lnTo>
                  <a:lnTo>
                    <a:pt x="2224" y="728"/>
                  </a:lnTo>
                  <a:lnTo>
                    <a:pt x="2224" y="728"/>
                  </a:lnTo>
                  <a:lnTo>
                    <a:pt x="2221" y="725"/>
                  </a:lnTo>
                  <a:lnTo>
                    <a:pt x="2218" y="724"/>
                  </a:lnTo>
                  <a:lnTo>
                    <a:pt x="2218" y="724"/>
                  </a:lnTo>
                  <a:lnTo>
                    <a:pt x="2205" y="722"/>
                  </a:lnTo>
                  <a:lnTo>
                    <a:pt x="2205" y="722"/>
                  </a:lnTo>
                  <a:lnTo>
                    <a:pt x="2183" y="722"/>
                  </a:lnTo>
                  <a:lnTo>
                    <a:pt x="2183" y="722"/>
                  </a:lnTo>
                  <a:lnTo>
                    <a:pt x="2165" y="722"/>
                  </a:lnTo>
                  <a:lnTo>
                    <a:pt x="2165" y="722"/>
                  </a:lnTo>
                  <a:lnTo>
                    <a:pt x="2153" y="722"/>
                  </a:lnTo>
                  <a:lnTo>
                    <a:pt x="2153" y="722"/>
                  </a:lnTo>
                  <a:lnTo>
                    <a:pt x="2146" y="724"/>
                  </a:lnTo>
                  <a:lnTo>
                    <a:pt x="2146" y="724"/>
                  </a:lnTo>
                  <a:lnTo>
                    <a:pt x="2143" y="727"/>
                  </a:lnTo>
                  <a:lnTo>
                    <a:pt x="2043" y="791"/>
                  </a:lnTo>
                  <a:lnTo>
                    <a:pt x="2043" y="791"/>
                  </a:lnTo>
                  <a:lnTo>
                    <a:pt x="2036" y="796"/>
                  </a:lnTo>
                  <a:lnTo>
                    <a:pt x="2036" y="796"/>
                  </a:lnTo>
                  <a:lnTo>
                    <a:pt x="2035" y="799"/>
                  </a:lnTo>
                  <a:lnTo>
                    <a:pt x="2032" y="803"/>
                  </a:lnTo>
                  <a:lnTo>
                    <a:pt x="2032" y="803"/>
                  </a:lnTo>
                  <a:lnTo>
                    <a:pt x="2030" y="812"/>
                  </a:lnTo>
                  <a:lnTo>
                    <a:pt x="2030" y="812"/>
                  </a:lnTo>
                  <a:lnTo>
                    <a:pt x="2030" y="826"/>
                  </a:lnTo>
                  <a:lnTo>
                    <a:pt x="2030" y="826"/>
                  </a:lnTo>
                  <a:lnTo>
                    <a:pt x="2030" y="839"/>
                  </a:lnTo>
                  <a:lnTo>
                    <a:pt x="2031" y="848"/>
                  </a:lnTo>
                  <a:lnTo>
                    <a:pt x="2031" y="848"/>
                  </a:lnTo>
                  <a:lnTo>
                    <a:pt x="2032" y="854"/>
                  </a:lnTo>
                  <a:lnTo>
                    <a:pt x="2036" y="858"/>
                  </a:lnTo>
                  <a:lnTo>
                    <a:pt x="2036" y="858"/>
                  </a:lnTo>
                  <a:lnTo>
                    <a:pt x="2039" y="859"/>
                  </a:lnTo>
                  <a:lnTo>
                    <a:pt x="2044" y="859"/>
                  </a:lnTo>
                  <a:lnTo>
                    <a:pt x="2044" y="859"/>
                  </a:lnTo>
                  <a:lnTo>
                    <a:pt x="2050" y="858"/>
                  </a:lnTo>
                  <a:lnTo>
                    <a:pt x="2056" y="855"/>
                  </a:lnTo>
                  <a:lnTo>
                    <a:pt x="2131" y="814"/>
                  </a:lnTo>
                  <a:lnTo>
                    <a:pt x="2131" y="1116"/>
                  </a:lnTo>
                  <a:lnTo>
                    <a:pt x="2045" y="1116"/>
                  </a:lnTo>
                  <a:lnTo>
                    <a:pt x="2045" y="1116"/>
                  </a:lnTo>
                  <a:lnTo>
                    <a:pt x="2043" y="1116"/>
                  </a:lnTo>
                  <a:lnTo>
                    <a:pt x="2039" y="1117"/>
                  </a:lnTo>
                  <a:lnTo>
                    <a:pt x="2039" y="1117"/>
                  </a:lnTo>
                  <a:lnTo>
                    <a:pt x="2037" y="1120"/>
                  </a:lnTo>
                  <a:lnTo>
                    <a:pt x="2035" y="1124"/>
                  </a:lnTo>
                  <a:lnTo>
                    <a:pt x="2035" y="1124"/>
                  </a:lnTo>
                  <a:lnTo>
                    <a:pt x="2033" y="1129"/>
                  </a:lnTo>
                  <a:lnTo>
                    <a:pt x="2032" y="1135"/>
                  </a:lnTo>
                  <a:lnTo>
                    <a:pt x="2032" y="1135"/>
                  </a:lnTo>
                  <a:lnTo>
                    <a:pt x="2031" y="1153"/>
                  </a:lnTo>
                  <a:lnTo>
                    <a:pt x="2031" y="1153"/>
                  </a:lnTo>
                  <a:lnTo>
                    <a:pt x="2032" y="1169"/>
                  </a:lnTo>
                  <a:lnTo>
                    <a:pt x="2032" y="1169"/>
                  </a:lnTo>
                  <a:lnTo>
                    <a:pt x="2033" y="1176"/>
                  </a:lnTo>
                  <a:lnTo>
                    <a:pt x="2036" y="1181"/>
                  </a:lnTo>
                  <a:lnTo>
                    <a:pt x="2036" y="1181"/>
                  </a:lnTo>
                  <a:lnTo>
                    <a:pt x="2037" y="1184"/>
                  </a:lnTo>
                  <a:lnTo>
                    <a:pt x="2040" y="1186"/>
                  </a:lnTo>
                  <a:lnTo>
                    <a:pt x="2040" y="1186"/>
                  </a:lnTo>
                  <a:lnTo>
                    <a:pt x="2043" y="1187"/>
                  </a:lnTo>
                  <a:lnTo>
                    <a:pt x="2045" y="1189"/>
                  </a:lnTo>
                  <a:lnTo>
                    <a:pt x="2301" y="1189"/>
                  </a:lnTo>
                  <a:lnTo>
                    <a:pt x="2301" y="1189"/>
                  </a:lnTo>
                  <a:lnTo>
                    <a:pt x="2303" y="1187"/>
                  </a:lnTo>
                  <a:lnTo>
                    <a:pt x="2306" y="1186"/>
                  </a:lnTo>
                  <a:lnTo>
                    <a:pt x="2306" y="1186"/>
                  </a:lnTo>
                  <a:lnTo>
                    <a:pt x="2309" y="1184"/>
                  </a:lnTo>
                  <a:lnTo>
                    <a:pt x="2310" y="1181"/>
                  </a:lnTo>
                  <a:lnTo>
                    <a:pt x="2310" y="1181"/>
                  </a:lnTo>
                  <a:lnTo>
                    <a:pt x="2313" y="1176"/>
                  </a:lnTo>
                  <a:lnTo>
                    <a:pt x="2314" y="1169"/>
                  </a:lnTo>
                  <a:lnTo>
                    <a:pt x="2314" y="1169"/>
                  </a:lnTo>
                  <a:lnTo>
                    <a:pt x="2315" y="1153"/>
                  </a:lnTo>
                  <a:lnTo>
                    <a:pt x="2315" y="1153"/>
                  </a:lnTo>
                  <a:lnTo>
                    <a:pt x="2314" y="1135"/>
                  </a:lnTo>
                  <a:lnTo>
                    <a:pt x="2314" y="1135"/>
                  </a:lnTo>
                  <a:lnTo>
                    <a:pt x="2313" y="1129"/>
                  </a:lnTo>
                  <a:lnTo>
                    <a:pt x="2311" y="1124"/>
                  </a:lnTo>
                  <a:lnTo>
                    <a:pt x="2311" y="112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de-DE">
                <a:latin typeface="+mj-lt"/>
              </a:endParaRPr>
            </a:p>
          </p:txBody>
        </p:sp>
        <p:sp>
          <p:nvSpPr>
            <p:cNvPr id="68" name="Rectangle 67"/>
            <p:cNvSpPr/>
            <p:nvPr/>
          </p:nvSpPr>
          <p:spPr>
            <a:xfrm>
              <a:off x="8817429" y="1436689"/>
              <a:ext cx="2769734" cy="1949245"/>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IN" sz="1400" dirty="0">
                <a:solidFill>
                  <a:schemeClr val="bg1"/>
                </a:solidFill>
                <a:latin typeface="+mj-lt"/>
              </a:endParaRPr>
            </a:p>
          </p:txBody>
        </p:sp>
        <p:sp>
          <p:nvSpPr>
            <p:cNvPr id="69" name="Rectangle 68"/>
            <p:cNvSpPr>
              <a:spLocks/>
            </p:cNvSpPr>
            <p:nvPr/>
          </p:nvSpPr>
          <p:spPr>
            <a:xfrm>
              <a:off x="8978542" y="1521628"/>
              <a:ext cx="2389752" cy="1569660"/>
            </a:xfrm>
            <a:prstGeom prst="rect">
              <a:avLst/>
            </a:prstGeom>
          </p:spPr>
          <p:txBody>
            <a:bodyPr wrap="square" lIns="0" tIns="0" rIns="0" bIns="0">
              <a:spAutoFit/>
            </a:bodyPr>
            <a:lstStyle/>
            <a:p>
              <a:pPr>
                <a:spcAft>
                  <a:spcPts val="600"/>
                </a:spcAft>
                <a:buClr>
                  <a:schemeClr val="accent2"/>
                </a:buClr>
                <a:buSzPct val="70000"/>
              </a:pPr>
              <a:r>
                <a:rPr lang="en-IN" dirty="0" smtClean="0">
                  <a:solidFill>
                    <a:schemeClr val="accent2"/>
                  </a:solidFill>
                  <a:latin typeface="+mj-lt"/>
                </a:rPr>
                <a:t>Survey says</a:t>
              </a:r>
              <a:r>
                <a:rPr lang="en-IN" sz="1400" dirty="0" smtClean="0">
                  <a:solidFill>
                    <a:schemeClr val="accent2"/>
                  </a:solidFill>
                  <a:latin typeface="+mj-lt"/>
                </a:rPr>
                <a:t>:  </a:t>
              </a:r>
              <a:r>
                <a:rPr lang="en-IN" sz="1400" dirty="0">
                  <a:solidFill>
                    <a:schemeClr val="accent2"/>
                  </a:solidFill>
                  <a:latin typeface="+mj-lt"/>
                </a:rPr>
                <a:t>leaders believe that focus </a:t>
              </a:r>
              <a:r>
                <a:rPr lang="en-IN" sz="1400" b="1" dirty="0">
                  <a:solidFill>
                    <a:schemeClr val="accent2"/>
                  </a:solidFill>
                  <a:latin typeface="+mj-lt"/>
                </a:rPr>
                <a:t>on speed of delivery, quality, and enhanced channels for ordering </a:t>
              </a:r>
              <a:r>
                <a:rPr lang="en-IN" sz="1400" dirty="0">
                  <a:solidFill>
                    <a:schemeClr val="accent2"/>
                  </a:solidFill>
                  <a:latin typeface="+mj-lt"/>
                </a:rPr>
                <a:t>are the most important parameters to improve customer experience</a:t>
              </a:r>
            </a:p>
          </p:txBody>
        </p:sp>
        <p:sp>
          <p:nvSpPr>
            <p:cNvPr id="70" name="Rectangle 69"/>
            <p:cNvSpPr>
              <a:spLocks/>
            </p:cNvSpPr>
            <p:nvPr/>
          </p:nvSpPr>
          <p:spPr>
            <a:xfrm>
              <a:off x="8817429" y="3806907"/>
              <a:ext cx="2769732" cy="1938992"/>
            </a:xfrm>
            <a:prstGeom prst="rect">
              <a:avLst/>
            </a:prstGeom>
          </p:spPr>
          <p:txBody>
            <a:bodyPr wrap="square" lIns="0" tIns="0" rIns="0" bIns="0">
              <a:spAutoFit/>
            </a:bodyPr>
            <a:lstStyle/>
            <a:p>
              <a:pPr marL="60325" lvl="0" indent="-60325">
                <a:spcAft>
                  <a:spcPts val="600"/>
                </a:spcAft>
              </a:pPr>
              <a:r>
                <a:rPr lang="en-IN" sz="1400" dirty="0">
                  <a:solidFill>
                    <a:schemeClr val="bg1"/>
                  </a:solidFill>
                  <a:latin typeface="+mj-lt"/>
                </a:rPr>
                <a:t>“The key to success, is making sure we are driving big, meaningful impact for our customers…</a:t>
              </a:r>
              <a:r>
                <a:rPr lang="en-IN" sz="1400" b="1" dirty="0">
                  <a:solidFill>
                    <a:schemeClr val="bg1"/>
                  </a:solidFill>
                  <a:latin typeface="+mj-lt"/>
                </a:rPr>
                <a:t>we track the impact…whether that's improving speed, cost, or quality.</a:t>
              </a:r>
              <a:r>
                <a:rPr lang="en-IN" sz="1400" dirty="0">
                  <a:solidFill>
                    <a:schemeClr val="bg1"/>
                  </a:solidFill>
                  <a:latin typeface="+mj-lt"/>
                </a:rPr>
                <a:t>” </a:t>
              </a:r>
              <a:endParaRPr lang="en-IN" sz="1400" dirty="0" smtClean="0">
                <a:solidFill>
                  <a:schemeClr val="bg1"/>
                </a:solidFill>
                <a:latin typeface="+mj-lt"/>
              </a:endParaRPr>
            </a:p>
            <a:p>
              <a:pPr marL="60325" lvl="0" indent="-60325" algn="r">
                <a:spcAft>
                  <a:spcPts val="600"/>
                </a:spcAft>
              </a:pPr>
              <a:r>
                <a:rPr lang="en-IN" sz="1200" i="1" dirty="0" smtClean="0">
                  <a:solidFill>
                    <a:schemeClr val="bg1"/>
                  </a:solidFill>
                  <a:latin typeface="+mj-lt"/>
                </a:rPr>
                <a:t>— </a:t>
              </a:r>
              <a:r>
                <a:rPr lang="en-IN" sz="1200" i="1" dirty="0">
                  <a:solidFill>
                    <a:schemeClr val="bg1"/>
                  </a:solidFill>
                  <a:latin typeface="+mj-lt"/>
                </a:rPr>
                <a:t>Innovation Director, Leading industrial conglomerate</a:t>
              </a:r>
            </a:p>
          </p:txBody>
        </p:sp>
        <p:cxnSp>
          <p:nvCxnSpPr>
            <p:cNvPr id="71" name="Straight Connector 70"/>
            <p:cNvCxnSpPr>
              <a:cxnSpLocks/>
            </p:cNvCxnSpPr>
            <p:nvPr/>
          </p:nvCxnSpPr>
          <p:spPr>
            <a:xfrm>
              <a:off x="8817428" y="3686256"/>
              <a:ext cx="2769733" cy="0"/>
            </a:xfrm>
            <a:prstGeom prst="line">
              <a:avLst/>
            </a:prstGeom>
            <a:noFill/>
            <a:ln w="12700">
              <a:solidFill>
                <a:srgbClr val="333333"/>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72" name="Straight Connector 71"/>
            <p:cNvCxnSpPr>
              <a:cxnSpLocks/>
            </p:cNvCxnSpPr>
            <p:nvPr/>
          </p:nvCxnSpPr>
          <p:spPr>
            <a:xfrm>
              <a:off x="8817428" y="5787544"/>
              <a:ext cx="2769733" cy="0"/>
            </a:xfrm>
            <a:prstGeom prst="line">
              <a:avLst/>
            </a:prstGeom>
            <a:noFill/>
            <a:ln w="12700">
              <a:solidFill>
                <a:srgbClr val="333333"/>
              </a:solidFill>
              <a:prstDash val="dash"/>
            </a:ln>
          </p:spPr>
          <p:style>
            <a:lnRef idx="2">
              <a:schemeClr val="accent1">
                <a:shade val="50000"/>
              </a:schemeClr>
            </a:lnRef>
            <a:fillRef idx="1">
              <a:schemeClr val="accent1"/>
            </a:fillRef>
            <a:effectRef idx="0">
              <a:schemeClr val="accent1"/>
            </a:effectRef>
            <a:fontRef idx="minor">
              <a:schemeClr val="lt1"/>
            </a:fontRef>
          </p:style>
        </p:cxnSp>
      </p:grpSp>
      <p:cxnSp>
        <p:nvCxnSpPr>
          <p:cNvPr id="132" name="Straight Connector 131"/>
          <p:cNvCxnSpPr>
            <a:cxnSpLocks/>
          </p:cNvCxnSpPr>
          <p:nvPr/>
        </p:nvCxnSpPr>
        <p:spPr>
          <a:xfrm>
            <a:off x="8722178" y="3695781"/>
            <a:ext cx="2769733" cy="0"/>
          </a:xfrm>
          <a:prstGeom prst="line">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3" name="Straight Connector 132"/>
          <p:cNvCxnSpPr>
            <a:cxnSpLocks/>
          </p:cNvCxnSpPr>
          <p:nvPr/>
        </p:nvCxnSpPr>
        <p:spPr>
          <a:xfrm>
            <a:off x="8722178" y="5877006"/>
            <a:ext cx="2769733" cy="0"/>
          </a:xfrm>
          <a:prstGeom prst="line">
            <a:avLst/>
          </a:prstGeom>
          <a:noFill/>
          <a:ln w="1270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cxnSp>
      <p:grpSp>
        <p:nvGrpSpPr>
          <p:cNvPr id="248" name="Group 247"/>
          <p:cNvGrpSpPr/>
          <p:nvPr/>
        </p:nvGrpSpPr>
        <p:grpSpPr>
          <a:xfrm>
            <a:off x="4306188" y="2704871"/>
            <a:ext cx="558212" cy="1392856"/>
            <a:chOff x="6131286" y="1543384"/>
            <a:chExt cx="1477596" cy="4254098"/>
          </a:xfrm>
        </p:grpSpPr>
        <p:sp>
          <p:nvSpPr>
            <p:cNvPr id="249" name="Freeform 391"/>
            <p:cNvSpPr>
              <a:spLocks/>
            </p:cNvSpPr>
            <p:nvPr/>
          </p:nvSpPr>
          <p:spPr bwMode="gray">
            <a:xfrm>
              <a:off x="6256522" y="3645109"/>
              <a:ext cx="303744" cy="379134"/>
            </a:xfrm>
            <a:custGeom>
              <a:avLst/>
              <a:gdLst/>
              <a:ahLst/>
              <a:cxnLst>
                <a:cxn ang="0">
                  <a:pos x="344" y="369"/>
                </a:cxn>
                <a:cxn ang="0">
                  <a:pos x="287" y="396"/>
                </a:cxn>
                <a:cxn ang="0">
                  <a:pos x="75" y="488"/>
                </a:cxn>
                <a:cxn ang="0">
                  <a:pos x="90" y="245"/>
                </a:cxn>
                <a:cxn ang="0">
                  <a:pos x="129" y="103"/>
                </a:cxn>
                <a:cxn ang="0">
                  <a:pos x="271" y="4"/>
                </a:cxn>
                <a:cxn ang="0">
                  <a:pos x="408" y="290"/>
                </a:cxn>
                <a:cxn ang="0">
                  <a:pos x="299" y="382"/>
                </a:cxn>
              </a:cxnLst>
              <a:rect l="0" t="0" r="r" b="b"/>
              <a:pathLst>
                <a:path w="413" h="515">
                  <a:moveTo>
                    <a:pt x="344" y="369"/>
                  </a:moveTo>
                  <a:cubicBezTo>
                    <a:pt x="331" y="386"/>
                    <a:pt x="310" y="396"/>
                    <a:pt x="287" y="396"/>
                  </a:cubicBezTo>
                  <a:cubicBezTo>
                    <a:pt x="261" y="441"/>
                    <a:pt x="122" y="515"/>
                    <a:pt x="75" y="488"/>
                  </a:cubicBezTo>
                  <a:cubicBezTo>
                    <a:pt x="0" y="445"/>
                    <a:pt x="79" y="316"/>
                    <a:pt x="90" y="245"/>
                  </a:cubicBezTo>
                  <a:cubicBezTo>
                    <a:pt x="99" y="184"/>
                    <a:pt x="84" y="149"/>
                    <a:pt x="129" y="103"/>
                  </a:cubicBezTo>
                  <a:cubicBezTo>
                    <a:pt x="158" y="73"/>
                    <a:pt x="230" y="5"/>
                    <a:pt x="271" y="4"/>
                  </a:cubicBezTo>
                  <a:cubicBezTo>
                    <a:pt x="377" y="0"/>
                    <a:pt x="413" y="213"/>
                    <a:pt x="408" y="290"/>
                  </a:cubicBezTo>
                  <a:cubicBezTo>
                    <a:pt x="366" y="312"/>
                    <a:pt x="328" y="343"/>
                    <a:pt x="299" y="382"/>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0" name="Freeform 392"/>
            <p:cNvSpPr>
              <a:spLocks/>
            </p:cNvSpPr>
            <p:nvPr/>
          </p:nvSpPr>
          <p:spPr bwMode="gray">
            <a:xfrm>
              <a:off x="7183641" y="3633271"/>
              <a:ext cx="222122" cy="292840"/>
            </a:xfrm>
            <a:custGeom>
              <a:avLst/>
              <a:gdLst/>
              <a:ahLst/>
              <a:cxnLst>
                <a:cxn ang="0">
                  <a:pos x="102" y="33"/>
                </a:cxn>
                <a:cxn ang="0">
                  <a:pos x="228" y="207"/>
                </a:cxn>
                <a:cxn ang="0">
                  <a:pos x="290" y="302"/>
                </a:cxn>
                <a:cxn ang="0">
                  <a:pos x="227" y="367"/>
                </a:cxn>
                <a:cxn ang="0">
                  <a:pos x="19" y="272"/>
                </a:cxn>
                <a:cxn ang="0">
                  <a:pos x="115" y="0"/>
                </a:cxn>
              </a:cxnLst>
              <a:rect l="0" t="0" r="r" b="b"/>
              <a:pathLst>
                <a:path w="302" h="398">
                  <a:moveTo>
                    <a:pt x="102" y="33"/>
                  </a:moveTo>
                  <a:cubicBezTo>
                    <a:pt x="180" y="65"/>
                    <a:pt x="180" y="144"/>
                    <a:pt x="228" y="207"/>
                  </a:cubicBezTo>
                  <a:cubicBezTo>
                    <a:pt x="246" y="232"/>
                    <a:pt x="284" y="268"/>
                    <a:pt x="290" y="302"/>
                  </a:cubicBezTo>
                  <a:cubicBezTo>
                    <a:pt x="302" y="363"/>
                    <a:pt x="275" y="349"/>
                    <a:pt x="227" y="367"/>
                  </a:cubicBezTo>
                  <a:cubicBezTo>
                    <a:pt x="140" y="398"/>
                    <a:pt x="43" y="395"/>
                    <a:pt x="19" y="272"/>
                  </a:cubicBezTo>
                  <a:cubicBezTo>
                    <a:pt x="0" y="178"/>
                    <a:pt x="11" y="32"/>
                    <a:pt x="115" y="0"/>
                  </a:cubicBezTo>
                </a:path>
              </a:pathLst>
            </a:custGeom>
            <a:solidFill>
              <a:srgbClr val="2A343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1" name="Freeform 393"/>
            <p:cNvSpPr>
              <a:spLocks/>
            </p:cNvSpPr>
            <p:nvPr/>
          </p:nvSpPr>
          <p:spPr bwMode="gray">
            <a:xfrm>
              <a:off x="6514782" y="5451682"/>
              <a:ext cx="324305" cy="345800"/>
            </a:xfrm>
            <a:custGeom>
              <a:avLst/>
              <a:gdLst/>
              <a:ahLst/>
              <a:cxnLst>
                <a:cxn ang="0">
                  <a:pos x="437" y="8"/>
                </a:cxn>
                <a:cxn ang="0">
                  <a:pos x="424" y="171"/>
                </a:cxn>
                <a:cxn ang="0">
                  <a:pos x="346" y="276"/>
                </a:cxn>
                <a:cxn ang="0">
                  <a:pos x="112" y="445"/>
                </a:cxn>
                <a:cxn ang="0">
                  <a:pos x="78" y="222"/>
                </a:cxn>
                <a:cxn ang="0">
                  <a:pos x="293" y="2"/>
                </a:cxn>
                <a:cxn ang="0">
                  <a:pos x="424" y="41"/>
                </a:cxn>
              </a:cxnLst>
              <a:rect l="0" t="0" r="r" b="b"/>
              <a:pathLst>
                <a:path w="441" h="470">
                  <a:moveTo>
                    <a:pt x="437" y="8"/>
                  </a:moveTo>
                  <a:cubicBezTo>
                    <a:pt x="437" y="56"/>
                    <a:pt x="441" y="128"/>
                    <a:pt x="424" y="171"/>
                  </a:cubicBezTo>
                  <a:cubicBezTo>
                    <a:pt x="408" y="210"/>
                    <a:pt x="368" y="231"/>
                    <a:pt x="346" y="276"/>
                  </a:cubicBezTo>
                  <a:cubicBezTo>
                    <a:pt x="304" y="361"/>
                    <a:pt x="234" y="470"/>
                    <a:pt x="112" y="445"/>
                  </a:cubicBezTo>
                  <a:cubicBezTo>
                    <a:pt x="0" y="422"/>
                    <a:pt x="31" y="294"/>
                    <a:pt x="78" y="222"/>
                  </a:cubicBezTo>
                  <a:cubicBezTo>
                    <a:pt x="145" y="120"/>
                    <a:pt x="155" y="6"/>
                    <a:pt x="293" y="2"/>
                  </a:cubicBezTo>
                  <a:cubicBezTo>
                    <a:pt x="355" y="0"/>
                    <a:pt x="374" y="24"/>
                    <a:pt x="424" y="41"/>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2" name="Freeform 394"/>
            <p:cNvSpPr>
              <a:spLocks/>
            </p:cNvSpPr>
            <p:nvPr/>
          </p:nvSpPr>
          <p:spPr bwMode="gray">
            <a:xfrm>
              <a:off x="7044386" y="5413363"/>
              <a:ext cx="564496" cy="331158"/>
            </a:xfrm>
            <a:custGeom>
              <a:avLst/>
              <a:gdLst/>
              <a:ahLst/>
              <a:cxnLst>
                <a:cxn ang="0">
                  <a:pos x="50" y="60"/>
                </a:cxn>
                <a:cxn ang="0">
                  <a:pos x="5" y="229"/>
                </a:cxn>
                <a:cxn ang="0">
                  <a:pos x="135" y="283"/>
                </a:cxn>
                <a:cxn ang="0">
                  <a:pos x="237" y="271"/>
                </a:cxn>
                <a:cxn ang="0">
                  <a:pos x="332" y="345"/>
                </a:cxn>
                <a:cxn ang="0">
                  <a:pos x="468" y="386"/>
                </a:cxn>
                <a:cxn ang="0">
                  <a:pos x="663" y="321"/>
                </a:cxn>
                <a:cxn ang="0">
                  <a:pos x="539" y="238"/>
                </a:cxn>
                <a:cxn ang="0">
                  <a:pos x="446" y="140"/>
                </a:cxn>
                <a:cxn ang="0">
                  <a:pos x="266" y="13"/>
                </a:cxn>
                <a:cxn ang="0">
                  <a:pos x="24" y="60"/>
                </a:cxn>
              </a:cxnLst>
              <a:rect l="0" t="0" r="r" b="b"/>
              <a:pathLst>
                <a:path w="767" h="450">
                  <a:moveTo>
                    <a:pt x="50" y="60"/>
                  </a:moveTo>
                  <a:cubicBezTo>
                    <a:pt x="13" y="107"/>
                    <a:pt x="0" y="167"/>
                    <a:pt x="5" y="229"/>
                  </a:cubicBezTo>
                  <a:cubicBezTo>
                    <a:pt x="48" y="241"/>
                    <a:pt x="90" y="278"/>
                    <a:pt x="135" y="283"/>
                  </a:cubicBezTo>
                  <a:cubicBezTo>
                    <a:pt x="189" y="291"/>
                    <a:pt x="182" y="242"/>
                    <a:pt x="237" y="271"/>
                  </a:cubicBezTo>
                  <a:cubicBezTo>
                    <a:pt x="271" y="288"/>
                    <a:pt x="300" y="327"/>
                    <a:pt x="332" y="345"/>
                  </a:cubicBezTo>
                  <a:cubicBezTo>
                    <a:pt x="384" y="375"/>
                    <a:pt x="410" y="375"/>
                    <a:pt x="468" y="386"/>
                  </a:cubicBezTo>
                  <a:cubicBezTo>
                    <a:pt x="528" y="397"/>
                    <a:pt x="767" y="450"/>
                    <a:pt x="663" y="321"/>
                  </a:cubicBezTo>
                  <a:cubicBezTo>
                    <a:pt x="633" y="284"/>
                    <a:pt x="577" y="270"/>
                    <a:pt x="539" y="238"/>
                  </a:cubicBezTo>
                  <a:cubicBezTo>
                    <a:pt x="503" y="208"/>
                    <a:pt x="479" y="171"/>
                    <a:pt x="446" y="140"/>
                  </a:cubicBezTo>
                  <a:cubicBezTo>
                    <a:pt x="395" y="91"/>
                    <a:pt x="336" y="27"/>
                    <a:pt x="266" y="13"/>
                  </a:cubicBezTo>
                  <a:cubicBezTo>
                    <a:pt x="205" y="0"/>
                    <a:pt x="67" y="13"/>
                    <a:pt x="24" y="60"/>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3" name="Freeform 395"/>
            <p:cNvSpPr>
              <a:spLocks/>
            </p:cNvSpPr>
            <p:nvPr/>
          </p:nvSpPr>
          <p:spPr bwMode="gray">
            <a:xfrm>
              <a:off x="6384561" y="3357253"/>
              <a:ext cx="1037401" cy="2195988"/>
            </a:xfrm>
            <a:custGeom>
              <a:avLst/>
              <a:gdLst/>
              <a:ahLst/>
              <a:cxnLst>
                <a:cxn ang="0">
                  <a:pos x="196" y="75"/>
                </a:cxn>
                <a:cxn ang="0">
                  <a:pos x="73" y="356"/>
                </a:cxn>
                <a:cxn ang="0">
                  <a:pos x="32" y="651"/>
                </a:cxn>
                <a:cxn ang="0">
                  <a:pos x="79" y="787"/>
                </a:cxn>
                <a:cxn ang="0">
                  <a:pos x="86" y="962"/>
                </a:cxn>
                <a:cxn ang="0">
                  <a:pos x="87" y="1136"/>
                </a:cxn>
                <a:cxn ang="0">
                  <a:pos x="131" y="1295"/>
                </a:cxn>
                <a:cxn ang="0">
                  <a:pos x="190" y="1972"/>
                </a:cxn>
                <a:cxn ang="0">
                  <a:pos x="223" y="2117"/>
                </a:cxn>
                <a:cxn ang="0">
                  <a:pos x="210" y="2319"/>
                </a:cxn>
                <a:cxn ang="0">
                  <a:pos x="275" y="2456"/>
                </a:cxn>
                <a:cxn ang="0">
                  <a:pos x="307" y="2632"/>
                </a:cxn>
                <a:cxn ang="0">
                  <a:pos x="345" y="2921"/>
                </a:cxn>
                <a:cxn ang="0">
                  <a:pos x="619" y="2885"/>
                </a:cxn>
                <a:cxn ang="0">
                  <a:pos x="629" y="2593"/>
                </a:cxn>
                <a:cxn ang="0">
                  <a:pos x="567" y="2451"/>
                </a:cxn>
                <a:cxn ang="0">
                  <a:pos x="606" y="2311"/>
                </a:cxn>
                <a:cxn ang="0">
                  <a:pos x="594" y="2000"/>
                </a:cxn>
                <a:cxn ang="0">
                  <a:pos x="601" y="1654"/>
                </a:cxn>
                <a:cxn ang="0">
                  <a:pos x="607" y="1282"/>
                </a:cxn>
                <a:cxn ang="0">
                  <a:pos x="607" y="1104"/>
                </a:cxn>
                <a:cxn ang="0">
                  <a:pos x="621" y="949"/>
                </a:cxn>
                <a:cxn ang="0">
                  <a:pos x="622" y="924"/>
                </a:cxn>
                <a:cxn ang="0">
                  <a:pos x="731" y="1106"/>
                </a:cxn>
                <a:cxn ang="0">
                  <a:pos x="803" y="1360"/>
                </a:cxn>
                <a:cxn ang="0">
                  <a:pos x="909" y="1829"/>
                </a:cxn>
                <a:cxn ang="0">
                  <a:pos x="921" y="2047"/>
                </a:cxn>
                <a:cxn ang="0">
                  <a:pos x="945" y="2333"/>
                </a:cxn>
                <a:cxn ang="0">
                  <a:pos x="909" y="2879"/>
                </a:cxn>
                <a:cxn ang="0">
                  <a:pos x="1242" y="2895"/>
                </a:cxn>
                <a:cxn ang="0">
                  <a:pos x="1286" y="2771"/>
                </a:cxn>
                <a:cxn ang="0">
                  <a:pos x="1307" y="2594"/>
                </a:cxn>
                <a:cxn ang="0">
                  <a:pos x="1312" y="2188"/>
                </a:cxn>
                <a:cxn ang="0">
                  <a:pos x="1384" y="1791"/>
                </a:cxn>
                <a:cxn ang="0">
                  <a:pos x="1346" y="1445"/>
                </a:cxn>
                <a:cxn ang="0">
                  <a:pos x="1292" y="1036"/>
                </a:cxn>
                <a:cxn ang="0">
                  <a:pos x="1240" y="879"/>
                </a:cxn>
                <a:cxn ang="0">
                  <a:pos x="1182" y="736"/>
                </a:cxn>
                <a:cxn ang="0">
                  <a:pos x="1182" y="643"/>
                </a:cxn>
                <a:cxn ang="0">
                  <a:pos x="1206" y="564"/>
                </a:cxn>
                <a:cxn ang="0">
                  <a:pos x="1137" y="447"/>
                </a:cxn>
                <a:cxn ang="0">
                  <a:pos x="1053" y="263"/>
                </a:cxn>
                <a:cxn ang="0">
                  <a:pos x="959" y="83"/>
                </a:cxn>
                <a:cxn ang="0">
                  <a:pos x="492" y="11"/>
                </a:cxn>
                <a:cxn ang="0">
                  <a:pos x="190" y="82"/>
                </a:cxn>
              </a:cxnLst>
              <a:rect l="0" t="0" r="r" b="b"/>
              <a:pathLst>
                <a:path w="1410" h="2984">
                  <a:moveTo>
                    <a:pt x="196" y="75"/>
                  </a:moveTo>
                  <a:cubicBezTo>
                    <a:pt x="106" y="162"/>
                    <a:pt x="72" y="221"/>
                    <a:pt x="73" y="356"/>
                  </a:cubicBezTo>
                  <a:cubicBezTo>
                    <a:pt x="73" y="455"/>
                    <a:pt x="0" y="550"/>
                    <a:pt x="32" y="651"/>
                  </a:cubicBezTo>
                  <a:cubicBezTo>
                    <a:pt x="47" y="699"/>
                    <a:pt x="72" y="735"/>
                    <a:pt x="79" y="787"/>
                  </a:cubicBezTo>
                  <a:cubicBezTo>
                    <a:pt x="87" y="845"/>
                    <a:pt x="86" y="903"/>
                    <a:pt x="86" y="962"/>
                  </a:cubicBezTo>
                  <a:cubicBezTo>
                    <a:pt x="86" y="1017"/>
                    <a:pt x="76" y="1082"/>
                    <a:pt x="87" y="1136"/>
                  </a:cubicBezTo>
                  <a:cubicBezTo>
                    <a:pt x="99" y="1196"/>
                    <a:pt x="131" y="1230"/>
                    <a:pt x="131" y="1295"/>
                  </a:cubicBezTo>
                  <a:cubicBezTo>
                    <a:pt x="134" y="1518"/>
                    <a:pt x="133" y="1760"/>
                    <a:pt x="190" y="1972"/>
                  </a:cubicBezTo>
                  <a:cubicBezTo>
                    <a:pt x="203" y="2021"/>
                    <a:pt x="226" y="2060"/>
                    <a:pt x="223" y="2117"/>
                  </a:cubicBezTo>
                  <a:cubicBezTo>
                    <a:pt x="219" y="2182"/>
                    <a:pt x="197" y="2251"/>
                    <a:pt x="210" y="2319"/>
                  </a:cubicBezTo>
                  <a:cubicBezTo>
                    <a:pt x="219" y="2371"/>
                    <a:pt x="261" y="2406"/>
                    <a:pt x="275" y="2456"/>
                  </a:cubicBezTo>
                  <a:cubicBezTo>
                    <a:pt x="290" y="2510"/>
                    <a:pt x="302" y="2576"/>
                    <a:pt x="307" y="2632"/>
                  </a:cubicBezTo>
                  <a:cubicBezTo>
                    <a:pt x="317" y="2735"/>
                    <a:pt x="250" y="2849"/>
                    <a:pt x="345" y="2921"/>
                  </a:cubicBezTo>
                  <a:cubicBezTo>
                    <a:pt x="428" y="2984"/>
                    <a:pt x="569" y="2964"/>
                    <a:pt x="619" y="2885"/>
                  </a:cubicBezTo>
                  <a:cubicBezTo>
                    <a:pt x="687" y="2777"/>
                    <a:pt x="670" y="2704"/>
                    <a:pt x="629" y="2593"/>
                  </a:cubicBezTo>
                  <a:cubicBezTo>
                    <a:pt x="611" y="2547"/>
                    <a:pt x="575" y="2500"/>
                    <a:pt x="567" y="2451"/>
                  </a:cubicBezTo>
                  <a:cubicBezTo>
                    <a:pt x="558" y="2394"/>
                    <a:pt x="592" y="2359"/>
                    <a:pt x="606" y="2311"/>
                  </a:cubicBezTo>
                  <a:cubicBezTo>
                    <a:pt x="639" y="2199"/>
                    <a:pt x="604" y="2104"/>
                    <a:pt x="594" y="2000"/>
                  </a:cubicBezTo>
                  <a:cubicBezTo>
                    <a:pt x="584" y="1880"/>
                    <a:pt x="601" y="1772"/>
                    <a:pt x="601" y="1654"/>
                  </a:cubicBezTo>
                  <a:cubicBezTo>
                    <a:pt x="601" y="1528"/>
                    <a:pt x="614" y="1407"/>
                    <a:pt x="607" y="1282"/>
                  </a:cubicBezTo>
                  <a:cubicBezTo>
                    <a:pt x="604" y="1224"/>
                    <a:pt x="605" y="1162"/>
                    <a:pt x="607" y="1104"/>
                  </a:cubicBezTo>
                  <a:cubicBezTo>
                    <a:pt x="609" y="1067"/>
                    <a:pt x="605" y="982"/>
                    <a:pt x="621" y="949"/>
                  </a:cubicBezTo>
                  <a:cubicBezTo>
                    <a:pt x="623" y="944"/>
                    <a:pt x="621" y="930"/>
                    <a:pt x="622" y="924"/>
                  </a:cubicBezTo>
                  <a:cubicBezTo>
                    <a:pt x="684" y="947"/>
                    <a:pt x="714" y="1047"/>
                    <a:pt x="731" y="1106"/>
                  </a:cubicBezTo>
                  <a:cubicBezTo>
                    <a:pt x="756" y="1191"/>
                    <a:pt x="788" y="1274"/>
                    <a:pt x="803" y="1360"/>
                  </a:cubicBezTo>
                  <a:cubicBezTo>
                    <a:pt x="831" y="1521"/>
                    <a:pt x="885" y="1669"/>
                    <a:pt x="909" y="1829"/>
                  </a:cubicBezTo>
                  <a:cubicBezTo>
                    <a:pt x="1006" y="1843"/>
                    <a:pt x="927" y="1994"/>
                    <a:pt x="921" y="2047"/>
                  </a:cubicBezTo>
                  <a:cubicBezTo>
                    <a:pt x="909" y="2146"/>
                    <a:pt x="954" y="2232"/>
                    <a:pt x="945" y="2333"/>
                  </a:cubicBezTo>
                  <a:cubicBezTo>
                    <a:pt x="930" y="2511"/>
                    <a:pt x="901" y="2701"/>
                    <a:pt x="909" y="2879"/>
                  </a:cubicBezTo>
                  <a:cubicBezTo>
                    <a:pt x="1023" y="2891"/>
                    <a:pt x="1133" y="2965"/>
                    <a:pt x="1242" y="2895"/>
                  </a:cubicBezTo>
                  <a:cubicBezTo>
                    <a:pt x="1296" y="2860"/>
                    <a:pt x="1283" y="2844"/>
                    <a:pt x="1286" y="2771"/>
                  </a:cubicBezTo>
                  <a:cubicBezTo>
                    <a:pt x="1288" y="2708"/>
                    <a:pt x="1298" y="2652"/>
                    <a:pt x="1307" y="2594"/>
                  </a:cubicBezTo>
                  <a:cubicBezTo>
                    <a:pt x="1326" y="2462"/>
                    <a:pt x="1305" y="2322"/>
                    <a:pt x="1312" y="2188"/>
                  </a:cubicBezTo>
                  <a:cubicBezTo>
                    <a:pt x="1319" y="2053"/>
                    <a:pt x="1355" y="1920"/>
                    <a:pt x="1384" y="1791"/>
                  </a:cubicBezTo>
                  <a:cubicBezTo>
                    <a:pt x="1410" y="1674"/>
                    <a:pt x="1389" y="1551"/>
                    <a:pt x="1346" y="1445"/>
                  </a:cubicBezTo>
                  <a:cubicBezTo>
                    <a:pt x="1295" y="1315"/>
                    <a:pt x="1311" y="1172"/>
                    <a:pt x="1292" y="1036"/>
                  </a:cubicBezTo>
                  <a:cubicBezTo>
                    <a:pt x="1283" y="969"/>
                    <a:pt x="1278" y="933"/>
                    <a:pt x="1240" y="879"/>
                  </a:cubicBezTo>
                  <a:cubicBezTo>
                    <a:pt x="1207" y="832"/>
                    <a:pt x="1185" y="795"/>
                    <a:pt x="1182" y="736"/>
                  </a:cubicBezTo>
                  <a:cubicBezTo>
                    <a:pt x="1180" y="707"/>
                    <a:pt x="1177" y="671"/>
                    <a:pt x="1182" y="643"/>
                  </a:cubicBezTo>
                  <a:cubicBezTo>
                    <a:pt x="1186" y="615"/>
                    <a:pt x="1205" y="590"/>
                    <a:pt x="1206" y="564"/>
                  </a:cubicBezTo>
                  <a:cubicBezTo>
                    <a:pt x="1208" y="513"/>
                    <a:pt x="1169" y="484"/>
                    <a:pt x="1137" y="447"/>
                  </a:cubicBezTo>
                  <a:cubicBezTo>
                    <a:pt x="1089" y="389"/>
                    <a:pt x="1065" y="337"/>
                    <a:pt x="1053" y="263"/>
                  </a:cubicBezTo>
                  <a:cubicBezTo>
                    <a:pt x="1038" y="178"/>
                    <a:pt x="1003" y="148"/>
                    <a:pt x="959" y="83"/>
                  </a:cubicBezTo>
                  <a:cubicBezTo>
                    <a:pt x="809" y="57"/>
                    <a:pt x="649" y="33"/>
                    <a:pt x="492" y="11"/>
                  </a:cubicBezTo>
                  <a:cubicBezTo>
                    <a:pt x="413" y="0"/>
                    <a:pt x="246" y="15"/>
                    <a:pt x="190" y="82"/>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4" name="Freeform 400"/>
            <p:cNvSpPr>
              <a:spLocks/>
            </p:cNvSpPr>
            <p:nvPr/>
          </p:nvSpPr>
          <p:spPr bwMode="gray">
            <a:xfrm>
              <a:off x="6438768" y="3439809"/>
              <a:ext cx="728050" cy="181000"/>
            </a:xfrm>
            <a:custGeom>
              <a:avLst/>
              <a:gdLst/>
              <a:ahLst/>
              <a:cxnLst>
                <a:cxn ang="0">
                  <a:pos x="64" y="22"/>
                </a:cxn>
                <a:cxn ang="0">
                  <a:pos x="278" y="61"/>
                </a:cxn>
                <a:cxn ang="0">
                  <a:pos x="494" y="74"/>
                </a:cxn>
                <a:cxn ang="0">
                  <a:pos x="736" y="72"/>
                </a:cxn>
                <a:cxn ang="0">
                  <a:pos x="968" y="42"/>
                </a:cxn>
                <a:cxn ang="0">
                  <a:pos x="755" y="217"/>
                </a:cxn>
                <a:cxn ang="0">
                  <a:pos x="423" y="237"/>
                </a:cxn>
                <a:cxn ang="0">
                  <a:pos x="142" y="165"/>
                </a:cxn>
                <a:cxn ang="0">
                  <a:pos x="12" y="133"/>
                </a:cxn>
                <a:cxn ang="0">
                  <a:pos x="64" y="9"/>
                </a:cxn>
              </a:cxnLst>
              <a:rect l="0" t="0" r="r" b="b"/>
              <a:pathLst>
                <a:path w="989" h="246">
                  <a:moveTo>
                    <a:pt x="64" y="22"/>
                  </a:moveTo>
                  <a:cubicBezTo>
                    <a:pt x="117" y="11"/>
                    <a:pt x="219" y="52"/>
                    <a:pt x="278" y="61"/>
                  </a:cubicBezTo>
                  <a:cubicBezTo>
                    <a:pt x="351" y="72"/>
                    <a:pt x="416" y="74"/>
                    <a:pt x="494" y="74"/>
                  </a:cubicBezTo>
                  <a:cubicBezTo>
                    <a:pt x="575" y="74"/>
                    <a:pt x="659" y="84"/>
                    <a:pt x="736" y="72"/>
                  </a:cubicBezTo>
                  <a:cubicBezTo>
                    <a:pt x="817" y="60"/>
                    <a:pt x="883" y="38"/>
                    <a:pt x="968" y="42"/>
                  </a:cubicBezTo>
                  <a:cubicBezTo>
                    <a:pt x="989" y="190"/>
                    <a:pt x="876" y="211"/>
                    <a:pt x="755" y="217"/>
                  </a:cubicBezTo>
                  <a:cubicBezTo>
                    <a:pt x="645" y="223"/>
                    <a:pt x="531" y="246"/>
                    <a:pt x="423" y="237"/>
                  </a:cubicBezTo>
                  <a:cubicBezTo>
                    <a:pt x="328" y="229"/>
                    <a:pt x="238" y="182"/>
                    <a:pt x="142" y="165"/>
                  </a:cubicBezTo>
                  <a:cubicBezTo>
                    <a:pt x="93" y="157"/>
                    <a:pt x="30" y="186"/>
                    <a:pt x="12" y="133"/>
                  </a:cubicBezTo>
                  <a:cubicBezTo>
                    <a:pt x="0" y="99"/>
                    <a:pt x="20" y="0"/>
                    <a:pt x="64" y="9"/>
                  </a:cubicBezTo>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5" name="Freeform 401"/>
            <p:cNvSpPr>
              <a:spLocks/>
            </p:cNvSpPr>
            <p:nvPr/>
          </p:nvSpPr>
          <p:spPr bwMode="gray">
            <a:xfrm>
              <a:off x="6749365" y="3479685"/>
              <a:ext cx="204054" cy="165423"/>
            </a:xfrm>
            <a:custGeom>
              <a:avLst/>
              <a:gdLst/>
              <a:ahLst/>
              <a:cxnLst>
                <a:cxn ang="0">
                  <a:pos x="14" y="40"/>
                </a:cxn>
                <a:cxn ang="0">
                  <a:pos x="110" y="21"/>
                </a:cxn>
                <a:cxn ang="0">
                  <a:pos x="204" y="165"/>
                </a:cxn>
                <a:cxn ang="0">
                  <a:pos x="2" y="201"/>
                </a:cxn>
                <a:cxn ang="0">
                  <a:pos x="2" y="171"/>
                </a:cxn>
                <a:cxn ang="0">
                  <a:pos x="184" y="138"/>
                </a:cxn>
                <a:cxn ang="0">
                  <a:pos x="14" y="53"/>
                </a:cxn>
              </a:cxnLst>
              <a:rect l="0" t="0" r="r" b="b"/>
              <a:pathLst>
                <a:path w="277" h="225">
                  <a:moveTo>
                    <a:pt x="14" y="40"/>
                  </a:moveTo>
                  <a:cubicBezTo>
                    <a:pt x="25" y="0"/>
                    <a:pt x="77" y="13"/>
                    <a:pt x="110" y="21"/>
                  </a:cubicBezTo>
                  <a:cubicBezTo>
                    <a:pt x="146" y="65"/>
                    <a:pt x="277" y="65"/>
                    <a:pt x="204" y="165"/>
                  </a:cubicBezTo>
                  <a:cubicBezTo>
                    <a:pt x="165" y="220"/>
                    <a:pt x="59" y="225"/>
                    <a:pt x="2" y="201"/>
                  </a:cubicBezTo>
                  <a:cubicBezTo>
                    <a:pt x="0" y="192"/>
                    <a:pt x="0" y="181"/>
                    <a:pt x="2" y="171"/>
                  </a:cubicBezTo>
                  <a:cubicBezTo>
                    <a:pt x="46" y="169"/>
                    <a:pt x="173" y="202"/>
                    <a:pt x="184" y="138"/>
                  </a:cubicBezTo>
                  <a:cubicBezTo>
                    <a:pt x="196" y="62"/>
                    <a:pt x="58" y="65"/>
                    <a:pt x="14" y="53"/>
                  </a:cubicBezTo>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6" name="Freeform 402"/>
            <p:cNvSpPr>
              <a:spLocks/>
            </p:cNvSpPr>
            <p:nvPr/>
          </p:nvSpPr>
          <p:spPr bwMode="gray">
            <a:xfrm>
              <a:off x="6413845" y="2264711"/>
              <a:ext cx="800637" cy="1236158"/>
            </a:xfrm>
            <a:custGeom>
              <a:avLst/>
              <a:gdLst/>
              <a:ahLst/>
              <a:cxnLst>
                <a:cxn ang="0">
                  <a:pos x="326" y="79"/>
                </a:cxn>
                <a:cxn ang="0">
                  <a:pos x="223" y="165"/>
                </a:cxn>
                <a:cxn ang="0">
                  <a:pos x="176" y="376"/>
                </a:cxn>
                <a:cxn ang="0">
                  <a:pos x="125" y="636"/>
                </a:cxn>
                <a:cxn ang="0">
                  <a:pos x="85" y="954"/>
                </a:cxn>
                <a:cxn ang="0">
                  <a:pos x="32" y="1171"/>
                </a:cxn>
                <a:cxn ang="0">
                  <a:pos x="21" y="1390"/>
                </a:cxn>
                <a:cxn ang="0">
                  <a:pos x="67" y="1561"/>
                </a:cxn>
                <a:cxn ang="0">
                  <a:pos x="209" y="1652"/>
                </a:cxn>
                <a:cxn ang="0">
                  <a:pos x="392" y="1658"/>
                </a:cxn>
                <a:cxn ang="0">
                  <a:pos x="561" y="1671"/>
                </a:cxn>
                <a:cxn ang="0">
                  <a:pos x="900" y="1658"/>
                </a:cxn>
                <a:cxn ang="0">
                  <a:pos x="1045" y="1612"/>
                </a:cxn>
                <a:cxn ang="0">
                  <a:pos x="1070" y="1374"/>
                </a:cxn>
                <a:cxn ang="0">
                  <a:pos x="1076" y="805"/>
                </a:cxn>
                <a:cxn ang="0">
                  <a:pos x="835" y="125"/>
                </a:cxn>
                <a:cxn ang="0">
                  <a:pos x="723" y="47"/>
                </a:cxn>
                <a:cxn ang="0">
                  <a:pos x="599" y="52"/>
                </a:cxn>
                <a:cxn ang="0">
                  <a:pos x="300" y="79"/>
                </a:cxn>
              </a:cxnLst>
              <a:rect l="0" t="0" r="r" b="b"/>
              <a:pathLst>
                <a:path w="1088" h="1680">
                  <a:moveTo>
                    <a:pt x="326" y="79"/>
                  </a:moveTo>
                  <a:cubicBezTo>
                    <a:pt x="297" y="119"/>
                    <a:pt x="251" y="133"/>
                    <a:pt x="223" y="165"/>
                  </a:cubicBezTo>
                  <a:cubicBezTo>
                    <a:pt x="172" y="225"/>
                    <a:pt x="180" y="301"/>
                    <a:pt x="176" y="376"/>
                  </a:cubicBezTo>
                  <a:cubicBezTo>
                    <a:pt x="172" y="466"/>
                    <a:pt x="137" y="547"/>
                    <a:pt x="125" y="636"/>
                  </a:cubicBezTo>
                  <a:cubicBezTo>
                    <a:pt x="111" y="743"/>
                    <a:pt x="107" y="850"/>
                    <a:pt x="85" y="954"/>
                  </a:cubicBezTo>
                  <a:cubicBezTo>
                    <a:pt x="69" y="1026"/>
                    <a:pt x="40" y="1095"/>
                    <a:pt x="32" y="1171"/>
                  </a:cubicBezTo>
                  <a:cubicBezTo>
                    <a:pt x="25" y="1244"/>
                    <a:pt x="31" y="1322"/>
                    <a:pt x="21" y="1390"/>
                  </a:cubicBezTo>
                  <a:cubicBezTo>
                    <a:pt x="9" y="1472"/>
                    <a:pt x="0" y="1515"/>
                    <a:pt x="67" y="1561"/>
                  </a:cubicBezTo>
                  <a:cubicBezTo>
                    <a:pt x="111" y="1592"/>
                    <a:pt x="154" y="1641"/>
                    <a:pt x="209" y="1652"/>
                  </a:cubicBezTo>
                  <a:cubicBezTo>
                    <a:pt x="266" y="1663"/>
                    <a:pt x="334" y="1652"/>
                    <a:pt x="392" y="1658"/>
                  </a:cubicBezTo>
                  <a:cubicBezTo>
                    <a:pt x="446" y="1663"/>
                    <a:pt x="503" y="1671"/>
                    <a:pt x="561" y="1671"/>
                  </a:cubicBezTo>
                  <a:cubicBezTo>
                    <a:pt x="674" y="1671"/>
                    <a:pt x="793" y="1680"/>
                    <a:pt x="900" y="1658"/>
                  </a:cubicBezTo>
                  <a:cubicBezTo>
                    <a:pt x="942" y="1650"/>
                    <a:pt x="1014" y="1649"/>
                    <a:pt x="1045" y="1612"/>
                  </a:cubicBezTo>
                  <a:cubicBezTo>
                    <a:pt x="1088" y="1561"/>
                    <a:pt x="1070" y="1445"/>
                    <a:pt x="1070" y="1374"/>
                  </a:cubicBezTo>
                  <a:cubicBezTo>
                    <a:pt x="1070" y="1184"/>
                    <a:pt x="1077" y="994"/>
                    <a:pt x="1076" y="805"/>
                  </a:cubicBezTo>
                  <a:cubicBezTo>
                    <a:pt x="1076" y="561"/>
                    <a:pt x="1059" y="262"/>
                    <a:pt x="835" y="125"/>
                  </a:cubicBezTo>
                  <a:cubicBezTo>
                    <a:pt x="796" y="101"/>
                    <a:pt x="760" y="73"/>
                    <a:pt x="723" y="47"/>
                  </a:cubicBezTo>
                  <a:cubicBezTo>
                    <a:pt x="656" y="0"/>
                    <a:pt x="653" y="1"/>
                    <a:pt x="599" y="52"/>
                  </a:cubicBezTo>
                  <a:cubicBezTo>
                    <a:pt x="500" y="143"/>
                    <a:pt x="422" y="79"/>
                    <a:pt x="300" y="79"/>
                  </a:cubicBezTo>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7" name="Freeform 409"/>
            <p:cNvSpPr>
              <a:spLocks/>
            </p:cNvSpPr>
            <p:nvPr/>
          </p:nvSpPr>
          <p:spPr bwMode="gray">
            <a:xfrm>
              <a:off x="6615407" y="2137294"/>
              <a:ext cx="328355" cy="403122"/>
            </a:xfrm>
            <a:custGeom>
              <a:avLst/>
              <a:gdLst/>
              <a:ahLst/>
              <a:cxnLst>
                <a:cxn ang="0">
                  <a:pos x="26" y="83"/>
                </a:cxn>
                <a:cxn ang="0">
                  <a:pos x="386" y="365"/>
                </a:cxn>
                <a:cxn ang="0">
                  <a:pos x="370" y="110"/>
                </a:cxn>
                <a:cxn ang="0">
                  <a:pos x="46" y="102"/>
                </a:cxn>
              </a:cxnLst>
              <a:rect l="0" t="0" r="r" b="b"/>
              <a:pathLst>
                <a:path w="446" h="548">
                  <a:moveTo>
                    <a:pt x="26" y="83"/>
                  </a:moveTo>
                  <a:cubicBezTo>
                    <a:pt x="0" y="271"/>
                    <a:pt x="191" y="548"/>
                    <a:pt x="386" y="365"/>
                  </a:cubicBezTo>
                  <a:cubicBezTo>
                    <a:pt x="446" y="309"/>
                    <a:pt x="413" y="170"/>
                    <a:pt x="370" y="110"/>
                  </a:cubicBezTo>
                  <a:cubicBezTo>
                    <a:pt x="290" y="0"/>
                    <a:pt x="139" y="48"/>
                    <a:pt x="46" y="102"/>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8" name="Freeform 410"/>
            <p:cNvSpPr>
              <a:spLocks/>
            </p:cNvSpPr>
            <p:nvPr/>
          </p:nvSpPr>
          <p:spPr bwMode="gray">
            <a:xfrm>
              <a:off x="6625064" y="2176236"/>
              <a:ext cx="290659" cy="196577"/>
            </a:xfrm>
            <a:custGeom>
              <a:avLst/>
              <a:gdLst/>
              <a:ahLst/>
              <a:cxnLst>
                <a:cxn ang="0">
                  <a:pos x="0" y="57"/>
                </a:cxn>
                <a:cxn ang="0">
                  <a:pos x="114" y="220"/>
                </a:cxn>
                <a:cxn ang="0">
                  <a:pos x="327" y="207"/>
                </a:cxn>
                <a:cxn ang="0">
                  <a:pos x="390" y="0"/>
                </a:cxn>
              </a:cxnLst>
              <a:rect l="0" t="0" r="r" b="b"/>
              <a:pathLst>
                <a:path w="395" h="267">
                  <a:moveTo>
                    <a:pt x="0" y="57"/>
                  </a:moveTo>
                  <a:cubicBezTo>
                    <a:pt x="21" y="138"/>
                    <a:pt x="43" y="178"/>
                    <a:pt x="114" y="220"/>
                  </a:cubicBezTo>
                  <a:cubicBezTo>
                    <a:pt x="179" y="260"/>
                    <a:pt x="261" y="267"/>
                    <a:pt x="327" y="207"/>
                  </a:cubicBezTo>
                  <a:cubicBezTo>
                    <a:pt x="395" y="147"/>
                    <a:pt x="385" y="88"/>
                    <a:pt x="390" y="0"/>
                  </a:cubicBezTo>
                </a:path>
              </a:pathLst>
            </a:custGeom>
            <a:solidFill>
              <a:srgbClr val="E2CEC3"/>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59" name="Freeform 411"/>
            <p:cNvSpPr>
              <a:spLocks/>
            </p:cNvSpPr>
            <p:nvPr/>
          </p:nvSpPr>
          <p:spPr bwMode="gray">
            <a:xfrm>
              <a:off x="6502944" y="1724515"/>
              <a:ext cx="478202" cy="593780"/>
            </a:xfrm>
            <a:custGeom>
              <a:avLst/>
              <a:gdLst/>
              <a:ahLst/>
              <a:cxnLst>
                <a:cxn ang="0">
                  <a:pos x="120" y="363"/>
                </a:cxn>
                <a:cxn ang="0">
                  <a:pos x="140" y="611"/>
                </a:cxn>
                <a:cxn ang="0">
                  <a:pos x="284" y="761"/>
                </a:cxn>
                <a:cxn ang="0">
                  <a:pos x="497" y="748"/>
                </a:cxn>
                <a:cxn ang="0">
                  <a:pos x="578" y="540"/>
                </a:cxn>
                <a:cxn ang="0">
                  <a:pos x="608" y="538"/>
                </a:cxn>
                <a:cxn ang="0">
                  <a:pos x="642" y="415"/>
                </a:cxn>
                <a:cxn ang="0">
                  <a:pos x="597" y="296"/>
                </a:cxn>
                <a:cxn ang="0">
                  <a:pos x="476" y="77"/>
                </a:cxn>
                <a:cxn ang="0">
                  <a:pos x="87" y="342"/>
                </a:cxn>
                <a:cxn ang="0">
                  <a:pos x="82" y="532"/>
                </a:cxn>
                <a:cxn ang="0">
                  <a:pos x="127" y="585"/>
                </a:cxn>
              </a:cxnLst>
              <a:rect l="0" t="0" r="r" b="b"/>
              <a:pathLst>
                <a:path w="650" h="807">
                  <a:moveTo>
                    <a:pt x="120" y="363"/>
                  </a:moveTo>
                  <a:cubicBezTo>
                    <a:pt x="120" y="450"/>
                    <a:pt x="119" y="530"/>
                    <a:pt x="140" y="611"/>
                  </a:cubicBezTo>
                  <a:cubicBezTo>
                    <a:pt x="161" y="693"/>
                    <a:pt x="213" y="719"/>
                    <a:pt x="284" y="761"/>
                  </a:cubicBezTo>
                  <a:cubicBezTo>
                    <a:pt x="349" y="801"/>
                    <a:pt x="431" y="807"/>
                    <a:pt x="497" y="748"/>
                  </a:cubicBezTo>
                  <a:cubicBezTo>
                    <a:pt x="565" y="687"/>
                    <a:pt x="573" y="628"/>
                    <a:pt x="578" y="540"/>
                  </a:cubicBezTo>
                  <a:cubicBezTo>
                    <a:pt x="587" y="541"/>
                    <a:pt x="600" y="537"/>
                    <a:pt x="608" y="538"/>
                  </a:cubicBezTo>
                  <a:cubicBezTo>
                    <a:pt x="630" y="496"/>
                    <a:pt x="650" y="470"/>
                    <a:pt x="642" y="415"/>
                  </a:cubicBezTo>
                  <a:cubicBezTo>
                    <a:pt x="635" y="362"/>
                    <a:pt x="605" y="352"/>
                    <a:pt x="597" y="296"/>
                  </a:cubicBezTo>
                  <a:cubicBezTo>
                    <a:pt x="583" y="205"/>
                    <a:pt x="567" y="114"/>
                    <a:pt x="476" y="77"/>
                  </a:cubicBezTo>
                  <a:cubicBezTo>
                    <a:pt x="285" y="0"/>
                    <a:pt x="74" y="133"/>
                    <a:pt x="87" y="342"/>
                  </a:cubicBezTo>
                  <a:cubicBezTo>
                    <a:pt x="0" y="360"/>
                    <a:pt x="58" y="488"/>
                    <a:pt x="82" y="532"/>
                  </a:cubicBezTo>
                  <a:cubicBezTo>
                    <a:pt x="111" y="534"/>
                    <a:pt x="124" y="559"/>
                    <a:pt x="127" y="585"/>
                  </a:cubicBezTo>
                </a:path>
              </a:pathLst>
            </a:custGeom>
            <a:solidFill>
              <a:srgbClr val="F4DDC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0" name="Freeform 412"/>
            <p:cNvSpPr>
              <a:spLocks/>
            </p:cNvSpPr>
            <p:nvPr/>
          </p:nvSpPr>
          <p:spPr bwMode="gray">
            <a:xfrm>
              <a:off x="6297644" y="3567849"/>
              <a:ext cx="224303" cy="290036"/>
            </a:xfrm>
            <a:custGeom>
              <a:avLst/>
              <a:gdLst/>
              <a:ahLst/>
              <a:cxnLst>
                <a:cxn ang="0">
                  <a:pos x="54" y="180"/>
                </a:cxn>
                <a:cxn ang="0">
                  <a:pos x="124" y="312"/>
                </a:cxn>
                <a:cxn ang="0">
                  <a:pos x="248" y="388"/>
                </a:cxn>
                <a:cxn ang="0">
                  <a:pos x="295" y="278"/>
                </a:cxn>
                <a:cxn ang="0">
                  <a:pos x="225" y="166"/>
                </a:cxn>
                <a:cxn ang="0">
                  <a:pos x="27" y="161"/>
                </a:cxn>
              </a:cxnLst>
              <a:rect l="0" t="0" r="r" b="b"/>
              <a:pathLst>
                <a:path w="305" h="394">
                  <a:moveTo>
                    <a:pt x="54" y="180"/>
                  </a:moveTo>
                  <a:cubicBezTo>
                    <a:pt x="51" y="221"/>
                    <a:pt x="101" y="280"/>
                    <a:pt x="124" y="312"/>
                  </a:cubicBezTo>
                  <a:cubicBezTo>
                    <a:pt x="155" y="357"/>
                    <a:pt x="188" y="394"/>
                    <a:pt x="248" y="388"/>
                  </a:cubicBezTo>
                  <a:cubicBezTo>
                    <a:pt x="261" y="346"/>
                    <a:pt x="289" y="322"/>
                    <a:pt x="295" y="278"/>
                  </a:cubicBezTo>
                  <a:cubicBezTo>
                    <a:pt x="305" y="206"/>
                    <a:pt x="278" y="202"/>
                    <a:pt x="225" y="166"/>
                  </a:cubicBezTo>
                  <a:cubicBezTo>
                    <a:pt x="188" y="140"/>
                    <a:pt x="0" y="0"/>
                    <a:pt x="27" y="161"/>
                  </a:cubicBezTo>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1" name="Freeform 413"/>
            <p:cNvSpPr>
              <a:spLocks/>
            </p:cNvSpPr>
            <p:nvPr/>
          </p:nvSpPr>
          <p:spPr bwMode="gray">
            <a:xfrm>
              <a:off x="7153422" y="3553207"/>
              <a:ext cx="180377" cy="270098"/>
            </a:xfrm>
            <a:custGeom>
              <a:avLst/>
              <a:gdLst/>
              <a:ahLst/>
              <a:cxnLst>
                <a:cxn ang="0">
                  <a:pos x="215" y="161"/>
                </a:cxn>
                <a:cxn ang="0">
                  <a:pos x="170" y="247"/>
                </a:cxn>
                <a:cxn ang="0">
                  <a:pos x="71" y="357"/>
                </a:cxn>
                <a:cxn ang="0">
                  <a:pos x="6" y="227"/>
                </a:cxn>
                <a:cxn ang="0">
                  <a:pos x="221" y="148"/>
                </a:cxn>
              </a:cxnLst>
              <a:rect l="0" t="0" r="r" b="b"/>
              <a:pathLst>
                <a:path w="245" h="367">
                  <a:moveTo>
                    <a:pt x="215" y="161"/>
                  </a:moveTo>
                  <a:cubicBezTo>
                    <a:pt x="237" y="200"/>
                    <a:pt x="202" y="231"/>
                    <a:pt x="170" y="247"/>
                  </a:cubicBezTo>
                  <a:cubicBezTo>
                    <a:pt x="170" y="302"/>
                    <a:pt x="133" y="367"/>
                    <a:pt x="71" y="357"/>
                  </a:cubicBezTo>
                  <a:cubicBezTo>
                    <a:pt x="22" y="349"/>
                    <a:pt x="0" y="278"/>
                    <a:pt x="6" y="227"/>
                  </a:cubicBezTo>
                  <a:cubicBezTo>
                    <a:pt x="17" y="135"/>
                    <a:pt x="245" y="0"/>
                    <a:pt x="221" y="148"/>
                  </a:cubicBezTo>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2" name="Freeform 414"/>
            <p:cNvSpPr>
              <a:spLocks/>
            </p:cNvSpPr>
            <p:nvPr/>
          </p:nvSpPr>
          <p:spPr bwMode="gray">
            <a:xfrm>
              <a:off x="6348424" y="3672212"/>
              <a:ext cx="136140" cy="190034"/>
            </a:xfrm>
            <a:custGeom>
              <a:avLst/>
              <a:gdLst/>
              <a:ahLst/>
              <a:cxnLst>
                <a:cxn ang="0">
                  <a:pos x="110" y="4"/>
                </a:cxn>
                <a:cxn ang="0">
                  <a:pos x="74" y="71"/>
                </a:cxn>
                <a:cxn ang="0">
                  <a:pos x="74" y="134"/>
                </a:cxn>
                <a:cxn ang="0">
                  <a:pos x="178" y="229"/>
                </a:cxn>
                <a:cxn ang="0">
                  <a:pos x="126" y="249"/>
                </a:cxn>
                <a:cxn ang="0">
                  <a:pos x="73" y="210"/>
                </a:cxn>
                <a:cxn ang="0">
                  <a:pos x="10" y="90"/>
                </a:cxn>
                <a:cxn ang="0">
                  <a:pos x="107" y="0"/>
                </a:cxn>
              </a:cxnLst>
              <a:rect l="0" t="0" r="r" b="b"/>
              <a:pathLst>
                <a:path w="185" h="258">
                  <a:moveTo>
                    <a:pt x="110" y="4"/>
                  </a:moveTo>
                  <a:cubicBezTo>
                    <a:pt x="132" y="37"/>
                    <a:pt x="94" y="53"/>
                    <a:pt x="74" y="71"/>
                  </a:cubicBezTo>
                  <a:cubicBezTo>
                    <a:pt x="44" y="99"/>
                    <a:pt x="53" y="104"/>
                    <a:pt x="74" y="134"/>
                  </a:cubicBezTo>
                  <a:cubicBezTo>
                    <a:pt x="106" y="179"/>
                    <a:pt x="109" y="228"/>
                    <a:pt x="178" y="229"/>
                  </a:cubicBezTo>
                  <a:cubicBezTo>
                    <a:pt x="185" y="258"/>
                    <a:pt x="143" y="255"/>
                    <a:pt x="126" y="249"/>
                  </a:cubicBezTo>
                  <a:cubicBezTo>
                    <a:pt x="110" y="244"/>
                    <a:pt x="85" y="223"/>
                    <a:pt x="73" y="210"/>
                  </a:cubicBezTo>
                  <a:cubicBezTo>
                    <a:pt x="46" y="182"/>
                    <a:pt x="0" y="133"/>
                    <a:pt x="10" y="90"/>
                  </a:cubicBezTo>
                  <a:cubicBezTo>
                    <a:pt x="20" y="49"/>
                    <a:pt x="76" y="24"/>
                    <a:pt x="107" y="0"/>
                  </a:cubicBezTo>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3" name="Freeform 419"/>
            <p:cNvSpPr>
              <a:spLocks/>
            </p:cNvSpPr>
            <p:nvPr/>
          </p:nvSpPr>
          <p:spPr bwMode="gray">
            <a:xfrm>
              <a:off x="6762761" y="2319852"/>
              <a:ext cx="239880" cy="247045"/>
            </a:xfrm>
            <a:custGeom>
              <a:avLst/>
              <a:gdLst/>
              <a:ahLst/>
              <a:cxnLst>
                <a:cxn ang="0">
                  <a:pos x="177" y="266"/>
                </a:cxn>
                <a:cxn ang="0">
                  <a:pos x="267" y="187"/>
                </a:cxn>
                <a:cxn ang="0">
                  <a:pos x="282" y="34"/>
                </a:cxn>
                <a:cxn ang="0">
                  <a:pos x="180" y="188"/>
                </a:cxn>
                <a:cxn ang="0">
                  <a:pos x="170" y="275"/>
                </a:cxn>
                <a:cxn ang="0">
                  <a:pos x="134" y="282"/>
                </a:cxn>
                <a:cxn ang="0">
                  <a:pos x="115" y="282"/>
                </a:cxn>
                <a:cxn ang="0">
                  <a:pos x="104" y="298"/>
                </a:cxn>
                <a:cxn ang="0">
                  <a:pos x="24" y="260"/>
                </a:cxn>
                <a:cxn ang="0">
                  <a:pos x="144" y="155"/>
                </a:cxn>
              </a:cxnLst>
              <a:rect l="0" t="0" r="r" b="b"/>
              <a:pathLst>
                <a:path w="326" h="336">
                  <a:moveTo>
                    <a:pt x="177" y="266"/>
                  </a:moveTo>
                  <a:cubicBezTo>
                    <a:pt x="186" y="318"/>
                    <a:pt x="258" y="202"/>
                    <a:pt x="267" y="187"/>
                  </a:cubicBezTo>
                  <a:cubicBezTo>
                    <a:pt x="287" y="153"/>
                    <a:pt x="326" y="57"/>
                    <a:pt x="282" y="34"/>
                  </a:cubicBezTo>
                  <a:cubicBezTo>
                    <a:pt x="213" y="0"/>
                    <a:pt x="180" y="141"/>
                    <a:pt x="180" y="188"/>
                  </a:cubicBezTo>
                  <a:cubicBezTo>
                    <a:pt x="180" y="212"/>
                    <a:pt x="189" y="258"/>
                    <a:pt x="170" y="275"/>
                  </a:cubicBezTo>
                  <a:cubicBezTo>
                    <a:pt x="163" y="281"/>
                    <a:pt x="143" y="280"/>
                    <a:pt x="134" y="282"/>
                  </a:cubicBezTo>
                  <a:cubicBezTo>
                    <a:pt x="129" y="284"/>
                    <a:pt x="120" y="280"/>
                    <a:pt x="115" y="282"/>
                  </a:cubicBezTo>
                  <a:cubicBezTo>
                    <a:pt x="107" y="286"/>
                    <a:pt x="110" y="295"/>
                    <a:pt x="104" y="298"/>
                  </a:cubicBezTo>
                  <a:cubicBezTo>
                    <a:pt x="60" y="325"/>
                    <a:pt x="0" y="336"/>
                    <a:pt x="24" y="260"/>
                  </a:cubicBezTo>
                  <a:cubicBezTo>
                    <a:pt x="42" y="204"/>
                    <a:pt x="111" y="200"/>
                    <a:pt x="144" y="155"/>
                  </a:cubicBezTo>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4" name="Freeform 420"/>
            <p:cNvSpPr>
              <a:spLocks/>
            </p:cNvSpPr>
            <p:nvPr/>
          </p:nvSpPr>
          <p:spPr bwMode="gray">
            <a:xfrm>
              <a:off x="6588303" y="2355990"/>
              <a:ext cx="182558" cy="211842"/>
            </a:xfrm>
            <a:custGeom>
              <a:avLst/>
              <a:gdLst/>
              <a:ahLst/>
              <a:cxnLst>
                <a:cxn ang="0">
                  <a:pos x="0" y="38"/>
                </a:cxn>
                <a:cxn ang="0">
                  <a:pos x="23" y="96"/>
                </a:cxn>
                <a:cxn ang="0">
                  <a:pos x="54" y="156"/>
                </a:cxn>
                <a:cxn ang="0">
                  <a:pos x="91" y="288"/>
                </a:cxn>
                <a:cxn ang="0">
                  <a:pos x="107" y="237"/>
                </a:cxn>
                <a:cxn ang="0">
                  <a:pos x="157" y="244"/>
                </a:cxn>
                <a:cxn ang="0">
                  <a:pos x="189" y="230"/>
                </a:cxn>
                <a:cxn ang="0">
                  <a:pos x="212" y="247"/>
                </a:cxn>
                <a:cxn ang="0">
                  <a:pos x="232" y="216"/>
                </a:cxn>
                <a:cxn ang="0">
                  <a:pos x="173" y="180"/>
                </a:cxn>
                <a:cxn ang="0">
                  <a:pos x="114" y="110"/>
                </a:cxn>
                <a:cxn ang="0">
                  <a:pos x="75" y="35"/>
                </a:cxn>
                <a:cxn ang="0">
                  <a:pos x="0" y="41"/>
                </a:cxn>
              </a:cxnLst>
              <a:rect l="0" t="0" r="r" b="b"/>
              <a:pathLst>
                <a:path w="248" h="288">
                  <a:moveTo>
                    <a:pt x="0" y="38"/>
                  </a:moveTo>
                  <a:cubicBezTo>
                    <a:pt x="14" y="53"/>
                    <a:pt x="14" y="78"/>
                    <a:pt x="23" y="96"/>
                  </a:cubicBezTo>
                  <a:cubicBezTo>
                    <a:pt x="34" y="117"/>
                    <a:pt x="46" y="134"/>
                    <a:pt x="54" y="156"/>
                  </a:cubicBezTo>
                  <a:cubicBezTo>
                    <a:pt x="72" y="201"/>
                    <a:pt x="78" y="242"/>
                    <a:pt x="91" y="288"/>
                  </a:cubicBezTo>
                  <a:cubicBezTo>
                    <a:pt x="91" y="266"/>
                    <a:pt x="86" y="247"/>
                    <a:pt x="107" y="237"/>
                  </a:cubicBezTo>
                  <a:cubicBezTo>
                    <a:pt x="127" y="227"/>
                    <a:pt x="141" y="245"/>
                    <a:pt x="157" y="244"/>
                  </a:cubicBezTo>
                  <a:cubicBezTo>
                    <a:pt x="169" y="243"/>
                    <a:pt x="174" y="229"/>
                    <a:pt x="189" y="230"/>
                  </a:cubicBezTo>
                  <a:cubicBezTo>
                    <a:pt x="202" y="231"/>
                    <a:pt x="207" y="245"/>
                    <a:pt x="212" y="247"/>
                  </a:cubicBezTo>
                  <a:cubicBezTo>
                    <a:pt x="235" y="252"/>
                    <a:pt x="248" y="241"/>
                    <a:pt x="232" y="216"/>
                  </a:cubicBezTo>
                  <a:cubicBezTo>
                    <a:pt x="222" y="201"/>
                    <a:pt x="189" y="191"/>
                    <a:pt x="173" y="180"/>
                  </a:cubicBezTo>
                  <a:cubicBezTo>
                    <a:pt x="146" y="162"/>
                    <a:pt x="130" y="138"/>
                    <a:pt x="114" y="110"/>
                  </a:cubicBezTo>
                  <a:cubicBezTo>
                    <a:pt x="101" y="85"/>
                    <a:pt x="93" y="57"/>
                    <a:pt x="75" y="35"/>
                  </a:cubicBezTo>
                  <a:cubicBezTo>
                    <a:pt x="46" y="0"/>
                    <a:pt x="34" y="24"/>
                    <a:pt x="0" y="41"/>
                  </a:cubicBezTo>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5" name="Freeform 422"/>
            <p:cNvSpPr>
              <a:spLocks/>
            </p:cNvSpPr>
            <p:nvPr/>
          </p:nvSpPr>
          <p:spPr bwMode="gray">
            <a:xfrm>
              <a:off x="6131286" y="2316737"/>
              <a:ext cx="522439" cy="1497534"/>
            </a:xfrm>
            <a:custGeom>
              <a:avLst/>
              <a:gdLst/>
              <a:ahLst/>
              <a:cxnLst>
                <a:cxn ang="0">
                  <a:pos x="710" y="8"/>
                </a:cxn>
                <a:cxn ang="0">
                  <a:pos x="461" y="124"/>
                </a:cxn>
                <a:cxn ang="0">
                  <a:pos x="220" y="242"/>
                </a:cxn>
                <a:cxn ang="0">
                  <a:pos x="97" y="511"/>
                </a:cxn>
                <a:cxn ang="0">
                  <a:pos x="45" y="889"/>
                </a:cxn>
                <a:cxn ang="0">
                  <a:pos x="19" y="1215"/>
                </a:cxn>
                <a:cxn ang="0">
                  <a:pos x="92" y="1547"/>
                </a:cxn>
                <a:cxn ang="0">
                  <a:pos x="103" y="1672"/>
                </a:cxn>
                <a:cxn ang="0">
                  <a:pos x="161" y="1815"/>
                </a:cxn>
                <a:cxn ang="0">
                  <a:pos x="285" y="2035"/>
                </a:cxn>
                <a:cxn ang="0">
                  <a:pos x="350" y="1892"/>
                </a:cxn>
                <a:cxn ang="0">
                  <a:pos x="424" y="1784"/>
                </a:cxn>
                <a:cxn ang="0">
                  <a:pos x="436" y="1691"/>
                </a:cxn>
                <a:cxn ang="0">
                  <a:pos x="438" y="1566"/>
                </a:cxn>
                <a:cxn ang="0">
                  <a:pos x="346" y="1448"/>
                </a:cxn>
                <a:cxn ang="0">
                  <a:pos x="312" y="1328"/>
                </a:cxn>
                <a:cxn ang="0">
                  <a:pos x="346" y="1417"/>
                </a:cxn>
                <a:cxn ang="0">
                  <a:pos x="351" y="1515"/>
                </a:cxn>
                <a:cxn ang="0">
                  <a:pos x="442" y="1684"/>
                </a:cxn>
                <a:cxn ang="0">
                  <a:pos x="480" y="1383"/>
                </a:cxn>
                <a:cxn ang="0">
                  <a:pos x="645" y="1164"/>
                </a:cxn>
                <a:cxn ang="0">
                  <a:pos x="651" y="830"/>
                </a:cxn>
                <a:cxn ang="0">
                  <a:pos x="633" y="484"/>
                </a:cxn>
                <a:cxn ang="0">
                  <a:pos x="638" y="211"/>
                </a:cxn>
                <a:cxn ang="0">
                  <a:pos x="689" y="0"/>
                </a:cxn>
              </a:cxnLst>
              <a:rect l="0" t="0" r="r" b="b"/>
              <a:pathLst>
                <a:path w="710" h="2035">
                  <a:moveTo>
                    <a:pt x="710" y="8"/>
                  </a:moveTo>
                  <a:cubicBezTo>
                    <a:pt x="634" y="55"/>
                    <a:pt x="553" y="92"/>
                    <a:pt x="461" y="124"/>
                  </a:cubicBezTo>
                  <a:cubicBezTo>
                    <a:pt x="373" y="155"/>
                    <a:pt x="294" y="189"/>
                    <a:pt x="220" y="242"/>
                  </a:cubicBezTo>
                  <a:cubicBezTo>
                    <a:pt x="122" y="311"/>
                    <a:pt x="102" y="391"/>
                    <a:pt x="97" y="511"/>
                  </a:cubicBezTo>
                  <a:cubicBezTo>
                    <a:pt x="92" y="641"/>
                    <a:pt x="50" y="759"/>
                    <a:pt x="45" y="889"/>
                  </a:cubicBezTo>
                  <a:cubicBezTo>
                    <a:pt x="40" y="1001"/>
                    <a:pt x="36" y="1107"/>
                    <a:pt x="19" y="1215"/>
                  </a:cubicBezTo>
                  <a:cubicBezTo>
                    <a:pt x="0" y="1330"/>
                    <a:pt x="58" y="1440"/>
                    <a:pt x="92" y="1547"/>
                  </a:cubicBezTo>
                  <a:cubicBezTo>
                    <a:pt x="109" y="1602"/>
                    <a:pt x="106" y="1613"/>
                    <a:pt x="103" y="1672"/>
                  </a:cubicBezTo>
                  <a:cubicBezTo>
                    <a:pt x="100" y="1744"/>
                    <a:pt x="128" y="1759"/>
                    <a:pt x="161" y="1815"/>
                  </a:cubicBezTo>
                  <a:cubicBezTo>
                    <a:pt x="199" y="1882"/>
                    <a:pt x="204" y="1990"/>
                    <a:pt x="285" y="2035"/>
                  </a:cubicBezTo>
                  <a:cubicBezTo>
                    <a:pt x="302" y="1952"/>
                    <a:pt x="281" y="1934"/>
                    <a:pt x="350" y="1892"/>
                  </a:cubicBezTo>
                  <a:cubicBezTo>
                    <a:pt x="393" y="1865"/>
                    <a:pt x="418" y="1834"/>
                    <a:pt x="424" y="1784"/>
                  </a:cubicBezTo>
                  <a:cubicBezTo>
                    <a:pt x="484" y="1758"/>
                    <a:pt x="441" y="1724"/>
                    <a:pt x="436" y="1691"/>
                  </a:cubicBezTo>
                  <a:cubicBezTo>
                    <a:pt x="430" y="1650"/>
                    <a:pt x="449" y="1610"/>
                    <a:pt x="438" y="1566"/>
                  </a:cubicBezTo>
                  <a:cubicBezTo>
                    <a:pt x="423" y="1511"/>
                    <a:pt x="375" y="1496"/>
                    <a:pt x="346" y="1448"/>
                  </a:cubicBezTo>
                  <a:cubicBezTo>
                    <a:pt x="323" y="1410"/>
                    <a:pt x="333" y="1365"/>
                    <a:pt x="312" y="1328"/>
                  </a:cubicBezTo>
                  <a:cubicBezTo>
                    <a:pt x="315" y="1365"/>
                    <a:pt x="336" y="1385"/>
                    <a:pt x="346" y="1417"/>
                  </a:cubicBezTo>
                  <a:cubicBezTo>
                    <a:pt x="357" y="1451"/>
                    <a:pt x="344" y="1485"/>
                    <a:pt x="351" y="1515"/>
                  </a:cubicBezTo>
                  <a:cubicBezTo>
                    <a:pt x="364" y="1569"/>
                    <a:pt x="421" y="1628"/>
                    <a:pt x="442" y="1684"/>
                  </a:cubicBezTo>
                  <a:cubicBezTo>
                    <a:pt x="541" y="1665"/>
                    <a:pt x="458" y="1450"/>
                    <a:pt x="480" y="1383"/>
                  </a:cubicBezTo>
                  <a:cubicBezTo>
                    <a:pt x="507" y="1304"/>
                    <a:pt x="600" y="1240"/>
                    <a:pt x="645" y="1164"/>
                  </a:cubicBezTo>
                  <a:cubicBezTo>
                    <a:pt x="695" y="1079"/>
                    <a:pt x="681" y="927"/>
                    <a:pt x="651" y="830"/>
                  </a:cubicBezTo>
                  <a:cubicBezTo>
                    <a:pt x="617" y="717"/>
                    <a:pt x="628" y="605"/>
                    <a:pt x="633" y="484"/>
                  </a:cubicBezTo>
                  <a:cubicBezTo>
                    <a:pt x="637" y="395"/>
                    <a:pt x="637" y="302"/>
                    <a:pt x="638" y="211"/>
                  </a:cubicBezTo>
                  <a:cubicBezTo>
                    <a:pt x="639" y="165"/>
                    <a:pt x="655" y="22"/>
                    <a:pt x="689" y="0"/>
                  </a:cubicBezTo>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6" name="Freeform 423"/>
            <p:cNvSpPr>
              <a:spLocks/>
            </p:cNvSpPr>
            <p:nvPr/>
          </p:nvSpPr>
          <p:spPr bwMode="gray">
            <a:xfrm>
              <a:off x="6927562" y="2289634"/>
              <a:ext cx="524620" cy="1473857"/>
            </a:xfrm>
            <a:custGeom>
              <a:avLst/>
              <a:gdLst/>
              <a:ahLst/>
              <a:cxnLst>
                <a:cxn ang="0">
                  <a:pos x="26" y="26"/>
                </a:cxn>
                <a:cxn ang="0">
                  <a:pos x="78" y="195"/>
                </a:cxn>
                <a:cxn ang="0">
                  <a:pos x="78" y="378"/>
                </a:cxn>
                <a:cxn ang="0">
                  <a:pos x="52" y="756"/>
                </a:cxn>
                <a:cxn ang="0">
                  <a:pos x="223" y="1375"/>
                </a:cxn>
                <a:cxn ang="0">
                  <a:pos x="289" y="1722"/>
                </a:cxn>
                <a:cxn ang="0">
                  <a:pos x="365" y="1853"/>
                </a:cxn>
                <a:cxn ang="0">
                  <a:pos x="500" y="2003"/>
                </a:cxn>
                <a:cxn ang="0">
                  <a:pos x="605" y="1786"/>
                </a:cxn>
                <a:cxn ang="0">
                  <a:pos x="660" y="1638"/>
                </a:cxn>
                <a:cxn ang="0">
                  <a:pos x="690" y="1636"/>
                </a:cxn>
                <a:cxn ang="0">
                  <a:pos x="664" y="1494"/>
                </a:cxn>
                <a:cxn ang="0">
                  <a:pos x="685" y="1355"/>
                </a:cxn>
                <a:cxn ang="0">
                  <a:pos x="685" y="1173"/>
                </a:cxn>
                <a:cxn ang="0">
                  <a:pos x="698" y="996"/>
                </a:cxn>
                <a:cxn ang="0">
                  <a:pos x="581" y="306"/>
                </a:cxn>
                <a:cxn ang="0">
                  <a:pos x="553" y="209"/>
                </a:cxn>
                <a:cxn ang="0">
                  <a:pos x="478" y="156"/>
                </a:cxn>
                <a:cxn ang="0">
                  <a:pos x="255" y="58"/>
                </a:cxn>
                <a:cxn ang="0">
                  <a:pos x="124" y="53"/>
                </a:cxn>
                <a:cxn ang="0">
                  <a:pos x="0" y="0"/>
                </a:cxn>
              </a:cxnLst>
              <a:rect l="0" t="0" r="r" b="b"/>
              <a:pathLst>
                <a:path w="713" h="2003">
                  <a:moveTo>
                    <a:pt x="26" y="26"/>
                  </a:moveTo>
                  <a:cubicBezTo>
                    <a:pt x="41" y="88"/>
                    <a:pt x="75" y="128"/>
                    <a:pt x="78" y="195"/>
                  </a:cubicBezTo>
                  <a:cubicBezTo>
                    <a:pt x="81" y="255"/>
                    <a:pt x="81" y="318"/>
                    <a:pt x="78" y="378"/>
                  </a:cubicBezTo>
                  <a:cubicBezTo>
                    <a:pt x="72" y="504"/>
                    <a:pt x="69" y="632"/>
                    <a:pt x="52" y="756"/>
                  </a:cubicBezTo>
                  <a:cubicBezTo>
                    <a:pt x="21" y="976"/>
                    <a:pt x="157" y="1175"/>
                    <a:pt x="223" y="1375"/>
                  </a:cubicBezTo>
                  <a:cubicBezTo>
                    <a:pt x="259" y="1483"/>
                    <a:pt x="243" y="1613"/>
                    <a:pt x="289" y="1722"/>
                  </a:cubicBezTo>
                  <a:cubicBezTo>
                    <a:pt x="305" y="1763"/>
                    <a:pt x="322" y="1844"/>
                    <a:pt x="365" y="1853"/>
                  </a:cubicBezTo>
                  <a:cubicBezTo>
                    <a:pt x="439" y="1868"/>
                    <a:pt x="480" y="1987"/>
                    <a:pt x="500" y="2003"/>
                  </a:cubicBezTo>
                  <a:cubicBezTo>
                    <a:pt x="528" y="1954"/>
                    <a:pt x="585" y="1837"/>
                    <a:pt x="605" y="1786"/>
                  </a:cubicBezTo>
                  <a:cubicBezTo>
                    <a:pt x="627" y="1729"/>
                    <a:pt x="664" y="1706"/>
                    <a:pt x="660" y="1638"/>
                  </a:cubicBezTo>
                  <a:cubicBezTo>
                    <a:pt x="669" y="1639"/>
                    <a:pt x="681" y="1635"/>
                    <a:pt x="690" y="1636"/>
                  </a:cubicBezTo>
                  <a:cubicBezTo>
                    <a:pt x="713" y="1578"/>
                    <a:pt x="679" y="1543"/>
                    <a:pt x="664" y="1494"/>
                  </a:cubicBezTo>
                  <a:cubicBezTo>
                    <a:pt x="646" y="1434"/>
                    <a:pt x="677" y="1415"/>
                    <a:pt x="685" y="1355"/>
                  </a:cubicBezTo>
                  <a:cubicBezTo>
                    <a:pt x="693" y="1296"/>
                    <a:pt x="680" y="1233"/>
                    <a:pt x="685" y="1173"/>
                  </a:cubicBezTo>
                  <a:cubicBezTo>
                    <a:pt x="690" y="1114"/>
                    <a:pt x="705" y="1058"/>
                    <a:pt x="698" y="996"/>
                  </a:cubicBezTo>
                  <a:cubicBezTo>
                    <a:pt x="673" y="769"/>
                    <a:pt x="636" y="526"/>
                    <a:pt x="581" y="306"/>
                  </a:cubicBezTo>
                  <a:cubicBezTo>
                    <a:pt x="574" y="278"/>
                    <a:pt x="570" y="231"/>
                    <a:pt x="553" y="209"/>
                  </a:cubicBezTo>
                  <a:cubicBezTo>
                    <a:pt x="533" y="182"/>
                    <a:pt x="477" y="162"/>
                    <a:pt x="478" y="156"/>
                  </a:cubicBezTo>
                  <a:cubicBezTo>
                    <a:pt x="389" y="166"/>
                    <a:pt x="332" y="77"/>
                    <a:pt x="255" y="58"/>
                  </a:cubicBezTo>
                  <a:cubicBezTo>
                    <a:pt x="213" y="48"/>
                    <a:pt x="165" y="63"/>
                    <a:pt x="124" y="53"/>
                  </a:cubicBezTo>
                  <a:cubicBezTo>
                    <a:pt x="82" y="43"/>
                    <a:pt x="34" y="21"/>
                    <a:pt x="0" y="0"/>
                  </a:cubicBezTo>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7" name="Freeform 425"/>
            <p:cNvSpPr>
              <a:spLocks/>
            </p:cNvSpPr>
            <p:nvPr/>
          </p:nvSpPr>
          <p:spPr bwMode="gray">
            <a:xfrm>
              <a:off x="6702324" y="2488391"/>
              <a:ext cx="224615" cy="991294"/>
            </a:xfrm>
            <a:custGeom>
              <a:avLst/>
              <a:gdLst/>
              <a:ahLst/>
              <a:cxnLst>
                <a:cxn ang="0">
                  <a:pos x="65" y="43"/>
                </a:cxn>
                <a:cxn ang="0">
                  <a:pos x="51" y="199"/>
                </a:cxn>
                <a:cxn ang="0">
                  <a:pos x="12" y="343"/>
                </a:cxn>
                <a:cxn ang="0">
                  <a:pos x="25" y="499"/>
                </a:cxn>
                <a:cxn ang="0">
                  <a:pos x="6" y="676"/>
                </a:cxn>
                <a:cxn ang="0">
                  <a:pos x="19" y="1021"/>
                </a:cxn>
                <a:cxn ang="0">
                  <a:pos x="19" y="1222"/>
                </a:cxn>
                <a:cxn ang="0">
                  <a:pos x="125" y="1313"/>
                </a:cxn>
                <a:cxn ang="0">
                  <a:pos x="215" y="1300"/>
                </a:cxn>
                <a:cxn ang="0">
                  <a:pos x="274" y="1238"/>
                </a:cxn>
                <a:cxn ang="0">
                  <a:pos x="260" y="923"/>
                </a:cxn>
                <a:cxn ang="0">
                  <a:pos x="233" y="599"/>
                </a:cxn>
                <a:cxn ang="0">
                  <a:pos x="195" y="271"/>
                </a:cxn>
                <a:cxn ang="0">
                  <a:pos x="109" y="5"/>
                </a:cxn>
                <a:cxn ang="0">
                  <a:pos x="71" y="10"/>
                </a:cxn>
              </a:cxnLst>
              <a:rect l="0" t="0" r="r" b="b"/>
              <a:pathLst>
                <a:path w="305" h="1347">
                  <a:moveTo>
                    <a:pt x="65" y="43"/>
                  </a:moveTo>
                  <a:cubicBezTo>
                    <a:pt x="65" y="98"/>
                    <a:pt x="64" y="149"/>
                    <a:pt x="51" y="199"/>
                  </a:cubicBezTo>
                  <a:cubicBezTo>
                    <a:pt x="38" y="249"/>
                    <a:pt x="15" y="290"/>
                    <a:pt x="12" y="343"/>
                  </a:cubicBezTo>
                  <a:cubicBezTo>
                    <a:pt x="10" y="396"/>
                    <a:pt x="24" y="446"/>
                    <a:pt x="25" y="499"/>
                  </a:cubicBezTo>
                  <a:cubicBezTo>
                    <a:pt x="27" y="562"/>
                    <a:pt x="9" y="614"/>
                    <a:pt x="6" y="676"/>
                  </a:cubicBezTo>
                  <a:cubicBezTo>
                    <a:pt x="1" y="794"/>
                    <a:pt x="13" y="908"/>
                    <a:pt x="19" y="1021"/>
                  </a:cubicBezTo>
                  <a:cubicBezTo>
                    <a:pt x="21" y="1070"/>
                    <a:pt x="0" y="1184"/>
                    <a:pt x="19" y="1222"/>
                  </a:cubicBezTo>
                  <a:cubicBezTo>
                    <a:pt x="28" y="1241"/>
                    <a:pt x="107" y="1301"/>
                    <a:pt x="125" y="1313"/>
                  </a:cubicBezTo>
                  <a:cubicBezTo>
                    <a:pt x="174" y="1347"/>
                    <a:pt x="167" y="1337"/>
                    <a:pt x="215" y="1300"/>
                  </a:cubicBezTo>
                  <a:cubicBezTo>
                    <a:pt x="241" y="1280"/>
                    <a:pt x="266" y="1268"/>
                    <a:pt x="274" y="1238"/>
                  </a:cubicBezTo>
                  <a:cubicBezTo>
                    <a:pt x="305" y="1224"/>
                    <a:pt x="260" y="978"/>
                    <a:pt x="260" y="923"/>
                  </a:cubicBezTo>
                  <a:cubicBezTo>
                    <a:pt x="260" y="807"/>
                    <a:pt x="243" y="709"/>
                    <a:pt x="233" y="599"/>
                  </a:cubicBezTo>
                  <a:cubicBezTo>
                    <a:pt x="223" y="492"/>
                    <a:pt x="225" y="372"/>
                    <a:pt x="195" y="271"/>
                  </a:cubicBezTo>
                  <a:cubicBezTo>
                    <a:pt x="171" y="188"/>
                    <a:pt x="157" y="79"/>
                    <a:pt x="109" y="5"/>
                  </a:cubicBezTo>
                  <a:cubicBezTo>
                    <a:pt x="94" y="0"/>
                    <a:pt x="80" y="4"/>
                    <a:pt x="71" y="10"/>
                  </a:cubicBezTo>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8" name="Freeform 426"/>
            <p:cNvSpPr>
              <a:spLocks/>
            </p:cNvSpPr>
            <p:nvPr/>
          </p:nvSpPr>
          <p:spPr bwMode="gray">
            <a:xfrm>
              <a:off x="6710424" y="2429511"/>
              <a:ext cx="114021" cy="150158"/>
            </a:xfrm>
            <a:custGeom>
              <a:avLst/>
              <a:gdLst/>
              <a:ahLst/>
              <a:cxnLst>
                <a:cxn ang="0">
                  <a:pos x="27" y="55"/>
                </a:cxn>
                <a:cxn ang="0">
                  <a:pos x="144" y="76"/>
                </a:cxn>
                <a:cxn ang="0">
                  <a:pos x="27" y="55"/>
                </a:cxn>
              </a:cxnLst>
              <a:rect l="0" t="0" r="r" b="b"/>
              <a:pathLst>
                <a:path w="155" h="204">
                  <a:moveTo>
                    <a:pt x="27" y="55"/>
                  </a:moveTo>
                  <a:cubicBezTo>
                    <a:pt x="77" y="0"/>
                    <a:pt x="89" y="9"/>
                    <a:pt x="144" y="76"/>
                  </a:cubicBezTo>
                  <a:cubicBezTo>
                    <a:pt x="155" y="204"/>
                    <a:pt x="0" y="167"/>
                    <a:pt x="27" y="55"/>
                  </a:cubicBezTo>
                </a:path>
              </a:pathLst>
            </a:custGeom>
            <a:solidFill>
              <a:srgbClr val="808080">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69" name="Freeform 427"/>
            <p:cNvSpPr>
              <a:spLocks/>
            </p:cNvSpPr>
            <p:nvPr/>
          </p:nvSpPr>
          <p:spPr bwMode="gray">
            <a:xfrm>
              <a:off x="6691420" y="2404277"/>
              <a:ext cx="152339" cy="142993"/>
            </a:xfrm>
            <a:custGeom>
              <a:avLst/>
              <a:gdLst/>
              <a:ahLst/>
              <a:cxnLst>
                <a:cxn ang="0">
                  <a:pos x="27" y="78"/>
                </a:cxn>
                <a:cxn ang="0">
                  <a:pos x="196" y="66"/>
                </a:cxn>
                <a:cxn ang="0">
                  <a:pos x="27" y="78"/>
                </a:cxn>
              </a:cxnLst>
              <a:rect l="0" t="0" r="r" b="b"/>
              <a:pathLst>
                <a:path w="207" h="194">
                  <a:moveTo>
                    <a:pt x="27" y="78"/>
                  </a:moveTo>
                  <a:cubicBezTo>
                    <a:pt x="77" y="23"/>
                    <a:pt x="142" y="0"/>
                    <a:pt x="196" y="66"/>
                  </a:cubicBezTo>
                  <a:cubicBezTo>
                    <a:pt x="207" y="194"/>
                    <a:pt x="0" y="190"/>
                    <a:pt x="27" y="78"/>
                  </a:cubicBezTo>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0" name="Freeform 428"/>
            <p:cNvSpPr>
              <a:spLocks/>
            </p:cNvSpPr>
            <p:nvPr/>
          </p:nvSpPr>
          <p:spPr bwMode="gray">
            <a:xfrm>
              <a:off x="6592665" y="2313310"/>
              <a:ext cx="158881" cy="236141"/>
            </a:xfrm>
            <a:custGeom>
              <a:avLst/>
              <a:gdLst/>
              <a:ahLst/>
              <a:cxnLst>
                <a:cxn ang="0">
                  <a:pos x="64" y="0"/>
                </a:cxn>
                <a:cxn ang="0">
                  <a:pos x="44" y="157"/>
                </a:cxn>
                <a:cxn ang="0">
                  <a:pos x="116" y="321"/>
                </a:cxn>
                <a:cxn ang="0">
                  <a:pos x="199" y="157"/>
                </a:cxn>
                <a:cxn ang="0">
                  <a:pos x="64" y="0"/>
                </a:cxn>
              </a:cxnLst>
              <a:rect l="0" t="0" r="r" b="b"/>
              <a:pathLst>
                <a:path w="216" h="321">
                  <a:moveTo>
                    <a:pt x="64" y="0"/>
                  </a:moveTo>
                  <a:cubicBezTo>
                    <a:pt x="0" y="59"/>
                    <a:pt x="8" y="82"/>
                    <a:pt x="44" y="157"/>
                  </a:cubicBezTo>
                  <a:cubicBezTo>
                    <a:pt x="69" y="212"/>
                    <a:pt x="82" y="269"/>
                    <a:pt x="116" y="321"/>
                  </a:cubicBezTo>
                  <a:cubicBezTo>
                    <a:pt x="139" y="272"/>
                    <a:pt x="216" y="223"/>
                    <a:pt x="199" y="157"/>
                  </a:cubicBezTo>
                  <a:cubicBezTo>
                    <a:pt x="190" y="118"/>
                    <a:pt x="98" y="14"/>
                    <a:pt x="64" y="0"/>
                  </a:cubicBezTo>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1" name="Freeform 429"/>
            <p:cNvSpPr>
              <a:spLocks/>
            </p:cNvSpPr>
            <p:nvPr/>
          </p:nvSpPr>
          <p:spPr bwMode="gray">
            <a:xfrm>
              <a:off x="6809803" y="2256611"/>
              <a:ext cx="209661" cy="280379"/>
            </a:xfrm>
            <a:custGeom>
              <a:avLst/>
              <a:gdLst/>
              <a:ahLst/>
              <a:cxnLst>
                <a:cxn ang="0">
                  <a:pos x="139" y="0"/>
                </a:cxn>
                <a:cxn ang="0">
                  <a:pos x="14" y="230"/>
                </a:cxn>
                <a:cxn ang="0">
                  <a:pos x="108" y="381"/>
                </a:cxn>
                <a:cxn ang="0">
                  <a:pos x="139" y="0"/>
                </a:cxn>
              </a:cxnLst>
              <a:rect l="0" t="0" r="r" b="b"/>
              <a:pathLst>
                <a:path w="285" h="381">
                  <a:moveTo>
                    <a:pt x="139" y="0"/>
                  </a:moveTo>
                  <a:cubicBezTo>
                    <a:pt x="137" y="100"/>
                    <a:pt x="30" y="143"/>
                    <a:pt x="14" y="230"/>
                  </a:cubicBezTo>
                  <a:cubicBezTo>
                    <a:pt x="0" y="301"/>
                    <a:pt x="66" y="333"/>
                    <a:pt x="108" y="381"/>
                  </a:cubicBezTo>
                  <a:cubicBezTo>
                    <a:pt x="181" y="285"/>
                    <a:pt x="285" y="67"/>
                    <a:pt x="139" y="0"/>
                  </a:cubicBezTo>
                  <a:close/>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2" name="Freeform 430"/>
            <p:cNvSpPr>
              <a:spLocks/>
            </p:cNvSpPr>
            <p:nvPr/>
          </p:nvSpPr>
          <p:spPr bwMode="gray">
            <a:xfrm>
              <a:off x="6759646" y="3542926"/>
              <a:ext cx="114021" cy="34580"/>
            </a:xfrm>
            <a:custGeom>
              <a:avLst/>
              <a:gdLst/>
              <a:ahLst/>
              <a:cxnLst>
                <a:cxn ang="0">
                  <a:pos x="0" y="45"/>
                </a:cxn>
                <a:cxn ang="0">
                  <a:pos x="155" y="44"/>
                </a:cxn>
                <a:cxn ang="0">
                  <a:pos x="0" y="19"/>
                </a:cxn>
              </a:cxnLst>
              <a:rect l="0" t="0" r="r" b="b"/>
              <a:pathLst>
                <a:path w="155" h="47">
                  <a:moveTo>
                    <a:pt x="0" y="45"/>
                  </a:moveTo>
                  <a:cubicBezTo>
                    <a:pt x="51" y="45"/>
                    <a:pt x="104" y="47"/>
                    <a:pt x="155" y="44"/>
                  </a:cubicBezTo>
                  <a:cubicBezTo>
                    <a:pt x="142" y="0"/>
                    <a:pt x="41" y="19"/>
                    <a:pt x="0" y="19"/>
                  </a:cubicBezTo>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3" name="Freeform 431"/>
            <p:cNvSpPr>
              <a:spLocks/>
            </p:cNvSpPr>
            <p:nvPr/>
          </p:nvSpPr>
          <p:spPr bwMode="gray">
            <a:xfrm>
              <a:off x="6783945" y="1717973"/>
              <a:ext cx="205300" cy="330224"/>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4" name="Freeform 432"/>
            <p:cNvSpPr>
              <a:spLocks/>
            </p:cNvSpPr>
            <p:nvPr/>
          </p:nvSpPr>
          <p:spPr bwMode="gray">
            <a:xfrm>
              <a:off x="6783945" y="1717973"/>
              <a:ext cx="205300" cy="330224"/>
            </a:xfrm>
            <a:custGeom>
              <a:avLst/>
              <a:gdLst/>
              <a:ahLst/>
              <a:cxnLst>
                <a:cxn ang="0">
                  <a:pos x="110" y="150"/>
                </a:cxn>
                <a:cxn ang="0">
                  <a:pos x="144" y="299"/>
                </a:cxn>
                <a:cxn ang="0">
                  <a:pos x="174" y="301"/>
                </a:cxn>
                <a:cxn ang="0">
                  <a:pos x="213" y="449"/>
                </a:cxn>
                <a:cxn ang="0">
                  <a:pos x="215" y="412"/>
                </a:cxn>
                <a:cxn ang="0">
                  <a:pos x="246" y="423"/>
                </a:cxn>
                <a:cxn ang="0">
                  <a:pos x="242" y="321"/>
                </a:cxn>
                <a:cxn ang="0">
                  <a:pos x="265" y="332"/>
                </a:cxn>
                <a:cxn ang="0">
                  <a:pos x="254" y="268"/>
                </a:cxn>
                <a:cxn ang="0">
                  <a:pos x="272" y="274"/>
                </a:cxn>
                <a:cxn ang="0">
                  <a:pos x="144" y="64"/>
                </a:cxn>
                <a:cxn ang="0">
                  <a:pos x="36" y="32"/>
                </a:cxn>
                <a:cxn ang="0">
                  <a:pos x="78" y="150"/>
                </a:cxn>
              </a:cxnLst>
              <a:rect l="0" t="0" r="r" b="b"/>
              <a:pathLst>
                <a:path w="279" h="449">
                  <a:moveTo>
                    <a:pt x="110" y="150"/>
                  </a:moveTo>
                  <a:cubicBezTo>
                    <a:pt x="154" y="187"/>
                    <a:pt x="141" y="247"/>
                    <a:pt x="144" y="299"/>
                  </a:cubicBezTo>
                  <a:cubicBezTo>
                    <a:pt x="153" y="298"/>
                    <a:pt x="165" y="302"/>
                    <a:pt x="174" y="301"/>
                  </a:cubicBezTo>
                  <a:cubicBezTo>
                    <a:pt x="177" y="347"/>
                    <a:pt x="156" y="440"/>
                    <a:pt x="213" y="449"/>
                  </a:cubicBezTo>
                  <a:cubicBezTo>
                    <a:pt x="212" y="438"/>
                    <a:pt x="217" y="423"/>
                    <a:pt x="215" y="412"/>
                  </a:cubicBezTo>
                  <a:cubicBezTo>
                    <a:pt x="223" y="417"/>
                    <a:pt x="240" y="420"/>
                    <a:pt x="246" y="423"/>
                  </a:cubicBezTo>
                  <a:cubicBezTo>
                    <a:pt x="253" y="387"/>
                    <a:pt x="238" y="357"/>
                    <a:pt x="242" y="321"/>
                  </a:cubicBezTo>
                  <a:cubicBezTo>
                    <a:pt x="248" y="324"/>
                    <a:pt x="258" y="327"/>
                    <a:pt x="265" y="332"/>
                  </a:cubicBezTo>
                  <a:cubicBezTo>
                    <a:pt x="265" y="310"/>
                    <a:pt x="261" y="287"/>
                    <a:pt x="254" y="268"/>
                  </a:cubicBezTo>
                  <a:cubicBezTo>
                    <a:pt x="261" y="269"/>
                    <a:pt x="266" y="272"/>
                    <a:pt x="272" y="274"/>
                  </a:cubicBezTo>
                  <a:cubicBezTo>
                    <a:pt x="279" y="182"/>
                    <a:pt x="203" y="125"/>
                    <a:pt x="144" y="64"/>
                  </a:cubicBezTo>
                  <a:cubicBezTo>
                    <a:pt x="125" y="43"/>
                    <a:pt x="67" y="0"/>
                    <a:pt x="36" y="32"/>
                  </a:cubicBezTo>
                  <a:cubicBezTo>
                    <a:pt x="0" y="71"/>
                    <a:pt x="65" y="124"/>
                    <a:pt x="78" y="150"/>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5" name="Freeform 433"/>
            <p:cNvSpPr>
              <a:spLocks/>
            </p:cNvSpPr>
            <p:nvPr/>
          </p:nvSpPr>
          <p:spPr bwMode="gray">
            <a:xfrm>
              <a:off x="6519766" y="1695854"/>
              <a:ext cx="424618" cy="386299"/>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6" name="Freeform 434"/>
            <p:cNvSpPr>
              <a:spLocks/>
            </p:cNvSpPr>
            <p:nvPr/>
          </p:nvSpPr>
          <p:spPr bwMode="gray">
            <a:xfrm>
              <a:off x="6519766" y="1695854"/>
              <a:ext cx="424618" cy="386299"/>
            </a:xfrm>
            <a:custGeom>
              <a:avLst/>
              <a:gdLst/>
              <a:ahLst/>
              <a:cxnLst>
                <a:cxn ang="0">
                  <a:pos x="19" y="409"/>
                </a:cxn>
                <a:cxn ang="0">
                  <a:pos x="45" y="401"/>
                </a:cxn>
                <a:cxn ang="0">
                  <a:pos x="96" y="525"/>
                </a:cxn>
                <a:cxn ang="0">
                  <a:pos x="97" y="441"/>
                </a:cxn>
                <a:cxn ang="0">
                  <a:pos x="116" y="371"/>
                </a:cxn>
                <a:cxn ang="0">
                  <a:pos x="92" y="324"/>
                </a:cxn>
                <a:cxn ang="0">
                  <a:pos x="129" y="343"/>
                </a:cxn>
                <a:cxn ang="0">
                  <a:pos x="131" y="227"/>
                </a:cxn>
                <a:cxn ang="0">
                  <a:pos x="200" y="212"/>
                </a:cxn>
                <a:cxn ang="0">
                  <a:pos x="216" y="175"/>
                </a:cxn>
                <a:cxn ang="0">
                  <a:pos x="264" y="182"/>
                </a:cxn>
                <a:cxn ang="0">
                  <a:pos x="443" y="193"/>
                </a:cxn>
                <a:cxn ang="0">
                  <a:pos x="353" y="2"/>
                </a:cxn>
                <a:cxn ang="0">
                  <a:pos x="353" y="2"/>
                </a:cxn>
                <a:cxn ang="0">
                  <a:pos x="375" y="31"/>
                </a:cxn>
                <a:cxn ang="0">
                  <a:pos x="196" y="18"/>
                </a:cxn>
                <a:cxn ang="0">
                  <a:pos x="226" y="57"/>
                </a:cxn>
                <a:cxn ang="0">
                  <a:pos x="93" y="102"/>
                </a:cxn>
                <a:cxn ang="0">
                  <a:pos x="124" y="115"/>
                </a:cxn>
                <a:cxn ang="0">
                  <a:pos x="27" y="254"/>
                </a:cxn>
                <a:cxn ang="0">
                  <a:pos x="27" y="343"/>
                </a:cxn>
                <a:cxn ang="0">
                  <a:pos x="0" y="414"/>
                </a:cxn>
                <a:cxn ang="0">
                  <a:pos x="50" y="403"/>
                </a:cxn>
                <a:cxn ang="0">
                  <a:pos x="65" y="441"/>
                </a:cxn>
              </a:cxnLst>
              <a:rect l="0" t="0" r="r" b="b"/>
              <a:pathLst>
                <a:path w="577" h="525">
                  <a:moveTo>
                    <a:pt x="19" y="409"/>
                  </a:moveTo>
                  <a:cubicBezTo>
                    <a:pt x="29" y="405"/>
                    <a:pt x="36" y="410"/>
                    <a:pt x="45" y="401"/>
                  </a:cubicBezTo>
                  <a:cubicBezTo>
                    <a:pt x="87" y="433"/>
                    <a:pt x="29" y="516"/>
                    <a:pt x="96" y="525"/>
                  </a:cubicBezTo>
                  <a:cubicBezTo>
                    <a:pt x="98" y="498"/>
                    <a:pt x="93" y="468"/>
                    <a:pt x="97" y="441"/>
                  </a:cubicBezTo>
                  <a:cubicBezTo>
                    <a:pt x="101" y="415"/>
                    <a:pt x="126" y="405"/>
                    <a:pt x="116" y="371"/>
                  </a:cubicBezTo>
                  <a:cubicBezTo>
                    <a:pt x="96" y="357"/>
                    <a:pt x="93" y="351"/>
                    <a:pt x="92" y="324"/>
                  </a:cubicBezTo>
                  <a:cubicBezTo>
                    <a:pt x="102" y="332"/>
                    <a:pt x="118" y="334"/>
                    <a:pt x="129" y="343"/>
                  </a:cubicBezTo>
                  <a:cubicBezTo>
                    <a:pt x="131" y="305"/>
                    <a:pt x="129" y="265"/>
                    <a:pt x="131" y="227"/>
                  </a:cubicBezTo>
                  <a:cubicBezTo>
                    <a:pt x="157" y="228"/>
                    <a:pt x="178" y="222"/>
                    <a:pt x="200" y="212"/>
                  </a:cubicBezTo>
                  <a:cubicBezTo>
                    <a:pt x="209" y="208"/>
                    <a:pt x="206" y="178"/>
                    <a:pt x="216" y="175"/>
                  </a:cubicBezTo>
                  <a:cubicBezTo>
                    <a:pt x="232" y="170"/>
                    <a:pt x="248" y="182"/>
                    <a:pt x="264" y="182"/>
                  </a:cubicBezTo>
                  <a:cubicBezTo>
                    <a:pt x="318" y="181"/>
                    <a:pt x="384" y="207"/>
                    <a:pt x="443" y="193"/>
                  </a:cubicBezTo>
                  <a:cubicBezTo>
                    <a:pt x="577" y="163"/>
                    <a:pt x="444" y="13"/>
                    <a:pt x="353" y="2"/>
                  </a:cubicBezTo>
                  <a:cubicBezTo>
                    <a:pt x="350" y="0"/>
                    <a:pt x="350" y="0"/>
                    <a:pt x="353" y="2"/>
                  </a:cubicBezTo>
                  <a:cubicBezTo>
                    <a:pt x="362" y="11"/>
                    <a:pt x="367" y="23"/>
                    <a:pt x="375" y="31"/>
                  </a:cubicBezTo>
                  <a:cubicBezTo>
                    <a:pt x="319" y="16"/>
                    <a:pt x="258" y="15"/>
                    <a:pt x="196" y="18"/>
                  </a:cubicBezTo>
                  <a:cubicBezTo>
                    <a:pt x="206" y="28"/>
                    <a:pt x="213" y="46"/>
                    <a:pt x="226" y="57"/>
                  </a:cubicBezTo>
                  <a:cubicBezTo>
                    <a:pt x="184" y="54"/>
                    <a:pt x="128" y="79"/>
                    <a:pt x="93" y="102"/>
                  </a:cubicBezTo>
                  <a:cubicBezTo>
                    <a:pt x="112" y="103"/>
                    <a:pt x="112" y="111"/>
                    <a:pt x="124" y="115"/>
                  </a:cubicBezTo>
                  <a:cubicBezTo>
                    <a:pt x="82" y="146"/>
                    <a:pt x="40" y="207"/>
                    <a:pt x="27" y="254"/>
                  </a:cubicBezTo>
                  <a:cubicBezTo>
                    <a:pt x="19" y="285"/>
                    <a:pt x="30" y="314"/>
                    <a:pt x="27" y="343"/>
                  </a:cubicBezTo>
                  <a:cubicBezTo>
                    <a:pt x="24" y="372"/>
                    <a:pt x="13" y="386"/>
                    <a:pt x="0" y="414"/>
                  </a:cubicBezTo>
                  <a:cubicBezTo>
                    <a:pt x="15" y="407"/>
                    <a:pt x="37" y="408"/>
                    <a:pt x="50" y="403"/>
                  </a:cubicBezTo>
                  <a:cubicBezTo>
                    <a:pt x="46" y="424"/>
                    <a:pt x="61" y="429"/>
                    <a:pt x="65" y="44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7" name="Freeform 444"/>
            <p:cNvSpPr>
              <a:spLocks/>
            </p:cNvSpPr>
            <p:nvPr/>
          </p:nvSpPr>
          <p:spPr bwMode="gray">
            <a:xfrm>
              <a:off x="7233798" y="3867231"/>
              <a:ext cx="115267" cy="324616"/>
            </a:xfrm>
            <a:custGeom>
              <a:avLst/>
              <a:gdLst/>
              <a:ahLst/>
              <a:cxnLst>
                <a:cxn ang="0">
                  <a:pos x="0" y="0"/>
                </a:cxn>
                <a:cxn ang="0">
                  <a:pos x="8" y="130"/>
                </a:cxn>
                <a:cxn ang="0">
                  <a:pos x="44" y="243"/>
                </a:cxn>
                <a:cxn ang="0">
                  <a:pos x="139" y="441"/>
                </a:cxn>
                <a:cxn ang="0">
                  <a:pos x="98" y="202"/>
                </a:cxn>
                <a:cxn ang="0">
                  <a:pos x="26" y="0"/>
                </a:cxn>
              </a:cxnLst>
              <a:rect l="0" t="0" r="r" b="b"/>
              <a:pathLst>
                <a:path w="157" h="441">
                  <a:moveTo>
                    <a:pt x="0" y="0"/>
                  </a:moveTo>
                  <a:cubicBezTo>
                    <a:pt x="25" y="31"/>
                    <a:pt x="10" y="89"/>
                    <a:pt x="8" y="130"/>
                  </a:cubicBezTo>
                  <a:cubicBezTo>
                    <a:pt x="5" y="187"/>
                    <a:pt x="14" y="198"/>
                    <a:pt x="44" y="243"/>
                  </a:cubicBezTo>
                  <a:cubicBezTo>
                    <a:pt x="84" y="302"/>
                    <a:pt x="97" y="379"/>
                    <a:pt x="139" y="441"/>
                  </a:cubicBezTo>
                  <a:cubicBezTo>
                    <a:pt x="157" y="374"/>
                    <a:pt x="122" y="264"/>
                    <a:pt x="98" y="202"/>
                  </a:cubicBezTo>
                  <a:cubicBezTo>
                    <a:pt x="84" y="166"/>
                    <a:pt x="57" y="9"/>
                    <a:pt x="26" y="0"/>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8" name="Freeform 445"/>
            <p:cNvSpPr>
              <a:spLocks/>
            </p:cNvSpPr>
            <p:nvPr/>
          </p:nvSpPr>
          <p:spPr bwMode="gray">
            <a:xfrm>
              <a:off x="6998902" y="2492129"/>
              <a:ext cx="172900" cy="1040516"/>
            </a:xfrm>
            <a:custGeom>
              <a:avLst/>
              <a:gdLst/>
              <a:ahLst/>
              <a:cxnLst>
                <a:cxn ang="0">
                  <a:pos x="182" y="6"/>
                </a:cxn>
                <a:cxn ang="0">
                  <a:pos x="153" y="153"/>
                </a:cxn>
                <a:cxn ang="0">
                  <a:pos x="113" y="319"/>
                </a:cxn>
                <a:cxn ang="0">
                  <a:pos x="12" y="625"/>
                </a:cxn>
                <a:cxn ang="0">
                  <a:pos x="13" y="772"/>
                </a:cxn>
                <a:cxn ang="0">
                  <a:pos x="61" y="907"/>
                </a:cxn>
                <a:cxn ang="0">
                  <a:pos x="159" y="1190"/>
                </a:cxn>
                <a:cxn ang="0">
                  <a:pos x="172" y="1414"/>
                </a:cxn>
                <a:cxn ang="0">
                  <a:pos x="221" y="1268"/>
                </a:cxn>
                <a:cxn ang="0">
                  <a:pos x="215" y="1104"/>
                </a:cxn>
                <a:cxn ang="0">
                  <a:pos x="186" y="1037"/>
                </a:cxn>
                <a:cxn ang="0">
                  <a:pos x="171" y="962"/>
                </a:cxn>
                <a:cxn ang="0">
                  <a:pos x="109" y="812"/>
                </a:cxn>
                <a:cxn ang="0">
                  <a:pos x="58" y="678"/>
                </a:cxn>
                <a:cxn ang="0">
                  <a:pos x="74" y="514"/>
                </a:cxn>
                <a:cxn ang="0">
                  <a:pos x="140" y="392"/>
                </a:cxn>
                <a:cxn ang="0">
                  <a:pos x="182" y="231"/>
                </a:cxn>
                <a:cxn ang="0">
                  <a:pos x="179" y="0"/>
                </a:cxn>
              </a:cxnLst>
              <a:rect l="0" t="0" r="r" b="b"/>
              <a:pathLst>
                <a:path w="235" h="1414">
                  <a:moveTo>
                    <a:pt x="182" y="6"/>
                  </a:moveTo>
                  <a:cubicBezTo>
                    <a:pt x="187" y="55"/>
                    <a:pt x="160" y="106"/>
                    <a:pt x="153" y="153"/>
                  </a:cubicBezTo>
                  <a:cubicBezTo>
                    <a:pt x="143" y="209"/>
                    <a:pt x="124" y="263"/>
                    <a:pt x="113" y="319"/>
                  </a:cubicBezTo>
                  <a:cubicBezTo>
                    <a:pt x="94" y="425"/>
                    <a:pt x="35" y="523"/>
                    <a:pt x="12" y="625"/>
                  </a:cubicBezTo>
                  <a:cubicBezTo>
                    <a:pt x="0" y="678"/>
                    <a:pt x="0" y="720"/>
                    <a:pt x="13" y="772"/>
                  </a:cubicBezTo>
                  <a:cubicBezTo>
                    <a:pt x="24" y="821"/>
                    <a:pt x="44" y="860"/>
                    <a:pt x="61" y="907"/>
                  </a:cubicBezTo>
                  <a:cubicBezTo>
                    <a:pt x="92" y="1001"/>
                    <a:pt x="129" y="1095"/>
                    <a:pt x="159" y="1190"/>
                  </a:cubicBezTo>
                  <a:cubicBezTo>
                    <a:pt x="180" y="1256"/>
                    <a:pt x="174" y="1340"/>
                    <a:pt x="172" y="1414"/>
                  </a:cubicBezTo>
                  <a:cubicBezTo>
                    <a:pt x="227" y="1400"/>
                    <a:pt x="221" y="1312"/>
                    <a:pt x="221" y="1268"/>
                  </a:cubicBezTo>
                  <a:cubicBezTo>
                    <a:pt x="221" y="1215"/>
                    <a:pt x="235" y="1154"/>
                    <a:pt x="215" y="1104"/>
                  </a:cubicBezTo>
                  <a:cubicBezTo>
                    <a:pt x="207" y="1083"/>
                    <a:pt x="193" y="1060"/>
                    <a:pt x="186" y="1037"/>
                  </a:cubicBezTo>
                  <a:cubicBezTo>
                    <a:pt x="178" y="1012"/>
                    <a:pt x="179" y="986"/>
                    <a:pt x="171" y="962"/>
                  </a:cubicBezTo>
                  <a:cubicBezTo>
                    <a:pt x="154" y="910"/>
                    <a:pt x="129" y="862"/>
                    <a:pt x="109" y="812"/>
                  </a:cubicBezTo>
                  <a:cubicBezTo>
                    <a:pt x="92" y="767"/>
                    <a:pt x="67" y="724"/>
                    <a:pt x="58" y="678"/>
                  </a:cubicBezTo>
                  <a:cubicBezTo>
                    <a:pt x="47" y="622"/>
                    <a:pt x="65" y="567"/>
                    <a:pt x="74" y="514"/>
                  </a:cubicBezTo>
                  <a:cubicBezTo>
                    <a:pt x="82" y="461"/>
                    <a:pt x="109" y="435"/>
                    <a:pt x="140" y="392"/>
                  </a:cubicBezTo>
                  <a:cubicBezTo>
                    <a:pt x="173" y="346"/>
                    <a:pt x="182" y="291"/>
                    <a:pt x="182" y="231"/>
                  </a:cubicBezTo>
                  <a:cubicBezTo>
                    <a:pt x="182" y="161"/>
                    <a:pt x="203" y="66"/>
                    <a:pt x="179" y="0"/>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79" name="Freeform 446"/>
            <p:cNvSpPr>
              <a:spLocks/>
            </p:cNvSpPr>
            <p:nvPr/>
          </p:nvSpPr>
          <p:spPr bwMode="gray">
            <a:xfrm>
              <a:off x="7054978" y="2357236"/>
              <a:ext cx="87541" cy="118694"/>
            </a:xfrm>
            <a:custGeom>
              <a:avLst/>
              <a:gdLst/>
              <a:ahLst/>
              <a:cxnLst>
                <a:cxn ang="0">
                  <a:pos x="2" y="150"/>
                </a:cxn>
                <a:cxn ang="0">
                  <a:pos x="74" y="85"/>
                </a:cxn>
                <a:cxn ang="0">
                  <a:pos x="0" y="0"/>
                </a:cxn>
                <a:cxn ang="0">
                  <a:pos x="58" y="46"/>
                </a:cxn>
                <a:cxn ang="0">
                  <a:pos x="119" y="97"/>
                </a:cxn>
                <a:cxn ang="0">
                  <a:pos x="5" y="156"/>
                </a:cxn>
              </a:cxnLst>
              <a:rect l="0" t="0" r="r" b="b"/>
              <a:pathLst>
                <a:path w="119" h="161">
                  <a:moveTo>
                    <a:pt x="2" y="150"/>
                  </a:moveTo>
                  <a:cubicBezTo>
                    <a:pt x="25" y="129"/>
                    <a:pt x="51" y="107"/>
                    <a:pt x="74" y="85"/>
                  </a:cubicBezTo>
                  <a:cubicBezTo>
                    <a:pt x="44" y="60"/>
                    <a:pt x="26" y="28"/>
                    <a:pt x="0" y="0"/>
                  </a:cubicBezTo>
                  <a:cubicBezTo>
                    <a:pt x="23" y="7"/>
                    <a:pt x="42" y="29"/>
                    <a:pt x="58" y="46"/>
                  </a:cubicBezTo>
                  <a:cubicBezTo>
                    <a:pt x="77" y="65"/>
                    <a:pt x="99" y="78"/>
                    <a:pt x="119" y="97"/>
                  </a:cubicBezTo>
                  <a:cubicBezTo>
                    <a:pt x="84" y="117"/>
                    <a:pt x="50" y="161"/>
                    <a:pt x="5" y="156"/>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0" name="Freeform 452"/>
            <p:cNvSpPr>
              <a:spLocks/>
            </p:cNvSpPr>
            <p:nvPr/>
          </p:nvSpPr>
          <p:spPr bwMode="gray">
            <a:xfrm>
              <a:off x="7238159" y="2486833"/>
              <a:ext cx="69783" cy="374461"/>
            </a:xfrm>
            <a:custGeom>
              <a:avLst/>
              <a:gdLst/>
              <a:ahLst/>
              <a:cxnLst>
                <a:cxn ang="0">
                  <a:pos x="60" y="135"/>
                </a:cxn>
                <a:cxn ang="0">
                  <a:pos x="36" y="251"/>
                </a:cxn>
                <a:cxn ang="0">
                  <a:pos x="26" y="385"/>
                </a:cxn>
                <a:cxn ang="0">
                  <a:pos x="17" y="509"/>
                </a:cxn>
                <a:cxn ang="0">
                  <a:pos x="17" y="411"/>
                </a:cxn>
                <a:cxn ang="0">
                  <a:pos x="27" y="301"/>
                </a:cxn>
                <a:cxn ang="0">
                  <a:pos x="36" y="183"/>
                </a:cxn>
                <a:cxn ang="0">
                  <a:pos x="95" y="0"/>
                </a:cxn>
                <a:cxn ang="0">
                  <a:pos x="60" y="135"/>
                </a:cxn>
              </a:cxnLst>
              <a:rect l="0" t="0" r="r" b="b"/>
              <a:pathLst>
                <a:path w="95" h="509">
                  <a:moveTo>
                    <a:pt x="60" y="135"/>
                  </a:moveTo>
                  <a:cubicBezTo>
                    <a:pt x="52" y="173"/>
                    <a:pt x="44" y="211"/>
                    <a:pt x="36" y="251"/>
                  </a:cubicBezTo>
                  <a:cubicBezTo>
                    <a:pt x="28" y="296"/>
                    <a:pt x="30" y="339"/>
                    <a:pt x="26" y="385"/>
                  </a:cubicBezTo>
                  <a:cubicBezTo>
                    <a:pt x="22" y="420"/>
                    <a:pt x="29" y="479"/>
                    <a:pt x="17" y="509"/>
                  </a:cubicBezTo>
                  <a:cubicBezTo>
                    <a:pt x="0" y="486"/>
                    <a:pt x="13" y="438"/>
                    <a:pt x="17" y="411"/>
                  </a:cubicBezTo>
                  <a:cubicBezTo>
                    <a:pt x="23" y="375"/>
                    <a:pt x="22" y="337"/>
                    <a:pt x="27" y="301"/>
                  </a:cubicBezTo>
                  <a:cubicBezTo>
                    <a:pt x="33" y="263"/>
                    <a:pt x="36" y="224"/>
                    <a:pt x="36" y="183"/>
                  </a:cubicBezTo>
                  <a:cubicBezTo>
                    <a:pt x="36" y="118"/>
                    <a:pt x="59" y="51"/>
                    <a:pt x="95" y="0"/>
                  </a:cubicBezTo>
                  <a:cubicBezTo>
                    <a:pt x="91" y="46"/>
                    <a:pt x="69" y="89"/>
                    <a:pt x="60" y="135"/>
                  </a:cubicBezTo>
                  <a:close/>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1" name="Freeform 454"/>
            <p:cNvSpPr>
              <a:spLocks/>
            </p:cNvSpPr>
            <p:nvPr/>
          </p:nvSpPr>
          <p:spPr bwMode="gray">
            <a:xfrm>
              <a:off x="7058405" y="2467830"/>
              <a:ext cx="76637" cy="29907"/>
            </a:xfrm>
            <a:custGeom>
              <a:avLst/>
              <a:gdLst/>
              <a:ahLst/>
              <a:cxnLst>
                <a:cxn ang="0">
                  <a:pos x="6" y="6"/>
                </a:cxn>
                <a:cxn ang="0">
                  <a:pos x="104" y="38"/>
                </a:cxn>
                <a:cxn ang="0">
                  <a:pos x="0" y="0"/>
                </a:cxn>
              </a:cxnLst>
              <a:rect l="0" t="0" r="r" b="b"/>
              <a:pathLst>
                <a:path w="104" h="41">
                  <a:moveTo>
                    <a:pt x="6" y="6"/>
                  </a:moveTo>
                  <a:cubicBezTo>
                    <a:pt x="44" y="26"/>
                    <a:pt x="69" y="33"/>
                    <a:pt x="104" y="38"/>
                  </a:cubicBezTo>
                  <a:cubicBezTo>
                    <a:pt x="74" y="41"/>
                    <a:pt x="9" y="19"/>
                    <a:pt x="0" y="0"/>
                  </a:cubicBezTo>
                </a:path>
              </a:pathLst>
            </a:custGeom>
            <a:solidFill>
              <a:srgbClr val="151B1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2" name="Freeform 455"/>
            <p:cNvSpPr>
              <a:spLocks/>
            </p:cNvSpPr>
            <p:nvPr/>
          </p:nvSpPr>
          <p:spPr bwMode="gray">
            <a:xfrm>
              <a:off x="6433160" y="2396178"/>
              <a:ext cx="177262" cy="676336"/>
            </a:xfrm>
            <a:custGeom>
              <a:avLst/>
              <a:gdLst/>
              <a:ahLst/>
              <a:cxnLst>
                <a:cxn ang="0">
                  <a:pos x="113" y="15"/>
                </a:cxn>
                <a:cxn ang="0">
                  <a:pos x="54" y="101"/>
                </a:cxn>
                <a:cxn ang="0">
                  <a:pos x="94" y="129"/>
                </a:cxn>
                <a:cxn ang="0">
                  <a:pos x="129" y="171"/>
                </a:cxn>
                <a:cxn ang="0">
                  <a:pos x="22" y="186"/>
                </a:cxn>
                <a:cxn ang="0">
                  <a:pos x="54" y="374"/>
                </a:cxn>
                <a:cxn ang="0">
                  <a:pos x="106" y="540"/>
                </a:cxn>
                <a:cxn ang="0">
                  <a:pos x="187" y="685"/>
                </a:cxn>
                <a:cxn ang="0">
                  <a:pos x="236" y="831"/>
                </a:cxn>
                <a:cxn ang="0">
                  <a:pos x="211" y="919"/>
                </a:cxn>
                <a:cxn ang="0">
                  <a:pos x="193" y="763"/>
                </a:cxn>
                <a:cxn ang="0">
                  <a:pos x="136" y="634"/>
                </a:cxn>
                <a:cxn ang="0">
                  <a:pos x="41" y="355"/>
                </a:cxn>
                <a:cxn ang="0">
                  <a:pos x="9" y="166"/>
                </a:cxn>
                <a:cxn ang="0">
                  <a:pos x="106" y="175"/>
                </a:cxn>
                <a:cxn ang="0">
                  <a:pos x="24" y="100"/>
                </a:cxn>
                <a:cxn ang="0">
                  <a:pos x="112" y="0"/>
                </a:cxn>
                <a:cxn ang="0">
                  <a:pos x="54" y="110"/>
                </a:cxn>
              </a:cxnLst>
              <a:rect l="0" t="0" r="r" b="b"/>
              <a:pathLst>
                <a:path w="241" h="919">
                  <a:moveTo>
                    <a:pt x="113" y="15"/>
                  </a:moveTo>
                  <a:cubicBezTo>
                    <a:pt x="116" y="41"/>
                    <a:pt x="76" y="89"/>
                    <a:pt x="54" y="101"/>
                  </a:cubicBezTo>
                  <a:cubicBezTo>
                    <a:pt x="60" y="116"/>
                    <a:pt x="81" y="117"/>
                    <a:pt x="94" y="129"/>
                  </a:cubicBezTo>
                  <a:cubicBezTo>
                    <a:pt x="108" y="141"/>
                    <a:pt x="113" y="162"/>
                    <a:pt x="129" y="171"/>
                  </a:cubicBezTo>
                  <a:cubicBezTo>
                    <a:pt x="96" y="186"/>
                    <a:pt x="58" y="182"/>
                    <a:pt x="22" y="186"/>
                  </a:cubicBezTo>
                  <a:cubicBezTo>
                    <a:pt x="18" y="259"/>
                    <a:pt x="37" y="306"/>
                    <a:pt x="54" y="374"/>
                  </a:cubicBezTo>
                  <a:cubicBezTo>
                    <a:pt x="68" y="431"/>
                    <a:pt x="81" y="488"/>
                    <a:pt x="106" y="540"/>
                  </a:cubicBezTo>
                  <a:cubicBezTo>
                    <a:pt x="130" y="590"/>
                    <a:pt x="166" y="632"/>
                    <a:pt x="187" y="685"/>
                  </a:cubicBezTo>
                  <a:cubicBezTo>
                    <a:pt x="205" y="732"/>
                    <a:pt x="228" y="780"/>
                    <a:pt x="236" y="831"/>
                  </a:cubicBezTo>
                  <a:cubicBezTo>
                    <a:pt x="241" y="862"/>
                    <a:pt x="237" y="899"/>
                    <a:pt x="211" y="919"/>
                  </a:cubicBezTo>
                  <a:cubicBezTo>
                    <a:pt x="207" y="860"/>
                    <a:pt x="214" y="817"/>
                    <a:pt x="193" y="763"/>
                  </a:cubicBezTo>
                  <a:cubicBezTo>
                    <a:pt x="177" y="721"/>
                    <a:pt x="155" y="678"/>
                    <a:pt x="136" y="634"/>
                  </a:cubicBezTo>
                  <a:cubicBezTo>
                    <a:pt x="98" y="543"/>
                    <a:pt x="56" y="451"/>
                    <a:pt x="41" y="355"/>
                  </a:cubicBezTo>
                  <a:cubicBezTo>
                    <a:pt x="31" y="297"/>
                    <a:pt x="0" y="226"/>
                    <a:pt x="9" y="166"/>
                  </a:cubicBezTo>
                  <a:cubicBezTo>
                    <a:pt x="42" y="164"/>
                    <a:pt x="75" y="180"/>
                    <a:pt x="106" y="175"/>
                  </a:cubicBezTo>
                  <a:cubicBezTo>
                    <a:pt x="99" y="141"/>
                    <a:pt x="25" y="130"/>
                    <a:pt x="24" y="100"/>
                  </a:cubicBezTo>
                  <a:cubicBezTo>
                    <a:pt x="24" y="77"/>
                    <a:pt x="91" y="6"/>
                    <a:pt x="112" y="0"/>
                  </a:cubicBezTo>
                  <a:cubicBezTo>
                    <a:pt x="98" y="36"/>
                    <a:pt x="69" y="74"/>
                    <a:pt x="54" y="110"/>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3" name="Freeform 456"/>
            <p:cNvSpPr>
              <a:spLocks/>
            </p:cNvSpPr>
            <p:nvPr/>
          </p:nvSpPr>
          <p:spPr bwMode="gray">
            <a:xfrm>
              <a:off x="6162128" y="2513314"/>
              <a:ext cx="292840" cy="1079458"/>
            </a:xfrm>
            <a:custGeom>
              <a:avLst/>
              <a:gdLst/>
              <a:ahLst/>
              <a:cxnLst>
                <a:cxn ang="0">
                  <a:pos x="246" y="894"/>
                </a:cxn>
                <a:cxn ang="0">
                  <a:pos x="78" y="946"/>
                </a:cxn>
                <a:cxn ang="0">
                  <a:pos x="44" y="1005"/>
                </a:cxn>
                <a:cxn ang="0">
                  <a:pos x="124" y="1031"/>
                </a:cxn>
                <a:cxn ang="0">
                  <a:pos x="74" y="973"/>
                </a:cxn>
                <a:cxn ang="0">
                  <a:pos x="128" y="983"/>
                </a:cxn>
                <a:cxn ang="0">
                  <a:pos x="184" y="965"/>
                </a:cxn>
                <a:cxn ang="0">
                  <a:pos x="191" y="998"/>
                </a:cxn>
                <a:cxn ang="0">
                  <a:pos x="236" y="992"/>
                </a:cxn>
                <a:cxn ang="0">
                  <a:pos x="234" y="1083"/>
                </a:cxn>
                <a:cxn ang="0">
                  <a:pos x="262" y="1168"/>
                </a:cxn>
                <a:cxn ang="0">
                  <a:pos x="203" y="1242"/>
                </a:cxn>
                <a:cxn ang="0">
                  <a:pos x="268" y="1259"/>
                </a:cxn>
                <a:cxn ang="0">
                  <a:pos x="295" y="1316"/>
                </a:cxn>
                <a:cxn ang="0">
                  <a:pos x="291" y="1359"/>
                </a:cxn>
                <a:cxn ang="0">
                  <a:pos x="304" y="1439"/>
                </a:cxn>
                <a:cxn ang="0">
                  <a:pos x="386" y="1432"/>
                </a:cxn>
                <a:cxn ang="0">
                  <a:pos x="392" y="1361"/>
                </a:cxn>
                <a:cxn ang="0">
                  <a:pos x="302" y="1190"/>
                </a:cxn>
                <a:cxn ang="0">
                  <a:pos x="262" y="988"/>
                </a:cxn>
                <a:cxn ang="0">
                  <a:pos x="259" y="766"/>
                </a:cxn>
                <a:cxn ang="0">
                  <a:pos x="239" y="541"/>
                </a:cxn>
                <a:cxn ang="0">
                  <a:pos x="239" y="381"/>
                </a:cxn>
                <a:cxn ang="0">
                  <a:pos x="204" y="267"/>
                </a:cxn>
                <a:cxn ang="0">
                  <a:pos x="161" y="146"/>
                </a:cxn>
                <a:cxn ang="0">
                  <a:pos x="145" y="0"/>
                </a:cxn>
                <a:cxn ang="0">
                  <a:pos x="170" y="245"/>
                </a:cxn>
                <a:cxn ang="0">
                  <a:pos x="193" y="375"/>
                </a:cxn>
                <a:cxn ang="0">
                  <a:pos x="209" y="476"/>
                </a:cxn>
                <a:cxn ang="0">
                  <a:pos x="184" y="477"/>
                </a:cxn>
                <a:cxn ang="0">
                  <a:pos x="217" y="583"/>
                </a:cxn>
                <a:cxn ang="0">
                  <a:pos x="226" y="708"/>
                </a:cxn>
                <a:cxn ang="0">
                  <a:pos x="249" y="819"/>
                </a:cxn>
                <a:cxn ang="0">
                  <a:pos x="252" y="903"/>
                </a:cxn>
              </a:cxnLst>
              <a:rect l="0" t="0" r="r" b="b"/>
              <a:pathLst>
                <a:path w="398" h="1467">
                  <a:moveTo>
                    <a:pt x="246" y="894"/>
                  </a:moveTo>
                  <a:cubicBezTo>
                    <a:pt x="249" y="955"/>
                    <a:pt x="115" y="932"/>
                    <a:pt x="78" y="946"/>
                  </a:cubicBezTo>
                  <a:cubicBezTo>
                    <a:pt x="50" y="957"/>
                    <a:pt x="0" y="986"/>
                    <a:pt x="44" y="1005"/>
                  </a:cubicBezTo>
                  <a:cubicBezTo>
                    <a:pt x="71" y="1016"/>
                    <a:pt x="102" y="1008"/>
                    <a:pt x="124" y="1031"/>
                  </a:cubicBezTo>
                  <a:cubicBezTo>
                    <a:pt x="119" y="1009"/>
                    <a:pt x="55" y="994"/>
                    <a:pt x="74" y="973"/>
                  </a:cubicBezTo>
                  <a:cubicBezTo>
                    <a:pt x="89" y="955"/>
                    <a:pt x="115" y="980"/>
                    <a:pt x="128" y="983"/>
                  </a:cubicBezTo>
                  <a:cubicBezTo>
                    <a:pt x="152" y="987"/>
                    <a:pt x="163" y="976"/>
                    <a:pt x="184" y="965"/>
                  </a:cubicBezTo>
                  <a:cubicBezTo>
                    <a:pt x="191" y="973"/>
                    <a:pt x="192" y="986"/>
                    <a:pt x="191" y="998"/>
                  </a:cubicBezTo>
                  <a:cubicBezTo>
                    <a:pt x="205" y="995"/>
                    <a:pt x="219" y="989"/>
                    <a:pt x="236" y="992"/>
                  </a:cubicBezTo>
                  <a:cubicBezTo>
                    <a:pt x="238" y="1036"/>
                    <a:pt x="205" y="1048"/>
                    <a:pt x="234" y="1083"/>
                  </a:cubicBezTo>
                  <a:cubicBezTo>
                    <a:pt x="257" y="1110"/>
                    <a:pt x="271" y="1125"/>
                    <a:pt x="262" y="1168"/>
                  </a:cubicBezTo>
                  <a:cubicBezTo>
                    <a:pt x="254" y="1208"/>
                    <a:pt x="214" y="1200"/>
                    <a:pt x="203" y="1242"/>
                  </a:cubicBezTo>
                  <a:cubicBezTo>
                    <a:pt x="188" y="1298"/>
                    <a:pt x="235" y="1264"/>
                    <a:pt x="268" y="1259"/>
                  </a:cubicBezTo>
                  <a:cubicBezTo>
                    <a:pt x="271" y="1285"/>
                    <a:pt x="284" y="1295"/>
                    <a:pt x="295" y="1316"/>
                  </a:cubicBezTo>
                  <a:cubicBezTo>
                    <a:pt x="309" y="1343"/>
                    <a:pt x="302" y="1341"/>
                    <a:pt x="291" y="1359"/>
                  </a:cubicBezTo>
                  <a:cubicBezTo>
                    <a:pt x="278" y="1381"/>
                    <a:pt x="247" y="1439"/>
                    <a:pt x="304" y="1439"/>
                  </a:cubicBezTo>
                  <a:cubicBezTo>
                    <a:pt x="319" y="1467"/>
                    <a:pt x="369" y="1455"/>
                    <a:pt x="386" y="1432"/>
                  </a:cubicBezTo>
                  <a:cubicBezTo>
                    <a:pt x="398" y="1416"/>
                    <a:pt x="394" y="1386"/>
                    <a:pt x="392" y="1361"/>
                  </a:cubicBezTo>
                  <a:cubicBezTo>
                    <a:pt x="338" y="1323"/>
                    <a:pt x="318" y="1253"/>
                    <a:pt x="302" y="1190"/>
                  </a:cubicBezTo>
                  <a:cubicBezTo>
                    <a:pt x="285" y="1123"/>
                    <a:pt x="264" y="1060"/>
                    <a:pt x="262" y="988"/>
                  </a:cubicBezTo>
                  <a:cubicBezTo>
                    <a:pt x="261" y="914"/>
                    <a:pt x="266" y="842"/>
                    <a:pt x="259" y="766"/>
                  </a:cubicBezTo>
                  <a:cubicBezTo>
                    <a:pt x="252" y="690"/>
                    <a:pt x="239" y="619"/>
                    <a:pt x="239" y="541"/>
                  </a:cubicBezTo>
                  <a:cubicBezTo>
                    <a:pt x="239" y="491"/>
                    <a:pt x="249" y="430"/>
                    <a:pt x="239" y="381"/>
                  </a:cubicBezTo>
                  <a:cubicBezTo>
                    <a:pt x="232" y="345"/>
                    <a:pt x="215" y="303"/>
                    <a:pt x="204" y="267"/>
                  </a:cubicBezTo>
                  <a:cubicBezTo>
                    <a:pt x="191" y="227"/>
                    <a:pt x="171" y="188"/>
                    <a:pt x="161" y="146"/>
                  </a:cubicBezTo>
                  <a:cubicBezTo>
                    <a:pt x="151" y="101"/>
                    <a:pt x="158" y="42"/>
                    <a:pt x="145" y="0"/>
                  </a:cubicBezTo>
                  <a:cubicBezTo>
                    <a:pt x="136" y="85"/>
                    <a:pt x="159" y="162"/>
                    <a:pt x="170" y="245"/>
                  </a:cubicBezTo>
                  <a:cubicBezTo>
                    <a:pt x="176" y="290"/>
                    <a:pt x="181" y="331"/>
                    <a:pt x="193" y="375"/>
                  </a:cubicBezTo>
                  <a:cubicBezTo>
                    <a:pt x="200" y="404"/>
                    <a:pt x="215" y="446"/>
                    <a:pt x="209" y="476"/>
                  </a:cubicBezTo>
                  <a:cubicBezTo>
                    <a:pt x="202" y="474"/>
                    <a:pt x="192" y="478"/>
                    <a:pt x="184" y="477"/>
                  </a:cubicBezTo>
                  <a:cubicBezTo>
                    <a:pt x="178" y="514"/>
                    <a:pt x="208" y="549"/>
                    <a:pt x="217" y="583"/>
                  </a:cubicBezTo>
                  <a:cubicBezTo>
                    <a:pt x="229" y="624"/>
                    <a:pt x="224" y="664"/>
                    <a:pt x="226" y="708"/>
                  </a:cubicBezTo>
                  <a:cubicBezTo>
                    <a:pt x="228" y="743"/>
                    <a:pt x="257" y="784"/>
                    <a:pt x="249" y="819"/>
                  </a:cubicBezTo>
                  <a:cubicBezTo>
                    <a:pt x="241" y="858"/>
                    <a:pt x="217" y="866"/>
                    <a:pt x="252" y="903"/>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4" name="Freeform 458"/>
            <p:cNvSpPr>
              <a:spLocks/>
            </p:cNvSpPr>
            <p:nvPr/>
          </p:nvSpPr>
          <p:spPr bwMode="gray">
            <a:xfrm>
              <a:off x="6186427" y="3125473"/>
              <a:ext cx="137697" cy="42680"/>
            </a:xfrm>
            <a:custGeom>
              <a:avLst/>
              <a:gdLst/>
              <a:ahLst/>
              <a:cxnLst>
                <a:cxn ang="0">
                  <a:pos x="174" y="58"/>
                </a:cxn>
                <a:cxn ang="0">
                  <a:pos x="105" y="26"/>
                </a:cxn>
                <a:cxn ang="0">
                  <a:pos x="8" y="35"/>
                </a:cxn>
                <a:cxn ang="0">
                  <a:pos x="108" y="6"/>
                </a:cxn>
                <a:cxn ang="0">
                  <a:pos x="187" y="55"/>
                </a:cxn>
              </a:cxnLst>
              <a:rect l="0" t="0" r="r" b="b"/>
              <a:pathLst>
                <a:path w="187" h="58">
                  <a:moveTo>
                    <a:pt x="174" y="58"/>
                  </a:moveTo>
                  <a:cubicBezTo>
                    <a:pt x="176" y="32"/>
                    <a:pt x="125" y="23"/>
                    <a:pt x="105" y="26"/>
                  </a:cubicBezTo>
                  <a:cubicBezTo>
                    <a:pt x="70" y="30"/>
                    <a:pt x="46" y="44"/>
                    <a:pt x="8" y="35"/>
                  </a:cubicBezTo>
                  <a:cubicBezTo>
                    <a:pt x="0" y="0"/>
                    <a:pt x="85" y="2"/>
                    <a:pt x="108" y="6"/>
                  </a:cubicBezTo>
                  <a:cubicBezTo>
                    <a:pt x="143" y="13"/>
                    <a:pt x="162" y="33"/>
                    <a:pt x="187" y="55"/>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5" name="Freeform 461"/>
            <p:cNvSpPr>
              <a:spLocks/>
            </p:cNvSpPr>
            <p:nvPr/>
          </p:nvSpPr>
          <p:spPr bwMode="gray">
            <a:xfrm>
              <a:off x="6558708" y="2407393"/>
              <a:ext cx="43614" cy="175081"/>
            </a:xfrm>
            <a:custGeom>
              <a:avLst/>
              <a:gdLst/>
              <a:ahLst/>
              <a:cxnLst>
                <a:cxn ang="0">
                  <a:pos x="59" y="39"/>
                </a:cxn>
                <a:cxn ang="0">
                  <a:pos x="45" y="238"/>
                </a:cxn>
                <a:cxn ang="0">
                  <a:pos x="56" y="0"/>
                </a:cxn>
              </a:cxnLst>
              <a:rect l="0" t="0" r="r" b="b"/>
              <a:pathLst>
                <a:path w="59" h="238">
                  <a:moveTo>
                    <a:pt x="59" y="39"/>
                  </a:moveTo>
                  <a:cubicBezTo>
                    <a:pt x="26" y="97"/>
                    <a:pt x="49" y="175"/>
                    <a:pt x="45" y="238"/>
                  </a:cubicBezTo>
                  <a:cubicBezTo>
                    <a:pt x="0" y="222"/>
                    <a:pt x="51" y="36"/>
                    <a:pt x="56" y="0"/>
                  </a:cubicBezTo>
                </a:path>
              </a:pathLst>
            </a:custGeom>
            <a:solidFill>
              <a:srgbClr val="999999"/>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6" name="Freeform 462"/>
            <p:cNvSpPr>
              <a:spLocks/>
            </p:cNvSpPr>
            <p:nvPr/>
          </p:nvSpPr>
          <p:spPr bwMode="gray">
            <a:xfrm>
              <a:off x="6736904" y="3212391"/>
              <a:ext cx="170096" cy="269475"/>
            </a:xfrm>
            <a:custGeom>
              <a:avLst/>
              <a:gdLst/>
              <a:ahLst/>
              <a:cxnLst>
                <a:cxn ang="0">
                  <a:pos x="39" y="283"/>
                </a:cxn>
                <a:cxn ang="0">
                  <a:pos x="84" y="296"/>
                </a:cxn>
                <a:cxn ang="0">
                  <a:pos x="208" y="215"/>
                </a:cxn>
                <a:cxn ang="0">
                  <a:pos x="212" y="0"/>
                </a:cxn>
                <a:cxn ang="0">
                  <a:pos x="228" y="156"/>
                </a:cxn>
                <a:cxn ang="0">
                  <a:pos x="228" y="244"/>
                </a:cxn>
                <a:cxn ang="0">
                  <a:pos x="186" y="300"/>
                </a:cxn>
                <a:cxn ang="0">
                  <a:pos x="74" y="333"/>
                </a:cxn>
                <a:cxn ang="0">
                  <a:pos x="0" y="245"/>
                </a:cxn>
                <a:cxn ang="0">
                  <a:pos x="42" y="289"/>
                </a:cxn>
              </a:cxnLst>
              <a:rect l="0" t="0" r="r" b="b"/>
              <a:pathLst>
                <a:path w="231" h="366">
                  <a:moveTo>
                    <a:pt x="39" y="283"/>
                  </a:moveTo>
                  <a:cubicBezTo>
                    <a:pt x="54" y="286"/>
                    <a:pt x="69" y="293"/>
                    <a:pt x="84" y="296"/>
                  </a:cubicBezTo>
                  <a:cubicBezTo>
                    <a:pt x="128" y="362"/>
                    <a:pt x="201" y="258"/>
                    <a:pt x="208" y="215"/>
                  </a:cubicBezTo>
                  <a:cubicBezTo>
                    <a:pt x="220" y="144"/>
                    <a:pt x="222" y="70"/>
                    <a:pt x="212" y="0"/>
                  </a:cubicBezTo>
                  <a:cubicBezTo>
                    <a:pt x="212" y="56"/>
                    <a:pt x="228" y="99"/>
                    <a:pt x="228" y="156"/>
                  </a:cubicBezTo>
                  <a:cubicBezTo>
                    <a:pt x="228" y="184"/>
                    <a:pt x="231" y="215"/>
                    <a:pt x="228" y="244"/>
                  </a:cubicBezTo>
                  <a:cubicBezTo>
                    <a:pt x="225" y="279"/>
                    <a:pt x="213" y="284"/>
                    <a:pt x="186" y="300"/>
                  </a:cubicBezTo>
                  <a:cubicBezTo>
                    <a:pt x="143" y="326"/>
                    <a:pt x="122" y="366"/>
                    <a:pt x="74" y="333"/>
                  </a:cubicBezTo>
                  <a:cubicBezTo>
                    <a:pt x="52" y="317"/>
                    <a:pt x="1" y="270"/>
                    <a:pt x="0" y="245"/>
                  </a:cubicBezTo>
                  <a:cubicBezTo>
                    <a:pt x="11" y="262"/>
                    <a:pt x="34" y="272"/>
                    <a:pt x="42" y="289"/>
                  </a:cubicBezTo>
                </a:path>
              </a:pathLst>
            </a:custGeom>
            <a:solidFill>
              <a:srgbClr val="808080">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7" name="Freeform 463"/>
            <p:cNvSpPr>
              <a:spLocks/>
            </p:cNvSpPr>
            <p:nvPr/>
          </p:nvSpPr>
          <p:spPr bwMode="gray">
            <a:xfrm>
              <a:off x="6734723" y="2534809"/>
              <a:ext cx="33957" cy="136140"/>
            </a:xfrm>
            <a:custGeom>
              <a:avLst/>
              <a:gdLst/>
              <a:ahLst/>
              <a:cxnLst>
                <a:cxn ang="0">
                  <a:pos x="35" y="10"/>
                </a:cxn>
                <a:cxn ang="0">
                  <a:pos x="3" y="185"/>
                </a:cxn>
                <a:cxn ang="0">
                  <a:pos x="22" y="95"/>
                </a:cxn>
                <a:cxn ang="0">
                  <a:pos x="32" y="0"/>
                </a:cxn>
              </a:cxnLst>
              <a:rect l="0" t="0" r="r" b="b"/>
              <a:pathLst>
                <a:path w="46" h="185">
                  <a:moveTo>
                    <a:pt x="35" y="10"/>
                  </a:moveTo>
                  <a:cubicBezTo>
                    <a:pt x="46" y="74"/>
                    <a:pt x="39" y="134"/>
                    <a:pt x="3" y="185"/>
                  </a:cubicBezTo>
                  <a:cubicBezTo>
                    <a:pt x="0" y="153"/>
                    <a:pt x="21" y="128"/>
                    <a:pt x="22" y="95"/>
                  </a:cubicBezTo>
                  <a:cubicBezTo>
                    <a:pt x="24" y="72"/>
                    <a:pt x="13" y="7"/>
                    <a:pt x="32" y="0"/>
                  </a:cubicBezTo>
                </a:path>
              </a:pathLst>
            </a:custGeom>
            <a:solidFill>
              <a:srgbClr val="808080">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8" name="Freeform 464"/>
            <p:cNvSpPr>
              <a:spLocks/>
            </p:cNvSpPr>
            <p:nvPr/>
          </p:nvSpPr>
          <p:spPr bwMode="gray">
            <a:xfrm>
              <a:off x="6714162" y="2443530"/>
              <a:ext cx="34580" cy="69783"/>
            </a:xfrm>
            <a:custGeom>
              <a:avLst/>
              <a:gdLst/>
              <a:ahLst/>
              <a:cxnLst>
                <a:cxn ang="0">
                  <a:pos x="41" y="0"/>
                </a:cxn>
                <a:cxn ang="0">
                  <a:pos x="42" y="50"/>
                </a:cxn>
                <a:cxn ang="0">
                  <a:pos x="30" y="95"/>
                </a:cxn>
                <a:cxn ang="0">
                  <a:pos x="2" y="85"/>
                </a:cxn>
                <a:cxn ang="0">
                  <a:pos x="37" y="0"/>
                </a:cxn>
              </a:cxnLst>
              <a:rect l="0" t="0" r="r" b="b"/>
              <a:pathLst>
                <a:path w="47" h="95">
                  <a:moveTo>
                    <a:pt x="41" y="0"/>
                  </a:moveTo>
                  <a:cubicBezTo>
                    <a:pt x="42" y="16"/>
                    <a:pt x="47" y="34"/>
                    <a:pt x="42" y="50"/>
                  </a:cubicBezTo>
                  <a:cubicBezTo>
                    <a:pt x="35" y="67"/>
                    <a:pt x="8" y="78"/>
                    <a:pt x="30" y="95"/>
                  </a:cubicBezTo>
                  <a:cubicBezTo>
                    <a:pt x="20" y="93"/>
                    <a:pt x="11" y="89"/>
                    <a:pt x="2" y="85"/>
                  </a:cubicBezTo>
                  <a:cubicBezTo>
                    <a:pt x="0" y="56"/>
                    <a:pt x="43" y="38"/>
                    <a:pt x="37" y="0"/>
                  </a:cubicBezTo>
                </a:path>
              </a:pathLst>
            </a:custGeom>
            <a:solidFill>
              <a:srgbClr val="808080">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89" name="Freeform 465"/>
            <p:cNvSpPr>
              <a:spLocks/>
            </p:cNvSpPr>
            <p:nvPr/>
          </p:nvSpPr>
          <p:spPr bwMode="gray">
            <a:xfrm>
              <a:off x="6775222" y="2443530"/>
              <a:ext cx="58257" cy="77260"/>
            </a:xfrm>
            <a:custGeom>
              <a:avLst/>
              <a:gdLst/>
              <a:ahLst/>
              <a:cxnLst>
                <a:cxn ang="0">
                  <a:pos x="59" y="10"/>
                </a:cxn>
                <a:cxn ang="0">
                  <a:pos x="52" y="59"/>
                </a:cxn>
                <a:cxn ang="0">
                  <a:pos x="0" y="89"/>
                </a:cxn>
                <a:cxn ang="0">
                  <a:pos x="58" y="65"/>
                </a:cxn>
                <a:cxn ang="0">
                  <a:pos x="59" y="0"/>
                </a:cxn>
              </a:cxnLst>
              <a:rect l="0" t="0" r="r" b="b"/>
              <a:pathLst>
                <a:path w="79" h="105">
                  <a:moveTo>
                    <a:pt x="59" y="10"/>
                  </a:moveTo>
                  <a:cubicBezTo>
                    <a:pt x="35" y="18"/>
                    <a:pt x="58" y="43"/>
                    <a:pt x="52" y="59"/>
                  </a:cubicBezTo>
                  <a:cubicBezTo>
                    <a:pt x="45" y="78"/>
                    <a:pt x="20" y="86"/>
                    <a:pt x="0" y="89"/>
                  </a:cubicBezTo>
                  <a:cubicBezTo>
                    <a:pt x="16" y="105"/>
                    <a:pt x="47" y="79"/>
                    <a:pt x="58" y="65"/>
                  </a:cubicBezTo>
                  <a:cubicBezTo>
                    <a:pt x="79" y="39"/>
                    <a:pt x="66" y="28"/>
                    <a:pt x="59" y="0"/>
                  </a:cubicBezTo>
                </a:path>
              </a:pathLst>
            </a:custGeom>
            <a:solidFill>
              <a:srgbClr val="808080">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0" name="Freeform 466"/>
            <p:cNvSpPr>
              <a:spLocks/>
            </p:cNvSpPr>
            <p:nvPr/>
          </p:nvSpPr>
          <p:spPr bwMode="gray">
            <a:xfrm>
              <a:off x="6620703" y="2318918"/>
              <a:ext cx="50157" cy="177573"/>
            </a:xfrm>
            <a:custGeom>
              <a:avLst/>
              <a:gdLst/>
              <a:ahLst/>
              <a:cxnLst>
                <a:cxn ang="0">
                  <a:pos x="33" y="6"/>
                </a:cxn>
                <a:cxn ang="0">
                  <a:pos x="25" y="74"/>
                </a:cxn>
                <a:cxn ang="0">
                  <a:pos x="27" y="133"/>
                </a:cxn>
                <a:cxn ang="0">
                  <a:pos x="50" y="182"/>
                </a:cxn>
                <a:cxn ang="0">
                  <a:pos x="68" y="241"/>
                </a:cxn>
                <a:cxn ang="0">
                  <a:pos x="14" y="120"/>
                </a:cxn>
                <a:cxn ang="0">
                  <a:pos x="11" y="53"/>
                </a:cxn>
                <a:cxn ang="0">
                  <a:pos x="42" y="0"/>
                </a:cxn>
              </a:cxnLst>
              <a:rect l="0" t="0" r="r" b="b"/>
              <a:pathLst>
                <a:path w="68" h="241">
                  <a:moveTo>
                    <a:pt x="33" y="6"/>
                  </a:moveTo>
                  <a:cubicBezTo>
                    <a:pt x="32" y="36"/>
                    <a:pt x="32" y="50"/>
                    <a:pt x="25" y="74"/>
                  </a:cubicBezTo>
                  <a:cubicBezTo>
                    <a:pt x="20" y="94"/>
                    <a:pt x="17" y="112"/>
                    <a:pt x="27" y="133"/>
                  </a:cubicBezTo>
                  <a:cubicBezTo>
                    <a:pt x="36" y="151"/>
                    <a:pt x="45" y="158"/>
                    <a:pt x="50" y="182"/>
                  </a:cubicBezTo>
                  <a:cubicBezTo>
                    <a:pt x="54" y="201"/>
                    <a:pt x="57" y="226"/>
                    <a:pt x="68" y="241"/>
                  </a:cubicBezTo>
                  <a:cubicBezTo>
                    <a:pt x="43" y="205"/>
                    <a:pt x="33" y="160"/>
                    <a:pt x="14" y="120"/>
                  </a:cubicBezTo>
                  <a:cubicBezTo>
                    <a:pt x="0" y="90"/>
                    <a:pt x="1" y="83"/>
                    <a:pt x="11" y="53"/>
                  </a:cubicBezTo>
                  <a:cubicBezTo>
                    <a:pt x="17" y="35"/>
                    <a:pt x="20" y="2"/>
                    <a:pt x="42" y="0"/>
                  </a:cubicBezTo>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1" name="Freeform 467"/>
            <p:cNvSpPr>
              <a:spLocks/>
            </p:cNvSpPr>
            <p:nvPr/>
          </p:nvSpPr>
          <p:spPr bwMode="gray">
            <a:xfrm>
              <a:off x="6885505" y="2262530"/>
              <a:ext cx="76637" cy="100002"/>
            </a:xfrm>
            <a:custGeom>
              <a:avLst/>
              <a:gdLst/>
              <a:ahLst/>
              <a:cxnLst>
                <a:cxn ang="0">
                  <a:pos x="7" y="83"/>
                </a:cxn>
                <a:cxn ang="0">
                  <a:pos x="56" y="31"/>
                </a:cxn>
                <a:cxn ang="0">
                  <a:pos x="98" y="136"/>
                </a:cxn>
                <a:cxn ang="0">
                  <a:pos x="42" y="0"/>
                </a:cxn>
                <a:cxn ang="0">
                  <a:pos x="0" y="80"/>
                </a:cxn>
              </a:cxnLst>
              <a:rect l="0" t="0" r="r" b="b"/>
              <a:pathLst>
                <a:path w="104" h="136">
                  <a:moveTo>
                    <a:pt x="7" y="83"/>
                  </a:moveTo>
                  <a:cubicBezTo>
                    <a:pt x="40" y="86"/>
                    <a:pt x="38" y="46"/>
                    <a:pt x="56" y="31"/>
                  </a:cubicBezTo>
                  <a:cubicBezTo>
                    <a:pt x="77" y="53"/>
                    <a:pt x="104" y="105"/>
                    <a:pt x="98" y="136"/>
                  </a:cubicBezTo>
                  <a:cubicBezTo>
                    <a:pt x="98" y="87"/>
                    <a:pt x="97" y="20"/>
                    <a:pt x="42" y="0"/>
                  </a:cubicBezTo>
                  <a:cubicBezTo>
                    <a:pt x="28" y="23"/>
                    <a:pt x="29" y="70"/>
                    <a:pt x="0" y="80"/>
                  </a:cubicBezTo>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2" name="Freeform 468"/>
            <p:cNvSpPr>
              <a:spLocks/>
            </p:cNvSpPr>
            <p:nvPr/>
          </p:nvSpPr>
          <p:spPr bwMode="gray">
            <a:xfrm>
              <a:off x="7193298" y="3644485"/>
              <a:ext cx="91279" cy="180065"/>
            </a:xfrm>
            <a:custGeom>
              <a:avLst/>
              <a:gdLst/>
              <a:ahLst/>
              <a:cxnLst>
                <a:cxn ang="0">
                  <a:pos x="0" y="19"/>
                </a:cxn>
                <a:cxn ang="0">
                  <a:pos x="39" y="71"/>
                </a:cxn>
                <a:cxn ang="0">
                  <a:pos x="77" y="121"/>
                </a:cxn>
                <a:cxn ang="0">
                  <a:pos x="0" y="221"/>
                </a:cxn>
                <a:cxn ang="0">
                  <a:pos x="0" y="234"/>
                </a:cxn>
                <a:cxn ang="0">
                  <a:pos x="120" y="111"/>
                </a:cxn>
                <a:cxn ang="0">
                  <a:pos x="16" y="9"/>
                </a:cxn>
              </a:cxnLst>
              <a:rect l="0" t="0" r="r" b="b"/>
              <a:pathLst>
                <a:path w="124" h="245">
                  <a:moveTo>
                    <a:pt x="0" y="19"/>
                  </a:moveTo>
                  <a:cubicBezTo>
                    <a:pt x="19" y="33"/>
                    <a:pt x="28" y="52"/>
                    <a:pt x="39" y="71"/>
                  </a:cubicBezTo>
                  <a:cubicBezTo>
                    <a:pt x="48" y="88"/>
                    <a:pt x="67" y="103"/>
                    <a:pt x="77" y="121"/>
                  </a:cubicBezTo>
                  <a:cubicBezTo>
                    <a:pt x="102" y="165"/>
                    <a:pt x="43" y="222"/>
                    <a:pt x="0" y="221"/>
                  </a:cubicBezTo>
                  <a:cubicBezTo>
                    <a:pt x="0" y="226"/>
                    <a:pt x="0" y="229"/>
                    <a:pt x="0" y="234"/>
                  </a:cubicBezTo>
                  <a:cubicBezTo>
                    <a:pt x="73" y="245"/>
                    <a:pt x="124" y="177"/>
                    <a:pt x="120" y="111"/>
                  </a:cubicBezTo>
                  <a:cubicBezTo>
                    <a:pt x="77" y="83"/>
                    <a:pt x="85" y="0"/>
                    <a:pt x="16" y="9"/>
                  </a:cubicBezTo>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3" name="Freeform 469"/>
            <p:cNvSpPr>
              <a:spLocks/>
            </p:cNvSpPr>
            <p:nvPr/>
          </p:nvSpPr>
          <p:spPr bwMode="gray">
            <a:xfrm>
              <a:off x="6633787" y="1720153"/>
              <a:ext cx="119317" cy="70406"/>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4" name="Freeform 470"/>
            <p:cNvSpPr>
              <a:spLocks/>
            </p:cNvSpPr>
            <p:nvPr/>
          </p:nvSpPr>
          <p:spPr bwMode="gray">
            <a:xfrm>
              <a:off x="6633787" y="1720153"/>
              <a:ext cx="119317" cy="70406"/>
            </a:xfrm>
            <a:custGeom>
              <a:avLst/>
              <a:gdLst/>
              <a:ahLst/>
              <a:cxnLst>
                <a:cxn ang="0">
                  <a:pos x="97" y="83"/>
                </a:cxn>
                <a:cxn ang="0">
                  <a:pos x="13" y="71"/>
                </a:cxn>
                <a:cxn ang="0">
                  <a:pos x="162" y="53"/>
                </a:cxn>
                <a:cxn ang="0">
                  <a:pos x="0" y="92"/>
                </a:cxn>
                <a:cxn ang="0">
                  <a:pos x="81" y="73"/>
                </a:cxn>
              </a:cxnLst>
              <a:rect l="0" t="0" r="r" b="b"/>
              <a:pathLst>
                <a:path w="162" h="96">
                  <a:moveTo>
                    <a:pt x="97" y="83"/>
                  </a:moveTo>
                  <a:cubicBezTo>
                    <a:pt x="70" y="78"/>
                    <a:pt x="39" y="75"/>
                    <a:pt x="13" y="71"/>
                  </a:cubicBezTo>
                  <a:cubicBezTo>
                    <a:pt x="62" y="52"/>
                    <a:pt x="108" y="56"/>
                    <a:pt x="162" y="53"/>
                  </a:cubicBezTo>
                  <a:cubicBezTo>
                    <a:pt x="130" y="0"/>
                    <a:pt x="15" y="40"/>
                    <a:pt x="0" y="92"/>
                  </a:cubicBezTo>
                  <a:cubicBezTo>
                    <a:pt x="28" y="96"/>
                    <a:pt x="54" y="66"/>
                    <a:pt x="81" y="73"/>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5" name="Freeform 471"/>
            <p:cNvSpPr>
              <a:spLocks/>
            </p:cNvSpPr>
            <p:nvPr/>
          </p:nvSpPr>
          <p:spPr bwMode="gray">
            <a:xfrm>
              <a:off x="6530981" y="1812678"/>
              <a:ext cx="92525" cy="171654"/>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solidFill>
              <a:srgbClr val="877468"/>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6" name="Freeform 472"/>
            <p:cNvSpPr>
              <a:spLocks/>
            </p:cNvSpPr>
            <p:nvPr/>
          </p:nvSpPr>
          <p:spPr bwMode="gray">
            <a:xfrm>
              <a:off x="6530981" y="1812678"/>
              <a:ext cx="92525" cy="171654"/>
            </a:xfrm>
            <a:custGeom>
              <a:avLst/>
              <a:gdLst/>
              <a:ahLst/>
              <a:cxnLst>
                <a:cxn ang="0">
                  <a:pos x="32" y="163"/>
                </a:cxn>
                <a:cxn ang="0">
                  <a:pos x="77" y="59"/>
                </a:cxn>
                <a:cxn ang="0">
                  <a:pos x="68" y="101"/>
                </a:cxn>
                <a:cxn ang="0">
                  <a:pos x="126" y="6"/>
                </a:cxn>
                <a:cxn ang="0">
                  <a:pos x="28" y="94"/>
                </a:cxn>
                <a:cxn ang="0">
                  <a:pos x="22" y="172"/>
                </a:cxn>
                <a:cxn ang="0">
                  <a:pos x="0" y="233"/>
                </a:cxn>
                <a:cxn ang="0">
                  <a:pos x="32" y="149"/>
                </a:cxn>
              </a:cxnLst>
              <a:rect l="0" t="0" r="r" b="b"/>
              <a:pathLst>
                <a:path w="126" h="233">
                  <a:moveTo>
                    <a:pt x="32" y="163"/>
                  </a:moveTo>
                  <a:cubicBezTo>
                    <a:pt x="36" y="122"/>
                    <a:pt x="51" y="88"/>
                    <a:pt x="77" y="59"/>
                  </a:cubicBezTo>
                  <a:cubicBezTo>
                    <a:pt x="72" y="72"/>
                    <a:pt x="61" y="88"/>
                    <a:pt x="68" y="101"/>
                  </a:cubicBezTo>
                  <a:cubicBezTo>
                    <a:pt x="85" y="68"/>
                    <a:pt x="107" y="39"/>
                    <a:pt x="126" y="6"/>
                  </a:cubicBezTo>
                  <a:cubicBezTo>
                    <a:pt x="85" y="0"/>
                    <a:pt x="40" y="59"/>
                    <a:pt x="28" y="94"/>
                  </a:cubicBezTo>
                  <a:cubicBezTo>
                    <a:pt x="21" y="118"/>
                    <a:pt x="28" y="147"/>
                    <a:pt x="22" y="172"/>
                  </a:cubicBezTo>
                  <a:cubicBezTo>
                    <a:pt x="17" y="192"/>
                    <a:pt x="8" y="214"/>
                    <a:pt x="0" y="233"/>
                  </a:cubicBezTo>
                  <a:cubicBezTo>
                    <a:pt x="32" y="213"/>
                    <a:pt x="21" y="179"/>
                    <a:pt x="32" y="149"/>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7" name="Freeform 473"/>
            <p:cNvSpPr>
              <a:spLocks/>
            </p:cNvSpPr>
            <p:nvPr/>
          </p:nvSpPr>
          <p:spPr bwMode="gray">
            <a:xfrm>
              <a:off x="6861205" y="1808940"/>
              <a:ext cx="72275" cy="127417"/>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solidFill>
              <a:srgbClr val="736357"/>
            </a:solid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8" name="Freeform 474"/>
            <p:cNvSpPr>
              <a:spLocks/>
            </p:cNvSpPr>
            <p:nvPr/>
          </p:nvSpPr>
          <p:spPr bwMode="gray">
            <a:xfrm>
              <a:off x="6861205" y="1808940"/>
              <a:ext cx="72275" cy="127417"/>
            </a:xfrm>
            <a:custGeom>
              <a:avLst/>
              <a:gdLst/>
              <a:ahLst/>
              <a:cxnLst>
                <a:cxn ang="0">
                  <a:pos x="10" y="17"/>
                </a:cxn>
                <a:cxn ang="0">
                  <a:pos x="56" y="131"/>
                </a:cxn>
                <a:cxn ang="0">
                  <a:pos x="63" y="86"/>
                </a:cxn>
                <a:cxn ang="0">
                  <a:pos x="88" y="173"/>
                </a:cxn>
                <a:cxn ang="0">
                  <a:pos x="75" y="54"/>
                </a:cxn>
                <a:cxn ang="0">
                  <a:pos x="17" y="2"/>
                </a:cxn>
                <a:cxn ang="0">
                  <a:pos x="0" y="21"/>
                </a:cxn>
              </a:cxnLst>
              <a:rect l="0" t="0" r="r" b="b"/>
              <a:pathLst>
                <a:path w="98" h="173">
                  <a:moveTo>
                    <a:pt x="10" y="17"/>
                  </a:moveTo>
                  <a:cubicBezTo>
                    <a:pt x="44" y="36"/>
                    <a:pt x="57" y="90"/>
                    <a:pt x="56" y="131"/>
                  </a:cubicBezTo>
                  <a:cubicBezTo>
                    <a:pt x="58" y="116"/>
                    <a:pt x="66" y="103"/>
                    <a:pt x="63" y="86"/>
                  </a:cubicBezTo>
                  <a:cubicBezTo>
                    <a:pt x="79" y="107"/>
                    <a:pt x="88" y="146"/>
                    <a:pt x="88" y="173"/>
                  </a:cubicBezTo>
                  <a:cubicBezTo>
                    <a:pt x="86" y="129"/>
                    <a:pt x="98" y="93"/>
                    <a:pt x="75" y="54"/>
                  </a:cubicBezTo>
                  <a:cubicBezTo>
                    <a:pt x="63" y="36"/>
                    <a:pt x="40" y="0"/>
                    <a:pt x="17" y="2"/>
                  </a:cubicBezTo>
                  <a:cubicBezTo>
                    <a:pt x="15" y="13"/>
                    <a:pt x="8" y="15"/>
                    <a:pt x="0" y="21"/>
                  </a:cubicBezTo>
                </a:path>
              </a:pathLst>
            </a:custGeom>
            <a:noFill/>
            <a:ln w="5" cap="flat">
              <a:solidFill>
                <a:srgbClr val="73635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299" name="Freeform 475"/>
            <p:cNvSpPr>
              <a:spLocks/>
            </p:cNvSpPr>
            <p:nvPr/>
          </p:nvSpPr>
          <p:spPr bwMode="gray">
            <a:xfrm>
              <a:off x="6771484" y="2991515"/>
              <a:ext cx="114955" cy="326797"/>
            </a:xfrm>
            <a:custGeom>
              <a:avLst/>
              <a:gdLst/>
              <a:ahLst/>
              <a:cxnLst>
                <a:cxn ang="0">
                  <a:pos x="125" y="272"/>
                </a:cxn>
                <a:cxn ang="0">
                  <a:pos x="39" y="423"/>
                </a:cxn>
                <a:cxn ang="0">
                  <a:pos x="49" y="415"/>
                </a:cxn>
                <a:cxn ang="0">
                  <a:pos x="8" y="444"/>
                </a:cxn>
                <a:cxn ang="0">
                  <a:pos x="43" y="384"/>
                </a:cxn>
                <a:cxn ang="0">
                  <a:pos x="86" y="251"/>
                </a:cxn>
                <a:cxn ang="0">
                  <a:pos x="113" y="158"/>
                </a:cxn>
                <a:cxn ang="0">
                  <a:pos x="126" y="64"/>
                </a:cxn>
                <a:cxn ang="0">
                  <a:pos x="138" y="0"/>
                </a:cxn>
                <a:cxn ang="0">
                  <a:pos x="125" y="272"/>
                </a:cxn>
              </a:cxnLst>
              <a:rect l="0" t="0" r="r" b="b"/>
              <a:pathLst>
                <a:path w="156" h="444">
                  <a:moveTo>
                    <a:pt x="125" y="272"/>
                  </a:moveTo>
                  <a:cubicBezTo>
                    <a:pt x="108" y="320"/>
                    <a:pt x="77" y="388"/>
                    <a:pt x="39" y="423"/>
                  </a:cubicBezTo>
                  <a:cubicBezTo>
                    <a:pt x="43" y="419"/>
                    <a:pt x="47" y="417"/>
                    <a:pt x="49" y="415"/>
                  </a:cubicBezTo>
                  <a:cubicBezTo>
                    <a:pt x="42" y="431"/>
                    <a:pt x="24" y="442"/>
                    <a:pt x="8" y="444"/>
                  </a:cubicBezTo>
                  <a:cubicBezTo>
                    <a:pt x="0" y="412"/>
                    <a:pt x="25" y="402"/>
                    <a:pt x="43" y="384"/>
                  </a:cubicBezTo>
                  <a:cubicBezTo>
                    <a:pt x="80" y="348"/>
                    <a:pt x="82" y="304"/>
                    <a:pt x="86" y="251"/>
                  </a:cubicBezTo>
                  <a:cubicBezTo>
                    <a:pt x="89" y="213"/>
                    <a:pt x="102" y="192"/>
                    <a:pt x="113" y="158"/>
                  </a:cubicBezTo>
                  <a:cubicBezTo>
                    <a:pt x="124" y="128"/>
                    <a:pt x="119" y="95"/>
                    <a:pt x="126" y="64"/>
                  </a:cubicBezTo>
                  <a:cubicBezTo>
                    <a:pt x="130" y="42"/>
                    <a:pt x="139" y="24"/>
                    <a:pt x="138" y="0"/>
                  </a:cubicBezTo>
                  <a:cubicBezTo>
                    <a:pt x="138" y="88"/>
                    <a:pt x="156" y="187"/>
                    <a:pt x="125" y="272"/>
                  </a:cubicBezTo>
                  <a:close/>
                </a:path>
              </a:pathLst>
            </a:custGeom>
            <a:solidFill>
              <a:srgbClr val="808080">
                <a:lumMod val="75000"/>
              </a:srgb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300" name="Freeform 478"/>
            <p:cNvSpPr>
              <a:spLocks/>
            </p:cNvSpPr>
            <p:nvPr/>
          </p:nvSpPr>
          <p:spPr bwMode="gray">
            <a:xfrm>
              <a:off x="7253424" y="5512742"/>
              <a:ext cx="90033" cy="103740"/>
            </a:xfrm>
            <a:custGeom>
              <a:avLst/>
              <a:gdLst/>
              <a:ahLst/>
              <a:cxnLst>
                <a:cxn ang="0">
                  <a:pos x="35" y="10"/>
                </a:cxn>
                <a:cxn ang="0">
                  <a:pos x="3" y="11"/>
                </a:cxn>
                <a:cxn ang="0">
                  <a:pos x="31" y="40"/>
                </a:cxn>
                <a:cxn ang="0">
                  <a:pos x="51" y="75"/>
                </a:cxn>
                <a:cxn ang="0">
                  <a:pos x="122" y="141"/>
                </a:cxn>
                <a:cxn ang="0">
                  <a:pos x="78" y="81"/>
                </a:cxn>
                <a:cxn ang="0">
                  <a:pos x="41" y="7"/>
                </a:cxn>
                <a:cxn ang="0">
                  <a:pos x="15" y="0"/>
                </a:cxn>
              </a:cxnLst>
              <a:rect l="0" t="0" r="r" b="b"/>
              <a:pathLst>
                <a:path w="122" h="141">
                  <a:moveTo>
                    <a:pt x="35" y="10"/>
                  </a:moveTo>
                  <a:cubicBezTo>
                    <a:pt x="25" y="9"/>
                    <a:pt x="13" y="10"/>
                    <a:pt x="3" y="11"/>
                  </a:cubicBezTo>
                  <a:cubicBezTo>
                    <a:pt x="0" y="29"/>
                    <a:pt x="21" y="31"/>
                    <a:pt x="31" y="40"/>
                  </a:cubicBezTo>
                  <a:cubicBezTo>
                    <a:pt x="42" y="52"/>
                    <a:pt x="45" y="62"/>
                    <a:pt x="51" y="75"/>
                  </a:cubicBezTo>
                  <a:cubicBezTo>
                    <a:pt x="67" y="110"/>
                    <a:pt x="82" y="130"/>
                    <a:pt x="122" y="141"/>
                  </a:cubicBezTo>
                  <a:cubicBezTo>
                    <a:pt x="97" y="125"/>
                    <a:pt x="87" y="105"/>
                    <a:pt x="78" y="81"/>
                  </a:cubicBezTo>
                  <a:cubicBezTo>
                    <a:pt x="67" y="54"/>
                    <a:pt x="48" y="34"/>
                    <a:pt x="41" y="7"/>
                  </a:cubicBezTo>
                  <a:cubicBezTo>
                    <a:pt x="33" y="4"/>
                    <a:pt x="24" y="0"/>
                    <a:pt x="15" y="0"/>
                  </a:cubicBezTo>
                </a:path>
              </a:pathLst>
            </a:custGeom>
            <a:solidFill>
              <a:srgbClr val="F0F0F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301" name="Freeform 5"/>
            <p:cNvSpPr>
              <a:spLocks/>
            </p:cNvSpPr>
            <p:nvPr/>
          </p:nvSpPr>
          <p:spPr bwMode="gray">
            <a:xfrm>
              <a:off x="6495018" y="1619960"/>
              <a:ext cx="550194" cy="308638"/>
            </a:xfrm>
            <a:custGeom>
              <a:avLst/>
              <a:gdLst>
                <a:gd name="T0" fmla="*/ 907 w 1265"/>
                <a:gd name="T1" fmla="*/ 247 h 557"/>
                <a:gd name="T2" fmla="*/ 632 w 1265"/>
                <a:gd name="T3" fmla="*/ 0 h 557"/>
                <a:gd name="T4" fmla="*/ 358 w 1265"/>
                <a:gd name="T5" fmla="*/ 247 h 557"/>
                <a:gd name="T6" fmla="*/ 0 w 1265"/>
                <a:gd name="T7" fmla="*/ 0 h 557"/>
                <a:gd name="T8" fmla="*/ 114 w 1265"/>
                <a:gd name="T9" fmla="*/ 457 h 557"/>
                <a:gd name="T10" fmla="*/ 632 w 1265"/>
                <a:gd name="T11" fmla="*/ 557 h 557"/>
                <a:gd name="T12" fmla="*/ 1151 w 1265"/>
                <a:gd name="T13" fmla="*/ 457 h 557"/>
                <a:gd name="T14" fmla="*/ 1265 w 1265"/>
                <a:gd name="T15" fmla="*/ 0 h 557"/>
                <a:gd name="T16" fmla="*/ 907 w 1265"/>
                <a:gd name="T17" fmla="*/ 247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5" h="557">
                  <a:moveTo>
                    <a:pt x="907" y="247"/>
                  </a:moveTo>
                  <a:cubicBezTo>
                    <a:pt x="632" y="0"/>
                    <a:pt x="632" y="0"/>
                    <a:pt x="632" y="0"/>
                  </a:cubicBezTo>
                  <a:cubicBezTo>
                    <a:pt x="358" y="247"/>
                    <a:pt x="358" y="247"/>
                    <a:pt x="358" y="247"/>
                  </a:cubicBezTo>
                  <a:cubicBezTo>
                    <a:pt x="0" y="0"/>
                    <a:pt x="0" y="0"/>
                    <a:pt x="0" y="0"/>
                  </a:cubicBezTo>
                  <a:cubicBezTo>
                    <a:pt x="114" y="457"/>
                    <a:pt x="114" y="457"/>
                    <a:pt x="114" y="457"/>
                  </a:cubicBezTo>
                  <a:cubicBezTo>
                    <a:pt x="114" y="512"/>
                    <a:pt x="346" y="557"/>
                    <a:pt x="632" y="557"/>
                  </a:cubicBezTo>
                  <a:cubicBezTo>
                    <a:pt x="919" y="557"/>
                    <a:pt x="1151" y="512"/>
                    <a:pt x="1151" y="457"/>
                  </a:cubicBezTo>
                  <a:cubicBezTo>
                    <a:pt x="1265" y="0"/>
                    <a:pt x="1265" y="0"/>
                    <a:pt x="1265" y="0"/>
                  </a:cubicBezTo>
                  <a:lnTo>
                    <a:pt x="907" y="247"/>
                  </a:lnTo>
                  <a:close/>
                </a:path>
              </a:pathLst>
            </a:custGeom>
            <a:solidFill>
              <a:srgbClr val="FFE600"/>
            </a:solidFill>
            <a:ln>
              <a:noFill/>
            </a:ln>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302" name="Freeform 6"/>
            <p:cNvSpPr>
              <a:spLocks/>
            </p:cNvSpPr>
            <p:nvPr/>
          </p:nvSpPr>
          <p:spPr bwMode="gray">
            <a:xfrm>
              <a:off x="6495018" y="1543384"/>
              <a:ext cx="550194" cy="213385"/>
            </a:xfrm>
            <a:custGeom>
              <a:avLst/>
              <a:gdLst>
                <a:gd name="T0" fmla="*/ 0 w 2996"/>
                <a:gd name="T1" fmla="*/ 328 h 914"/>
                <a:gd name="T2" fmla="*/ 787 w 2996"/>
                <a:gd name="T3" fmla="*/ 629 h 914"/>
                <a:gd name="T4" fmla="*/ 1497 w 2996"/>
                <a:gd name="T5" fmla="*/ 0 h 914"/>
                <a:gd name="T6" fmla="*/ 2210 w 2996"/>
                <a:gd name="T7" fmla="*/ 629 h 914"/>
                <a:gd name="T8" fmla="*/ 2996 w 2996"/>
                <a:gd name="T9" fmla="*/ 328 h 914"/>
                <a:gd name="T10" fmla="*/ 2148 w 2996"/>
                <a:gd name="T11" fmla="*/ 914 h 914"/>
                <a:gd name="T12" fmla="*/ 1497 w 2996"/>
                <a:gd name="T13" fmla="*/ 328 h 914"/>
                <a:gd name="T14" fmla="*/ 848 w 2996"/>
                <a:gd name="T15" fmla="*/ 914 h 914"/>
                <a:gd name="T16" fmla="*/ 0 w 2996"/>
                <a:gd name="T17" fmla="*/ 328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6" h="914">
                  <a:moveTo>
                    <a:pt x="0" y="328"/>
                  </a:moveTo>
                  <a:lnTo>
                    <a:pt x="787" y="629"/>
                  </a:lnTo>
                  <a:lnTo>
                    <a:pt x="1497" y="0"/>
                  </a:lnTo>
                  <a:lnTo>
                    <a:pt x="2210" y="629"/>
                  </a:lnTo>
                  <a:lnTo>
                    <a:pt x="2996" y="328"/>
                  </a:lnTo>
                  <a:lnTo>
                    <a:pt x="2148" y="914"/>
                  </a:lnTo>
                  <a:lnTo>
                    <a:pt x="1497" y="328"/>
                  </a:lnTo>
                  <a:lnTo>
                    <a:pt x="848" y="914"/>
                  </a:lnTo>
                  <a:lnTo>
                    <a:pt x="0" y="328"/>
                  </a:lnTo>
                  <a:close/>
                </a:path>
              </a:pathLst>
            </a:custGeom>
            <a:solidFill>
              <a:srgbClr val="FFF2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303" name="Ellipse 129"/>
            <p:cNvSpPr/>
            <p:nvPr/>
          </p:nvSpPr>
          <p:spPr bwMode="gray">
            <a:xfrm>
              <a:off x="6980599" y="1612457"/>
              <a:ext cx="92429" cy="75241"/>
            </a:xfrm>
            <a:prstGeom prst="ellipse">
              <a:avLst/>
            </a:prstGeom>
            <a:gradFill flip="none" rotWithShape="1">
              <a:gsLst>
                <a:gs pos="1000">
                  <a:srgbClr val="FFFFFF"/>
                </a:gs>
                <a:gs pos="100000">
                  <a:srgbClr val="FFFFFF">
                    <a:alpha val="0"/>
                  </a:srgbClr>
                </a:gs>
              </a:gsLst>
              <a:path path="shape">
                <a:fillToRect l="50000" t="50000" r="50000" b="50000"/>
              </a:path>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sp>
          <p:nvSpPr>
            <p:cNvPr id="304" name="Stern mit 4 Zacken 130"/>
            <p:cNvSpPr/>
            <p:nvPr/>
          </p:nvSpPr>
          <p:spPr bwMode="gray">
            <a:xfrm>
              <a:off x="6953727" y="1590582"/>
              <a:ext cx="146172" cy="118989"/>
            </a:xfrm>
            <a:prstGeom prst="star4">
              <a:avLst>
                <a:gd name="adj" fmla="val 2866"/>
              </a:avLst>
            </a:prstGeom>
            <a:gradFill flip="none" rotWithShape="1">
              <a:gsLst>
                <a:gs pos="1000">
                  <a:srgbClr val="FFFFFF"/>
                </a:gs>
                <a:gs pos="100000">
                  <a:srgbClr val="FFFFFF">
                    <a:alpha val="0"/>
                  </a:srgbClr>
                </a:gs>
              </a:gsLst>
              <a:path path="shape">
                <a:fillToRect l="50000" t="50000" r="50000" b="50000"/>
              </a:path>
              <a:tileRect/>
            </a:gradFill>
            <a:ln w="12700">
              <a:noFill/>
              <a:round/>
              <a:headEnd/>
              <a:tailEnd/>
            </a:ln>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latin typeface="+mj-lt"/>
              </a:endParaRPr>
            </a:p>
          </p:txBody>
        </p:sp>
      </p:grpSp>
      <p:sp>
        <p:nvSpPr>
          <p:cNvPr id="5" name="TextBox 4"/>
          <p:cNvSpPr txBox="1"/>
          <p:nvPr/>
        </p:nvSpPr>
        <p:spPr>
          <a:xfrm>
            <a:off x="674036" y="6096000"/>
            <a:ext cx="6622114" cy="133350"/>
          </a:xfrm>
          <a:prstGeom prst="rect">
            <a:avLst/>
          </a:prstGeom>
          <a:noFill/>
        </p:spPr>
        <p:txBody>
          <a:bodyPr wrap="square" lIns="0" tIns="0" rIns="0" bIns="0" rtlCol="0" anchor="ctr">
            <a:noAutofit/>
          </a:bodyPr>
          <a:lstStyle/>
          <a:p>
            <a:pPr>
              <a:lnSpc>
                <a:spcPct val="85000"/>
              </a:lnSpc>
              <a:spcAft>
                <a:spcPts val="600"/>
              </a:spcAft>
              <a:buClr>
                <a:schemeClr val="accent2"/>
              </a:buClr>
              <a:buSzPct val="70000"/>
            </a:pPr>
            <a:r>
              <a:rPr lang="en-IN" sz="800" b="1" dirty="0" smtClean="0">
                <a:solidFill>
                  <a:schemeClr val="bg1"/>
                </a:solidFill>
                <a:latin typeface="+mj-lt"/>
              </a:rPr>
              <a:t>Source: EY </a:t>
            </a:r>
            <a:r>
              <a:rPr lang="en-IN" sz="800" dirty="0" smtClean="0">
                <a:latin typeface="+mj-lt"/>
              </a:rPr>
              <a:t>Industrial </a:t>
            </a:r>
            <a:r>
              <a:rPr lang="en-IN" sz="800" dirty="0">
                <a:latin typeface="+mj-lt"/>
              </a:rPr>
              <a:t>Products Continuous Innovation Study 2018</a:t>
            </a:r>
            <a:endParaRPr lang="en-IN" sz="800" b="1" dirty="0" smtClean="0">
              <a:solidFill>
                <a:schemeClr val="bg1"/>
              </a:solidFill>
              <a:latin typeface="+mj-lt"/>
            </a:endParaRPr>
          </a:p>
        </p:txBody>
      </p:sp>
    </p:spTree>
    <p:extLst>
      <p:ext uri="{BB962C8B-B14F-4D97-AF65-F5344CB8AC3E}">
        <p14:creationId xmlns:p14="http://schemas.microsoft.com/office/powerpoint/2010/main" val="21740921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2043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657" name="think-cell Slide" r:id="rId6" imgW="473" imgH="476" progId="TCLayout.ActiveDocument.1">
                  <p:embed/>
                </p:oleObj>
              </mc:Choice>
              <mc:Fallback>
                <p:oleObj name="think-cell Slide" r:id="rId6" imgW="473" imgH="476"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IN" sz="20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7" y="246425"/>
            <a:ext cx="10977034" cy="860400"/>
          </a:xfrm>
        </p:spPr>
        <p:txBody>
          <a:bodyPr/>
          <a:lstStyle/>
          <a:p>
            <a:pPr>
              <a:buClr>
                <a:schemeClr val="accent2"/>
              </a:buClr>
              <a:buSzPct val="70000"/>
            </a:pPr>
            <a:r>
              <a:rPr lang="en-IN" sz="2000" dirty="0">
                <a:latin typeface="+mj-lt"/>
              </a:rPr>
              <a:t>Digitisation is uniting a once siloed </a:t>
            </a:r>
            <a:r>
              <a:rPr lang="en-IN" sz="2000" dirty="0" smtClean="0">
                <a:latin typeface="+mj-lt"/>
              </a:rPr>
              <a:t>and linier supply </a:t>
            </a:r>
            <a:r>
              <a:rPr lang="en-IN" sz="2000" dirty="0">
                <a:latin typeface="+mj-lt"/>
              </a:rPr>
              <a:t>chain into an integrated digital ecosystem — from the procurement of raw materials </a:t>
            </a:r>
            <a:r>
              <a:rPr lang="en-IN" sz="2000" dirty="0" smtClean="0">
                <a:latin typeface="+mj-lt"/>
              </a:rPr>
              <a:t>and planning to </a:t>
            </a:r>
            <a:r>
              <a:rPr lang="en-IN" sz="2000" dirty="0">
                <a:latin typeface="+mj-lt"/>
              </a:rPr>
              <a:t>manufacturing and logistics, and finally to customer fulfilment</a:t>
            </a:r>
          </a:p>
        </p:txBody>
      </p:sp>
      <p:grpSp>
        <p:nvGrpSpPr>
          <p:cNvPr id="126" name="Group 125"/>
          <p:cNvGrpSpPr/>
          <p:nvPr/>
        </p:nvGrpSpPr>
        <p:grpSpPr>
          <a:xfrm>
            <a:off x="1906988" y="1551097"/>
            <a:ext cx="8378024" cy="4743003"/>
            <a:chOff x="71721" y="1162937"/>
            <a:chExt cx="8920081" cy="5049874"/>
          </a:xfrm>
        </p:grpSpPr>
        <p:sp>
          <p:nvSpPr>
            <p:cNvPr id="127" name="Right Arrow 126"/>
            <p:cNvSpPr/>
            <p:nvPr/>
          </p:nvSpPr>
          <p:spPr>
            <a:xfrm rot="19056956">
              <a:off x="4516225" y="3634461"/>
              <a:ext cx="1144479" cy="806836"/>
            </a:xfrm>
            <a:prstGeom prst="rightArrow">
              <a:avLst/>
            </a:prstGeom>
            <a:solidFill>
              <a:schemeClr val="accent6"/>
            </a:solidFill>
            <a:ln w="9525" cap="flat" cmpd="sng" algn="ctr">
              <a:solidFill>
                <a:srgbClr val="FFFFFF"/>
              </a:solidFill>
              <a:prstDash val="solid"/>
            </a:ln>
            <a:effectLst/>
          </p:spPr>
          <p:txBody>
            <a:bodyPr rtlCol="0" anchor="t" anchorCtr="0"/>
            <a:lstStyle/>
            <a:p>
              <a:pPr algn="ctr" defTabSz="791108">
                <a:defRPr/>
              </a:pPr>
              <a:endParaRPr lang="de-DE" sz="954" kern="0" dirty="0">
                <a:solidFill>
                  <a:srgbClr val="000000"/>
                </a:solidFill>
                <a:latin typeface="+mj-lt"/>
              </a:endParaRPr>
            </a:p>
          </p:txBody>
        </p:sp>
        <p:sp>
          <p:nvSpPr>
            <p:cNvPr id="128" name="Rectangle 127"/>
            <p:cNvSpPr/>
            <p:nvPr/>
          </p:nvSpPr>
          <p:spPr>
            <a:xfrm>
              <a:off x="4297434" y="4072587"/>
              <a:ext cx="725019" cy="1374105"/>
            </a:xfrm>
            <a:prstGeom prst="rect">
              <a:avLst/>
            </a:prstGeom>
            <a:noFill/>
            <a:ln w="28575" cap="flat" cmpd="sng" algn="ctr">
              <a:solidFill>
                <a:srgbClr val="FFFFFF"/>
              </a:solidFill>
              <a:prstDash val="solid"/>
            </a:ln>
            <a:effectLst/>
          </p:spPr>
          <p:txBody>
            <a:bodyPr rtlCol="0" anchor="t" anchorCtr="0"/>
            <a:lstStyle/>
            <a:p>
              <a:pPr algn="ctr" defTabSz="791108">
                <a:defRPr/>
              </a:pPr>
              <a:endParaRPr lang="de-DE" sz="954" kern="0" dirty="0">
                <a:solidFill>
                  <a:srgbClr val="000000"/>
                </a:solidFill>
                <a:latin typeface="+mj-lt"/>
              </a:endParaRPr>
            </a:p>
          </p:txBody>
        </p:sp>
        <p:sp>
          <p:nvSpPr>
            <p:cNvPr id="129" name="Right Arrow 128"/>
            <p:cNvSpPr/>
            <p:nvPr/>
          </p:nvSpPr>
          <p:spPr>
            <a:xfrm>
              <a:off x="270468" y="5650013"/>
              <a:ext cx="8209471" cy="562798"/>
            </a:xfrm>
            <a:prstGeom prst="rightArrow">
              <a:avLst/>
            </a:prstGeom>
            <a:solidFill>
              <a:schemeClr val="accent3"/>
            </a:solidFill>
            <a:ln w="9525" cap="flat" cmpd="sng" algn="ctr">
              <a:solidFill>
                <a:srgbClr val="C0C0C0"/>
              </a:solidFill>
              <a:prstDash val="solid"/>
            </a:ln>
            <a:effectLst/>
          </p:spPr>
          <p:txBody>
            <a:bodyPr lIns="0" tIns="0" rIns="0" bIns="0" rtlCol="0" anchor="ctr" anchorCtr="0"/>
            <a:lstStyle/>
            <a:p>
              <a:pPr algn="ctr" defTabSz="791108">
                <a:defRPr/>
              </a:pPr>
              <a:r>
                <a:rPr lang="de-DE" b="1" kern="0" dirty="0" smtClean="0">
                  <a:solidFill>
                    <a:schemeClr val="tx2"/>
                  </a:solidFill>
                  <a:latin typeface="+mj-lt"/>
                </a:rPr>
                <a:t>Degree of external collaboration</a:t>
              </a:r>
              <a:endParaRPr lang="de-DE" b="1" kern="0" dirty="0">
                <a:solidFill>
                  <a:schemeClr val="tx2"/>
                </a:solidFill>
                <a:latin typeface="+mj-lt"/>
              </a:endParaRPr>
            </a:p>
          </p:txBody>
        </p:sp>
        <p:sp>
          <p:nvSpPr>
            <p:cNvPr id="130" name="Right Arrow 129"/>
            <p:cNvSpPr/>
            <p:nvPr/>
          </p:nvSpPr>
          <p:spPr>
            <a:xfrm rot="16200000">
              <a:off x="-1852284" y="3140391"/>
              <a:ext cx="4627984" cy="779974"/>
            </a:xfrm>
            <a:prstGeom prst="rightArrow">
              <a:avLst/>
            </a:prstGeom>
            <a:solidFill>
              <a:schemeClr val="accent3"/>
            </a:solidFill>
            <a:ln w="9525" cap="flat" cmpd="sng" algn="ctr">
              <a:solidFill>
                <a:srgbClr val="C0C0C0"/>
              </a:solidFill>
              <a:prstDash val="solid"/>
            </a:ln>
            <a:effectLst/>
          </p:spPr>
          <p:txBody>
            <a:bodyPr lIns="0" tIns="0" rIns="0" bIns="0" rtlCol="0" anchor="ctr" anchorCtr="0"/>
            <a:lstStyle/>
            <a:p>
              <a:pPr algn="ctr" defTabSz="791108">
                <a:defRPr/>
              </a:pPr>
              <a:r>
                <a:rPr lang="de-DE" sz="1600" b="1" kern="0" dirty="0" smtClean="0">
                  <a:solidFill>
                    <a:schemeClr val="tx2"/>
                  </a:solidFill>
                  <a:latin typeface="+mj-lt"/>
                </a:rPr>
                <a:t>Level of integration utilizing the cloud</a:t>
              </a:r>
              <a:endParaRPr lang="de-DE" sz="1600" b="1" kern="0" dirty="0">
                <a:solidFill>
                  <a:schemeClr val="tx2"/>
                </a:solidFill>
                <a:latin typeface="+mj-lt"/>
              </a:endParaRPr>
            </a:p>
          </p:txBody>
        </p:sp>
        <p:sp>
          <p:nvSpPr>
            <p:cNvPr id="131" name="Rectangle 130"/>
            <p:cNvSpPr/>
            <p:nvPr/>
          </p:nvSpPr>
          <p:spPr>
            <a:xfrm>
              <a:off x="841200" y="3127905"/>
              <a:ext cx="3711429" cy="688148"/>
            </a:xfrm>
            <a:prstGeom prst="rect">
              <a:avLst/>
            </a:prstGeom>
          </p:spPr>
          <p:txBody>
            <a:bodyPr wrap="square">
              <a:spAutoFit/>
            </a:bodyPr>
            <a:lstStyle/>
            <a:p>
              <a:pPr defTabSz="791108">
                <a:spcAft>
                  <a:spcPts val="477"/>
                </a:spcAft>
                <a:defRPr/>
              </a:pPr>
              <a:r>
                <a:rPr lang="en-US" b="1" kern="0" dirty="0">
                  <a:solidFill>
                    <a:schemeClr val="bg1"/>
                  </a:solidFill>
                  <a:latin typeface="+mj-lt"/>
                </a:rPr>
                <a:t>The old world: </a:t>
              </a:r>
              <a:r>
                <a:rPr lang="en-US" b="1" kern="0" dirty="0" smtClean="0">
                  <a:solidFill>
                    <a:schemeClr val="bg1"/>
                  </a:solidFill>
                  <a:latin typeface="+mj-lt"/>
                </a:rPr>
                <a:t>value-creation </a:t>
              </a:r>
              <a:r>
                <a:rPr lang="en-US" b="1" kern="0" dirty="0">
                  <a:solidFill>
                    <a:schemeClr val="bg1"/>
                  </a:solidFill>
                  <a:latin typeface="+mj-lt"/>
                </a:rPr>
                <a:t>within entities, </a:t>
              </a:r>
              <a:r>
                <a:rPr lang="en-US" b="1" kern="0" dirty="0" smtClean="0">
                  <a:solidFill>
                    <a:schemeClr val="bg1"/>
                  </a:solidFill>
                  <a:latin typeface="+mj-lt"/>
                </a:rPr>
                <a:t>on-premise IT</a:t>
              </a:r>
              <a:endParaRPr lang="en-US" b="1" kern="0" dirty="0">
                <a:solidFill>
                  <a:schemeClr val="bg1"/>
                </a:solidFill>
                <a:latin typeface="+mj-lt"/>
              </a:endParaRPr>
            </a:p>
          </p:txBody>
        </p:sp>
        <p:sp>
          <p:nvSpPr>
            <p:cNvPr id="132" name="Rechteck 10"/>
            <p:cNvSpPr/>
            <p:nvPr/>
          </p:nvSpPr>
          <p:spPr>
            <a:xfrm>
              <a:off x="5693639" y="4244657"/>
              <a:ext cx="3298163" cy="983069"/>
            </a:xfrm>
            <a:prstGeom prst="rect">
              <a:avLst/>
            </a:prstGeom>
            <a:noFill/>
            <a:ln w="9525" cap="flat" cmpd="sng" algn="ctr">
              <a:noFill/>
              <a:prstDash val="solid"/>
            </a:ln>
            <a:effectLst/>
          </p:spPr>
          <p:txBody>
            <a:bodyPr wrap="square" rtlCol="0" anchor="t" anchorCtr="0">
              <a:spAutoFit/>
            </a:bodyPr>
            <a:lstStyle/>
            <a:p>
              <a:pPr defTabSz="791108">
                <a:spcAft>
                  <a:spcPts val="477"/>
                </a:spcAft>
                <a:defRPr/>
              </a:pPr>
              <a:r>
                <a:rPr lang="en-US" b="1" kern="0" dirty="0">
                  <a:solidFill>
                    <a:schemeClr val="bg1"/>
                  </a:solidFill>
                  <a:latin typeface="+mj-lt"/>
                </a:rPr>
                <a:t>The new world: </a:t>
              </a:r>
              <a:r>
                <a:rPr lang="en-US" b="1" kern="0" dirty="0" smtClean="0">
                  <a:solidFill>
                    <a:schemeClr val="bg1"/>
                  </a:solidFill>
                  <a:latin typeface="+mj-lt"/>
                </a:rPr>
                <a:t>ecosystems </a:t>
              </a:r>
              <a:r>
                <a:rPr lang="en-US" b="1" kern="0" dirty="0">
                  <a:solidFill>
                    <a:schemeClr val="bg1"/>
                  </a:solidFill>
                  <a:latin typeface="+mj-lt"/>
                </a:rPr>
                <a:t>on </a:t>
              </a:r>
              <a:r>
                <a:rPr lang="en-US" b="1" kern="0" dirty="0" smtClean="0">
                  <a:solidFill>
                    <a:schemeClr val="bg1"/>
                  </a:solidFill>
                  <a:latin typeface="+mj-lt"/>
                </a:rPr>
                <a:t/>
              </a:r>
              <a:br>
                <a:rPr lang="en-US" b="1" kern="0" dirty="0" smtClean="0">
                  <a:solidFill>
                    <a:schemeClr val="bg1"/>
                  </a:solidFill>
                  <a:latin typeface="+mj-lt"/>
                </a:rPr>
              </a:br>
              <a:r>
                <a:rPr lang="en-US" b="1" kern="0" dirty="0" smtClean="0">
                  <a:solidFill>
                    <a:schemeClr val="bg1"/>
                  </a:solidFill>
                  <a:latin typeface="+mj-lt"/>
                </a:rPr>
                <a:t>cloud-enabled platforms</a:t>
              </a:r>
              <a:endParaRPr lang="en-US" b="1" kern="0" dirty="0">
                <a:solidFill>
                  <a:schemeClr val="bg1"/>
                </a:solidFill>
                <a:latin typeface="+mj-lt"/>
              </a:endParaRPr>
            </a:p>
          </p:txBody>
        </p:sp>
        <p:grpSp>
          <p:nvGrpSpPr>
            <p:cNvPr id="133" name="Group 132"/>
            <p:cNvGrpSpPr/>
            <p:nvPr/>
          </p:nvGrpSpPr>
          <p:grpSpPr>
            <a:xfrm>
              <a:off x="905969" y="3879436"/>
              <a:ext cx="4106863" cy="1735789"/>
              <a:chOff x="1268547" y="4216141"/>
              <a:chExt cx="4594495" cy="1873263"/>
            </a:xfrm>
          </p:grpSpPr>
          <p:grpSp>
            <p:nvGrpSpPr>
              <p:cNvPr id="233" name="Group 232"/>
              <p:cNvGrpSpPr>
                <a:grpSpLocks noChangeAspect="1"/>
              </p:cNvGrpSpPr>
              <p:nvPr/>
            </p:nvGrpSpPr>
            <p:grpSpPr>
              <a:xfrm>
                <a:off x="1268547" y="4216141"/>
                <a:ext cx="4594495" cy="1873263"/>
                <a:chOff x="755037" y="3318973"/>
                <a:chExt cx="9056159" cy="3475188"/>
              </a:xfrm>
            </p:grpSpPr>
            <p:sp>
              <p:nvSpPr>
                <p:cNvPr id="238" name="AutoShape 176"/>
                <p:cNvSpPr>
                  <a:spLocks noChangeArrowheads="1"/>
                </p:cNvSpPr>
                <p:nvPr/>
              </p:nvSpPr>
              <p:spPr bwMode="gray">
                <a:xfrm>
                  <a:off x="8258756" y="3735796"/>
                  <a:ext cx="1552440" cy="2683525"/>
                </a:xfrm>
                <a:prstGeom prst="rect">
                  <a:avLst/>
                </a:prstGeom>
                <a:solidFill>
                  <a:srgbClr val="FFF27F"/>
                </a:solidFill>
                <a:ln w="28575">
                  <a:noFill/>
                  <a:prstDash val="solid"/>
                  <a:round/>
                  <a:headEnd/>
                  <a:tailEnd/>
                </a:ln>
              </p:spPr>
              <p:txBody>
                <a:bodyPr wrap="none" lIns="63669" tIns="114433" rIns="63669" bIns="31835" anchor="t"/>
                <a:lstStyle/>
                <a:p>
                  <a:pPr algn="ctr" defTabSz="558057">
                    <a:lnSpc>
                      <a:spcPct val="90000"/>
                    </a:lnSpc>
                    <a:defRPr/>
                  </a:pPr>
                  <a:r>
                    <a:rPr lang="en-GB" sz="800" b="1" kern="0" dirty="0">
                      <a:solidFill>
                        <a:srgbClr val="646464"/>
                      </a:solidFill>
                      <a:latin typeface="+mj-lt"/>
                    </a:rPr>
                    <a:t>Customers</a:t>
                  </a:r>
                </a:p>
              </p:txBody>
            </p:sp>
            <p:sp>
              <p:nvSpPr>
                <p:cNvPr id="239" name="AutoShape 176"/>
                <p:cNvSpPr>
                  <a:spLocks noChangeArrowheads="1"/>
                </p:cNvSpPr>
                <p:nvPr/>
              </p:nvSpPr>
              <p:spPr bwMode="gray">
                <a:xfrm>
                  <a:off x="2398945" y="3728342"/>
                  <a:ext cx="5773814" cy="2683525"/>
                </a:xfrm>
                <a:prstGeom prst="rect">
                  <a:avLst/>
                </a:prstGeom>
                <a:solidFill>
                  <a:schemeClr val="accent2"/>
                </a:solidFill>
                <a:ln w="9525">
                  <a:noFill/>
                  <a:prstDash val="lgDash"/>
                  <a:round/>
                  <a:headEnd/>
                  <a:tailEnd/>
                </a:ln>
              </p:spPr>
              <p:txBody>
                <a:bodyPr wrap="none" lIns="63669" tIns="31835" rIns="63669" bIns="31835" anchor="ctr"/>
                <a:lstStyle/>
                <a:p>
                  <a:pPr defTabSz="558057">
                    <a:lnSpc>
                      <a:spcPct val="90000"/>
                    </a:lnSpc>
                    <a:defRPr/>
                  </a:pPr>
                  <a:endParaRPr lang="en-GB" sz="636" kern="0" dirty="0">
                    <a:solidFill>
                      <a:srgbClr val="646464"/>
                    </a:solidFill>
                    <a:latin typeface="+mj-lt"/>
                  </a:endParaRPr>
                </a:p>
              </p:txBody>
            </p:sp>
            <p:sp>
              <p:nvSpPr>
                <p:cNvPr id="240" name="AutoShape 176"/>
                <p:cNvSpPr>
                  <a:spLocks noChangeArrowheads="1"/>
                </p:cNvSpPr>
                <p:nvPr/>
              </p:nvSpPr>
              <p:spPr bwMode="gray">
                <a:xfrm>
                  <a:off x="755037" y="3735796"/>
                  <a:ext cx="1552440" cy="2683525"/>
                </a:xfrm>
                <a:prstGeom prst="rect">
                  <a:avLst/>
                </a:prstGeom>
                <a:solidFill>
                  <a:srgbClr val="FFF27F"/>
                </a:solidFill>
                <a:ln w="28575">
                  <a:noFill/>
                  <a:prstDash val="solid"/>
                  <a:round/>
                  <a:headEnd/>
                  <a:tailEnd/>
                </a:ln>
              </p:spPr>
              <p:txBody>
                <a:bodyPr wrap="none" lIns="63669" tIns="114433" rIns="63669" bIns="31835" anchor="t"/>
                <a:lstStyle/>
                <a:p>
                  <a:pPr algn="ctr" defTabSz="558057">
                    <a:lnSpc>
                      <a:spcPct val="90000"/>
                    </a:lnSpc>
                  </a:pPr>
                  <a:r>
                    <a:rPr lang="en-GB" sz="800" b="1" kern="0" dirty="0">
                      <a:solidFill>
                        <a:srgbClr val="646464"/>
                      </a:solidFill>
                      <a:latin typeface="+mj-lt"/>
                    </a:rPr>
                    <a:t>Suppliers</a:t>
                  </a:r>
                </a:p>
              </p:txBody>
            </p:sp>
            <p:sp>
              <p:nvSpPr>
                <p:cNvPr id="241" name="AutoShape 184"/>
                <p:cNvSpPr>
                  <a:spLocks noChangeArrowheads="1"/>
                </p:cNvSpPr>
                <p:nvPr/>
              </p:nvSpPr>
              <p:spPr bwMode="gray">
                <a:xfrm>
                  <a:off x="3107015" y="3318973"/>
                  <a:ext cx="4424459" cy="690057"/>
                </a:xfrm>
                <a:prstGeom prst="flowChartOffpageConnector">
                  <a:avLst/>
                </a:prstGeom>
                <a:solidFill>
                  <a:schemeClr val="accent1"/>
                </a:solidFill>
                <a:ln w="9525" algn="ctr">
                  <a:noFill/>
                  <a:miter lim="800000"/>
                  <a:headEnd/>
                  <a:tailEnd/>
                </a:ln>
              </p:spPr>
              <p:txBody>
                <a:bodyPr lIns="62666" tIns="28609" rIns="57217" bIns="0" anchor="ctr"/>
                <a:lstStyle/>
                <a:p>
                  <a:pPr algn="ctr" defTabSz="558057">
                    <a:lnSpc>
                      <a:spcPct val="90000"/>
                    </a:lnSpc>
                    <a:defRPr/>
                  </a:pPr>
                  <a:r>
                    <a:rPr lang="en-GB" sz="800" kern="0" dirty="0" smtClean="0">
                      <a:solidFill>
                        <a:srgbClr val="FFFFFF"/>
                      </a:solidFill>
                      <a:latin typeface="+mj-lt"/>
                    </a:rPr>
                    <a:t>Innovation and product life cycle </a:t>
                  </a:r>
                  <a:r>
                    <a:rPr lang="en-GB" sz="800" kern="0" dirty="0">
                      <a:solidFill>
                        <a:srgbClr val="FFFFFF"/>
                      </a:solidFill>
                      <a:latin typeface="+mj-lt"/>
                    </a:rPr>
                    <a:t>m</a:t>
                  </a:r>
                  <a:r>
                    <a:rPr lang="en-GB" sz="800" kern="0" dirty="0" smtClean="0">
                      <a:solidFill>
                        <a:srgbClr val="FFFFFF"/>
                      </a:solidFill>
                      <a:latin typeface="+mj-lt"/>
                    </a:rPr>
                    <a:t>anagement</a:t>
                  </a:r>
                  <a:endParaRPr lang="en-GB" sz="800" kern="0" dirty="0">
                    <a:solidFill>
                      <a:srgbClr val="FFFFFF"/>
                    </a:solidFill>
                    <a:latin typeface="+mj-lt"/>
                  </a:endParaRPr>
                </a:p>
              </p:txBody>
            </p:sp>
            <p:sp>
              <p:nvSpPr>
                <p:cNvPr id="242" name="Rectangle 188"/>
                <p:cNvSpPr>
                  <a:spLocks noChangeArrowheads="1"/>
                </p:cNvSpPr>
                <p:nvPr/>
              </p:nvSpPr>
              <p:spPr bwMode="gray">
                <a:xfrm>
                  <a:off x="2573255" y="3932562"/>
                  <a:ext cx="1527993" cy="472364"/>
                </a:xfrm>
                <a:prstGeom prst="rect">
                  <a:avLst/>
                </a:prstGeom>
                <a:noFill/>
                <a:ln w="9525">
                  <a:noFill/>
                  <a:miter lim="800000"/>
                  <a:headEnd/>
                  <a:tailEnd/>
                </a:ln>
              </p:spPr>
              <p:txBody>
                <a:bodyPr wrap="none" lIns="0" tIns="0" rIns="0" bIns="0" anchor="t">
                  <a:spAutoFit/>
                </a:bodyPr>
                <a:lstStyle/>
                <a:p>
                  <a:pPr algn="ctr" defTabSz="558057">
                    <a:lnSpc>
                      <a:spcPct val="90000"/>
                    </a:lnSpc>
                    <a:defRPr/>
                  </a:pPr>
                  <a:r>
                    <a:rPr lang="en-GB" sz="800" b="1" kern="0" dirty="0">
                      <a:solidFill>
                        <a:srgbClr val="646464"/>
                      </a:solidFill>
                      <a:latin typeface="+mj-lt"/>
                    </a:rPr>
                    <a:t>Manufacturer</a:t>
                  </a:r>
                  <a:br>
                    <a:rPr lang="en-GB" sz="800" b="1" kern="0" dirty="0">
                      <a:solidFill>
                        <a:srgbClr val="646464"/>
                      </a:solidFill>
                      <a:latin typeface="+mj-lt"/>
                    </a:rPr>
                  </a:br>
                  <a:r>
                    <a:rPr lang="en-GB" sz="800" b="1" kern="0" dirty="0">
                      <a:solidFill>
                        <a:srgbClr val="646464"/>
                      </a:solidFill>
                      <a:latin typeface="+mj-lt"/>
                    </a:rPr>
                    <a:t>OEM</a:t>
                  </a:r>
                </a:p>
              </p:txBody>
            </p:sp>
            <p:sp>
              <p:nvSpPr>
                <p:cNvPr id="243" name="Richtungspfeil 64"/>
                <p:cNvSpPr/>
                <p:nvPr/>
              </p:nvSpPr>
              <p:spPr bwMode="auto">
                <a:xfrm rot="16200000">
                  <a:off x="4975178" y="4237867"/>
                  <a:ext cx="688133" cy="4424456"/>
                </a:xfrm>
                <a:prstGeom prst="homePlate">
                  <a:avLst>
                    <a:gd name="adj" fmla="val 19429"/>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vert" wrap="square" lIns="57217" tIns="0" rIns="57217" bIns="0" numCol="1" spcCol="0" rtlCol="0" fromWordArt="0" anchor="ctr" anchorCtr="0" forceAA="0" compatLnSpc="1">
                  <a:prstTxWarp prst="textNoShape">
                    <a:avLst/>
                  </a:prstTxWarp>
                  <a:noAutofit/>
                </a:bodyPr>
                <a:lstStyle/>
                <a:p>
                  <a:pPr algn="ctr" defTabSz="558057">
                    <a:lnSpc>
                      <a:spcPct val="90000"/>
                    </a:lnSpc>
                    <a:spcBef>
                      <a:spcPts val="183"/>
                    </a:spcBef>
                    <a:spcAft>
                      <a:spcPts val="183"/>
                    </a:spcAft>
                    <a:buClr>
                      <a:srgbClr val="545454"/>
                    </a:buClr>
                    <a:defRPr/>
                  </a:pPr>
                  <a:r>
                    <a:rPr lang="en-GB" sz="800" kern="0" dirty="0">
                      <a:solidFill>
                        <a:srgbClr val="FFFFFF"/>
                      </a:solidFill>
                      <a:latin typeface="+mj-lt"/>
                    </a:rPr>
                    <a:t>Finance </a:t>
                  </a:r>
                  <a:r>
                    <a:rPr lang="en-GB" sz="800" kern="0" dirty="0" smtClean="0">
                      <a:solidFill>
                        <a:srgbClr val="FFFFFF"/>
                      </a:solidFill>
                      <a:latin typeface="+mj-lt"/>
                    </a:rPr>
                    <a:t>and controlling</a:t>
                  </a:r>
                  <a:endParaRPr lang="en-GB" sz="800" kern="0" dirty="0">
                    <a:solidFill>
                      <a:srgbClr val="FFFFFF"/>
                    </a:solidFill>
                    <a:latin typeface="+mj-lt"/>
                  </a:endParaRPr>
                </a:p>
              </p:txBody>
            </p:sp>
            <p:sp>
              <p:nvSpPr>
                <p:cNvPr id="244" name="Richtungspfeil 65"/>
                <p:cNvSpPr/>
                <p:nvPr/>
              </p:nvSpPr>
              <p:spPr bwMode="auto">
                <a:xfrm>
                  <a:off x="7022507" y="4348891"/>
                  <a:ext cx="1813402" cy="697648"/>
                </a:xfrm>
                <a:prstGeom prst="homePlate">
                  <a:avLst>
                    <a:gd name="adj" fmla="val 29531"/>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57217" tIns="0" rIns="0" bIns="0" numCol="1" spcCol="0" rtlCol="0" fromWordArt="0" anchor="ctr" anchorCtr="0" forceAA="0" compatLnSpc="1">
                  <a:prstTxWarp prst="textNoShape">
                    <a:avLst/>
                  </a:prstTxWarp>
                  <a:noAutofit/>
                </a:bodyPr>
                <a:lstStyle/>
                <a:p>
                  <a:pPr defTabSz="558057">
                    <a:lnSpc>
                      <a:spcPct val="80000"/>
                    </a:lnSpc>
                    <a:spcBef>
                      <a:spcPts val="183"/>
                    </a:spcBef>
                    <a:spcAft>
                      <a:spcPts val="183"/>
                    </a:spcAft>
                    <a:buClr>
                      <a:srgbClr val="545454"/>
                    </a:buClr>
                    <a:defRPr/>
                  </a:pPr>
                  <a:r>
                    <a:rPr lang="en-GB" sz="716" kern="0" dirty="0">
                      <a:solidFill>
                        <a:srgbClr val="FFFFFF"/>
                      </a:solidFill>
                      <a:latin typeface="+mj-lt"/>
                    </a:rPr>
                    <a:t>S</a:t>
                  </a:r>
                  <a:r>
                    <a:rPr lang="en-GB" sz="716" kern="0" dirty="0" smtClean="0">
                      <a:solidFill>
                        <a:srgbClr val="FFFFFF"/>
                      </a:solidFill>
                      <a:latin typeface="+mj-lt"/>
                    </a:rPr>
                    <a:t>ales and </a:t>
                  </a:r>
                  <a:r>
                    <a:rPr lang="en-GB" sz="716" kern="0" dirty="0">
                      <a:solidFill>
                        <a:srgbClr val="FFFFFF"/>
                      </a:solidFill>
                      <a:latin typeface="+mj-lt"/>
                    </a:rPr>
                    <a:t/>
                  </a:r>
                  <a:br>
                    <a:rPr lang="en-GB" sz="716" kern="0" dirty="0">
                      <a:solidFill>
                        <a:srgbClr val="FFFFFF"/>
                      </a:solidFill>
                      <a:latin typeface="+mj-lt"/>
                    </a:rPr>
                  </a:br>
                  <a:r>
                    <a:rPr lang="en-GB" sz="716" kern="0" dirty="0" smtClean="0">
                      <a:solidFill>
                        <a:srgbClr val="FFFFFF"/>
                      </a:solidFill>
                      <a:latin typeface="+mj-lt"/>
                    </a:rPr>
                    <a:t>marketing</a:t>
                  </a:r>
                  <a:endParaRPr lang="en-GB" sz="716" kern="0" dirty="0">
                    <a:solidFill>
                      <a:srgbClr val="FFFFFF"/>
                    </a:solidFill>
                    <a:latin typeface="+mj-lt"/>
                  </a:endParaRPr>
                </a:p>
              </p:txBody>
            </p:sp>
            <p:sp>
              <p:nvSpPr>
                <p:cNvPr id="245" name="Richtungspfeil 66"/>
                <p:cNvSpPr/>
                <p:nvPr/>
              </p:nvSpPr>
              <p:spPr bwMode="auto">
                <a:xfrm>
                  <a:off x="7022507" y="5150624"/>
                  <a:ext cx="1813402" cy="726023"/>
                </a:xfrm>
                <a:prstGeom prst="homePlate">
                  <a:avLst>
                    <a:gd name="adj" fmla="val 26350"/>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57217" tIns="0" rIns="0" bIns="0" numCol="1" spcCol="0" rtlCol="0" fromWordArt="0" anchor="ctr" anchorCtr="0" forceAA="0" compatLnSpc="1">
                  <a:prstTxWarp prst="textNoShape">
                    <a:avLst/>
                  </a:prstTxWarp>
                  <a:noAutofit/>
                </a:bodyPr>
                <a:lstStyle/>
                <a:p>
                  <a:pPr defTabSz="558057">
                    <a:lnSpc>
                      <a:spcPct val="80000"/>
                    </a:lnSpc>
                    <a:spcBef>
                      <a:spcPts val="183"/>
                    </a:spcBef>
                    <a:spcAft>
                      <a:spcPts val="183"/>
                    </a:spcAft>
                    <a:buClr>
                      <a:srgbClr val="545454"/>
                    </a:buClr>
                    <a:defRPr/>
                  </a:pPr>
                  <a:r>
                    <a:rPr lang="en-GB" sz="716" kern="0" dirty="0" smtClean="0">
                      <a:solidFill>
                        <a:srgbClr val="FFFFFF"/>
                      </a:solidFill>
                      <a:latin typeface="+mj-lt"/>
                    </a:rPr>
                    <a:t>Service and</a:t>
                  </a:r>
                  <a:r>
                    <a:rPr lang="en-GB" sz="716" kern="0" dirty="0">
                      <a:solidFill>
                        <a:srgbClr val="FFFFFF"/>
                      </a:solidFill>
                      <a:latin typeface="+mj-lt"/>
                    </a:rPr>
                    <a:t/>
                  </a:r>
                  <a:br>
                    <a:rPr lang="en-GB" sz="716" kern="0" dirty="0">
                      <a:solidFill>
                        <a:srgbClr val="FFFFFF"/>
                      </a:solidFill>
                      <a:latin typeface="+mj-lt"/>
                    </a:rPr>
                  </a:br>
                  <a:r>
                    <a:rPr lang="en-GB" sz="716" kern="0" dirty="0" smtClean="0">
                      <a:solidFill>
                        <a:srgbClr val="FFFFFF"/>
                      </a:solidFill>
                      <a:latin typeface="+mj-lt"/>
                    </a:rPr>
                    <a:t>spare </a:t>
                  </a:r>
                  <a:r>
                    <a:rPr lang="en-GB" sz="716" kern="0" dirty="0">
                      <a:solidFill>
                        <a:srgbClr val="FFFFFF"/>
                      </a:solidFill>
                      <a:latin typeface="+mj-lt"/>
                    </a:rPr>
                    <a:t>p</a:t>
                  </a:r>
                  <a:r>
                    <a:rPr lang="en-GB" sz="716" kern="0" dirty="0" smtClean="0">
                      <a:solidFill>
                        <a:srgbClr val="FFFFFF"/>
                      </a:solidFill>
                      <a:latin typeface="+mj-lt"/>
                    </a:rPr>
                    <a:t>arts </a:t>
                  </a:r>
                  <a:r>
                    <a:rPr lang="en-GB" sz="716" kern="0" dirty="0">
                      <a:solidFill>
                        <a:srgbClr val="FFFFFF"/>
                      </a:solidFill>
                      <a:latin typeface="+mj-lt"/>
                    </a:rPr>
                    <a:t/>
                  </a:r>
                  <a:br>
                    <a:rPr lang="en-GB" sz="716" kern="0" dirty="0">
                      <a:solidFill>
                        <a:srgbClr val="FFFFFF"/>
                      </a:solidFill>
                      <a:latin typeface="+mj-lt"/>
                    </a:rPr>
                  </a:br>
                  <a:r>
                    <a:rPr lang="en-GB" sz="716" kern="0" dirty="0" smtClean="0">
                      <a:solidFill>
                        <a:srgbClr val="FFFFFF"/>
                      </a:solidFill>
                      <a:latin typeface="+mj-lt"/>
                    </a:rPr>
                    <a:t>management</a:t>
                  </a:r>
                  <a:endParaRPr lang="en-GB" sz="716" kern="0" dirty="0">
                    <a:solidFill>
                      <a:srgbClr val="FFFFFF"/>
                    </a:solidFill>
                    <a:latin typeface="+mj-lt"/>
                  </a:endParaRPr>
                </a:p>
              </p:txBody>
            </p:sp>
            <p:sp>
              <p:nvSpPr>
                <p:cNvPr id="246" name="Richtungspfeil 63"/>
                <p:cNvSpPr/>
                <p:nvPr/>
              </p:nvSpPr>
              <p:spPr bwMode="auto">
                <a:xfrm>
                  <a:off x="3752841" y="4347471"/>
                  <a:ext cx="3190175" cy="1529180"/>
                </a:xfrm>
                <a:prstGeom prst="homePlate">
                  <a:avLst>
                    <a:gd name="adj" fmla="val 20625"/>
                  </a:avLst>
                </a:prstGeom>
                <a:solidFill>
                  <a:schemeClr val="accent1"/>
                </a:solidFill>
                <a:ln w="6350" cap="flat" cmpd="sng" algn="ctr">
                  <a:noFill/>
                  <a:prstDash val="solid"/>
                  <a:round/>
                  <a:headEnd type="none" w="med" len="med"/>
                  <a:tailEnd type="none" w="med" len="med"/>
                </a:ln>
                <a:effectLst/>
              </p:spPr>
              <p:txBody>
                <a:bodyPr rot="0" spcFirstLastPara="0" vertOverflow="overflow" horzOverflow="overflow" vert="horz" wrap="none" lIns="28609" tIns="31835" rIns="0" bIns="31835" numCol="1" spcCol="0" rtlCol="0" fromWordArt="0" anchor="ctr" anchorCtr="0" forceAA="0" compatLnSpc="1">
                  <a:prstTxWarp prst="textNoShape">
                    <a:avLst/>
                  </a:prstTxWarp>
                  <a:noAutofit/>
                </a:bodyPr>
                <a:lstStyle/>
                <a:p>
                  <a:pPr algn="ctr" defTabSz="558057">
                    <a:lnSpc>
                      <a:spcPct val="90000"/>
                    </a:lnSpc>
                    <a:spcBef>
                      <a:spcPts val="183"/>
                    </a:spcBef>
                    <a:spcAft>
                      <a:spcPts val="183"/>
                    </a:spcAft>
                    <a:buClr>
                      <a:srgbClr val="545454"/>
                    </a:buClr>
                    <a:defRPr/>
                  </a:pPr>
                  <a:r>
                    <a:rPr lang="en-GB" sz="800" kern="0" dirty="0">
                      <a:solidFill>
                        <a:srgbClr val="FFFFFF"/>
                      </a:solidFill>
                      <a:latin typeface="+mj-lt"/>
                    </a:rPr>
                    <a:t>Supply Chain </a:t>
                  </a:r>
                  <a:r>
                    <a:rPr lang="en-GB" sz="800" kern="0" dirty="0" smtClean="0">
                      <a:solidFill>
                        <a:srgbClr val="FFFFFF"/>
                      </a:solidFill>
                      <a:latin typeface="+mj-lt"/>
                    </a:rPr>
                    <a:t>and </a:t>
                  </a:r>
                  <a:r>
                    <a:rPr lang="en-GB" sz="800" kern="0" dirty="0">
                      <a:solidFill>
                        <a:srgbClr val="FFFFFF"/>
                      </a:solidFill>
                      <a:latin typeface="+mj-lt"/>
                    </a:rPr>
                    <a:t>Operations</a:t>
                  </a:r>
                </a:p>
              </p:txBody>
            </p:sp>
            <p:sp>
              <p:nvSpPr>
                <p:cNvPr id="247" name="AutoShape 180"/>
                <p:cNvSpPr>
                  <a:spLocks noChangeArrowheads="1"/>
                </p:cNvSpPr>
                <p:nvPr/>
              </p:nvSpPr>
              <p:spPr bwMode="gray">
                <a:xfrm>
                  <a:off x="3942544" y="5321844"/>
                  <a:ext cx="583353" cy="384324"/>
                </a:xfrm>
                <a:prstGeom prst="rect">
                  <a:avLst/>
                </a:prstGeom>
                <a:solidFill>
                  <a:srgbClr val="808080">
                    <a:lumMod val="20000"/>
                    <a:lumOff val="80000"/>
                  </a:srgbClr>
                </a:solidFill>
                <a:ln w="9525" algn="ctr">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Pro-</a:t>
                  </a:r>
                </a:p>
                <a:p>
                  <a:pPr algn="ctr" defTabSz="558057">
                    <a:lnSpc>
                      <a:spcPct val="90000"/>
                    </a:lnSpc>
                    <a:defRPr/>
                  </a:pPr>
                  <a:r>
                    <a:rPr lang="en-US" sz="557" kern="0" dirty="0">
                      <a:solidFill>
                        <a:schemeClr val="accent1"/>
                      </a:solidFill>
                      <a:latin typeface="+mj-lt"/>
                    </a:rPr>
                    <a:t>duction</a:t>
                  </a:r>
                </a:p>
              </p:txBody>
            </p:sp>
            <p:sp>
              <p:nvSpPr>
                <p:cNvPr id="248" name="AutoShape 181"/>
                <p:cNvSpPr>
                  <a:spLocks noChangeArrowheads="1"/>
                </p:cNvSpPr>
                <p:nvPr/>
              </p:nvSpPr>
              <p:spPr bwMode="gray">
                <a:xfrm>
                  <a:off x="4600838" y="5321844"/>
                  <a:ext cx="583352" cy="384324"/>
                </a:xfrm>
                <a:prstGeom prst="rect">
                  <a:avLst/>
                </a:prstGeom>
                <a:solidFill>
                  <a:srgbClr val="808080">
                    <a:lumMod val="20000"/>
                    <a:lumOff val="80000"/>
                  </a:srgbClr>
                </a:solidFill>
                <a:ln w="9525">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Ware-</a:t>
                  </a:r>
                </a:p>
                <a:p>
                  <a:pPr algn="ctr" defTabSz="558057">
                    <a:lnSpc>
                      <a:spcPct val="90000"/>
                    </a:lnSpc>
                    <a:defRPr/>
                  </a:pPr>
                  <a:r>
                    <a:rPr lang="en-US" sz="557" kern="0" dirty="0">
                      <a:solidFill>
                        <a:schemeClr val="accent1"/>
                      </a:solidFill>
                      <a:latin typeface="+mj-lt"/>
                    </a:rPr>
                    <a:t>housing</a:t>
                  </a:r>
                </a:p>
              </p:txBody>
            </p:sp>
            <p:sp>
              <p:nvSpPr>
                <p:cNvPr id="249" name="AutoShape 182"/>
                <p:cNvSpPr>
                  <a:spLocks noChangeArrowheads="1"/>
                </p:cNvSpPr>
                <p:nvPr/>
              </p:nvSpPr>
              <p:spPr bwMode="gray">
                <a:xfrm>
                  <a:off x="5259131" y="5321844"/>
                  <a:ext cx="581402" cy="384324"/>
                </a:xfrm>
                <a:prstGeom prst="rect">
                  <a:avLst/>
                </a:prstGeom>
                <a:solidFill>
                  <a:srgbClr val="808080">
                    <a:lumMod val="20000"/>
                    <a:lumOff val="80000"/>
                  </a:srgbClr>
                </a:solidFill>
                <a:ln w="9525" algn="ctr">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Logis-</a:t>
                  </a:r>
                  <a:br>
                    <a:rPr lang="en-US" sz="557" kern="0" dirty="0">
                      <a:solidFill>
                        <a:schemeClr val="accent1"/>
                      </a:solidFill>
                      <a:latin typeface="+mj-lt"/>
                    </a:rPr>
                  </a:br>
                  <a:r>
                    <a:rPr lang="en-US" sz="557" kern="0" dirty="0">
                      <a:solidFill>
                        <a:schemeClr val="accent1"/>
                      </a:solidFill>
                      <a:latin typeface="+mj-lt"/>
                    </a:rPr>
                    <a:t>tics</a:t>
                  </a:r>
                </a:p>
              </p:txBody>
            </p:sp>
            <p:sp>
              <p:nvSpPr>
                <p:cNvPr id="250" name="AutoShape 183"/>
                <p:cNvSpPr>
                  <a:spLocks noChangeArrowheads="1"/>
                </p:cNvSpPr>
                <p:nvPr/>
              </p:nvSpPr>
              <p:spPr bwMode="gray">
                <a:xfrm>
                  <a:off x="5915475" y="5321844"/>
                  <a:ext cx="583353" cy="384324"/>
                </a:xfrm>
                <a:prstGeom prst="rect">
                  <a:avLst/>
                </a:prstGeom>
                <a:solidFill>
                  <a:srgbClr val="808080">
                    <a:lumMod val="20000"/>
                    <a:lumOff val="80000"/>
                  </a:srgbClr>
                </a:solidFill>
                <a:ln w="9525" algn="ctr">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Distri-</a:t>
                  </a:r>
                </a:p>
                <a:p>
                  <a:pPr algn="ctr" defTabSz="558057">
                    <a:lnSpc>
                      <a:spcPct val="90000"/>
                    </a:lnSpc>
                    <a:defRPr/>
                  </a:pPr>
                  <a:r>
                    <a:rPr lang="en-US" sz="557" kern="0" dirty="0">
                      <a:solidFill>
                        <a:schemeClr val="accent1"/>
                      </a:solidFill>
                      <a:latin typeface="+mj-lt"/>
                    </a:rPr>
                    <a:t>bution</a:t>
                  </a:r>
                </a:p>
              </p:txBody>
            </p:sp>
            <p:sp>
              <p:nvSpPr>
                <p:cNvPr id="251" name="AutoShape 180"/>
                <p:cNvSpPr>
                  <a:spLocks noChangeArrowheads="1"/>
                </p:cNvSpPr>
                <p:nvPr/>
              </p:nvSpPr>
              <p:spPr bwMode="gray">
                <a:xfrm>
                  <a:off x="3942543" y="4512642"/>
                  <a:ext cx="583354" cy="384323"/>
                </a:xfrm>
                <a:prstGeom prst="rect">
                  <a:avLst/>
                </a:prstGeom>
                <a:solidFill>
                  <a:srgbClr val="808080">
                    <a:lumMod val="20000"/>
                    <a:lumOff val="80000"/>
                  </a:srgbClr>
                </a:solidFill>
                <a:ln w="9525" algn="ctr">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Order</a:t>
                  </a:r>
                </a:p>
                <a:p>
                  <a:pPr algn="ctr" defTabSz="558057">
                    <a:lnSpc>
                      <a:spcPct val="90000"/>
                    </a:lnSpc>
                    <a:defRPr/>
                  </a:pPr>
                  <a:r>
                    <a:rPr lang="en-US" sz="557" kern="0" dirty="0">
                      <a:solidFill>
                        <a:schemeClr val="accent1"/>
                      </a:solidFill>
                      <a:latin typeface="+mj-lt"/>
                    </a:rPr>
                    <a:t>m</a:t>
                  </a:r>
                  <a:r>
                    <a:rPr lang="en-US" sz="557" kern="0" dirty="0" smtClean="0">
                      <a:solidFill>
                        <a:schemeClr val="accent1"/>
                      </a:solidFill>
                      <a:latin typeface="+mj-lt"/>
                    </a:rPr>
                    <a:t>gmt.</a:t>
                  </a:r>
                  <a:endParaRPr lang="en-US" sz="557" kern="0" dirty="0">
                    <a:solidFill>
                      <a:schemeClr val="accent1"/>
                    </a:solidFill>
                    <a:latin typeface="+mj-lt"/>
                  </a:endParaRPr>
                </a:p>
              </p:txBody>
            </p:sp>
            <p:sp>
              <p:nvSpPr>
                <p:cNvPr id="252" name="AutoShape 181"/>
                <p:cNvSpPr>
                  <a:spLocks noChangeArrowheads="1"/>
                </p:cNvSpPr>
                <p:nvPr/>
              </p:nvSpPr>
              <p:spPr bwMode="gray">
                <a:xfrm>
                  <a:off x="4600838" y="4512642"/>
                  <a:ext cx="583351" cy="384323"/>
                </a:xfrm>
                <a:prstGeom prst="rect">
                  <a:avLst/>
                </a:prstGeom>
                <a:solidFill>
                  <a:srgbClr val="808080">
                    <a:lumMod val="20000"/>
                    <a:lumOff val="80000"/>
                  </a:srgbClr>
                </a:solidFill>
                <a:ln w="9525">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Plan-</a:t>
                  </a:r>
                  <a:br>
                    <a:rPr lang="en-US" sz="557" kern="0" dirty="0">
                      <a:solidFill>
                        <a:schemeClr val="accent1"/>
                      </a:solidFill>
                      <a:latin typeface="+mj-lt"/>
                    </a:rPr>
                  </a:br>
                  <a:r>
                    <a:rPr lang="en-US" sz="557" kern="0" dirty="0">
                      <a:solidFill>
                        <a:schemeClr val="accent1"/>
                      </a:solidFill>
                      <a:latin typeface="+mj-lt"/>
                    </a:rPr>
                    <a:t>ning</a:t>
                  </a:r>
                </a:p>
              </p:txBody>
            </p:sp>
            <p:sp>
              <p:nvSpPr>
                <p:cNvPr id="253" name="AutoShape 182"/>
                <p:cNvSpPr>
                  <a:spLocks noChangeArrowheads="1"/>
                </p:cNvSpPr>
                <p:nvPr/>
              </p:nvSpPr>
              <p:spPr bwMode="gray">
                <a:xfrm>
                  <a:off x="5259130" y="4512642"/>
                  <a:ext cx="581402" cy="384323"/>
                </a:xfrm>
                <a:prstGeom prst="rect">
                  <a:avLst/>
                </a:prstGeom>
                <a:solidFill>
                  <a:srgbClr val="808080">
                    <a:lumMod val="20000"/>
                    <a:lumOff val="80000"/>
                  </a:srgbClr>
                </a:solidFill>
                <a:ln w="9525" algn="ctr">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Quality</a:t>
                  </a:r>
                </a:p>
                <a:p>
                  <a:pPr algn="ctr" defTabSz="558057">
                    <a:lnSpc>
                      <a:spcPct val="90000"/>
                    </a:lnSpc>
                    <a:defRPr/>
                  </a:pPr>
                  <a:r>
                    <a:rPr lang="en-US" sz="557" kern="0" dirty="0">
                      <a:solidFill>
                        <a:schemeClr val="accent1"/>
                      </a:solidFill>
                      <a:latin typeface="+mj-lt"/>
                    </a:rPr>
                    <a:t>m</a:t>
                  </a:r>
                  <a:r>
                    <a:rPr lang="en-US" sz="557" kern="0" dirty="0" smtClean="0">
                      <a:solidFill>
                        <a:schemeClr val="accent1"/>
                      </a:solidFill>
                      <a:latin typeface="+mj-lt"/>
                    </a:rPr>
                    <a:t>gmt.</a:t>
                  </a:r>
                  <a:endParaRPr lang="en-US" sz="557" kern="0" dirty="0">
                    <a:solidFill>
                      <a:schemeClr val="accent1"/>
                    </a:solidFill>
                    <a:latin typeface="+mj-lt"/>
                  </a:endParaRPr>
                </a:p>
              </p:txBody>
            </p:sp>
            <p:sp>
              <p:nvSpPr>
                <p:cNvPr id="254" name="AutoShape 183"/>
                <p:cNvSpPr>
                  <a:spLocks noChangeArrowheads="1"/>
                </p:cNvSpPr>
                <p:nvPr/>
              </p:nvSpPr>
              <p:spPr bwMode="gray">
                <a:xfrm>
                  <a:off x="5915475" y="4512642"/>
                  <a:ext cx="583354" cy="384323"/>
                </a:xfrm>
                <a:prstGeom prst="rect">
                  <a:avLst/>
                </a:prstGeom>
                <a:solidFill>
                  <a:srgbClr val="808080">
                    <a:lumMod val="20000"/>
                    <a:lumOff val="80000"/>
                  </a:srgbClr>
                </a:solidFill>
                <a:ln w="9525" algn="ctr">
                  <a:noFill/>
                  <a:round/>
                  <a:headEnd/>
                  <a:tailEnd/>
                </a:ln>
              </p:spPr>
              <p:txBody>
                <a:bodyPr wrap="none" lIns="63669" tIns="31835" rIns="63669" bIns="31835" anchor="ctr"/>
                <a:lstStyle/>
                <a:p>
                  <a:pPr algn="ctr" defTabSz="558057">
                    <a:lnSpc>
                      <a:spcPct val="90000"/>
                    </a:lnSpc>
                    <a:defRPr/>
                  </a:pPr>
                  <a:r>
                    <a:rPr lang="en-US" sz="557" kern="0" dirty="0">
                      <a:solidFill>
                        <a:schemeClr val="accent1"/>
                      </a:solidFill>
                      <a:latin typeface="+mj-lt"/>
                    </a:rPr>
                    <a:t>Mainte-</a:t>
                  </a:r>
                </a:p>
                <a:p>
                  <a:pPr algn="ctr" defTabSz="558057">
                    <a:lnSpc>
                      <a:spcPct val="90000"/>
                    </a:lnSpc>
                    <a:defRPr/>
                  </a:pPr>
                  <a:r>
                    <a:rPr lang="en-US" sz="557" kern="0" dirty="0">
                      <a:solidFill>
                        <a:schemeClr val="accent1"/>
                      </a:solidFill>
                      <a:latin typeface="+mj-lt"/>
                    </a:rPr>
                    <a:t>nance</a:t>
                  </a:r>
                </a:p>
              </p:txBody>
            </p:sp>
            <p:sp>
              <p:nvSpPr>
                <p:cNvPr id="255" name="Richtungspfeil 57"/>
                <p:cNvSpPr/>
                <p:nvPr/>
              </p:nvSpPr>
              <p:spPr bwMode="auto">
                <a:xfrm>
                  <a:off x="1783452" y="4691537"/>
                  <a:ext cx="1896546" cy="841051"/>
                </a:xfrm>
                <a:prstGeom prst="homePlate">
                  <a:avLst>
                    <a:gd name="adj" fmla="val 26294"/>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57217" tIns="0" rIns="0" bIns="0" numCol="1" spcCol="0" rtlCol="0" fromWordArt="0" anchor="ctr" anchorCtr="0" forceAA="0" compatLnSpc="1">
                  <a:prstTxWarp prst="textNoShape">
                    <a:avLst/>
                  </a:prstTxWarp>
                  <a:noAutofit/>
                </a:bodyPr>
                <a:lstStyle/>
                <a:p>
                  <a:pPr defTabSz="558057">
                    <a:lnSpc>
                      <a:spcPct val="80000"/>
                    </a:lnSpc>
                    <a:spcBef>
                      <a:spcPts val="183"/>
                    </a:spcBef>
                    <a:spcAft>
                      <a:spcPts val="183"/>
                    </a:spcAft>
                    <a:buClr>
                      <a:srgbClr val="545454"/>
                    </a:buClr>
                    <a:defRPr/>
                  </a:pPr>
                  <a:r>
                    <a:rPr lang="en-GB" sz="716" kern="0" dirty="0">
                      <a:solidFill>
                        <a:srgbClr val="FFFFFF"/>
                      </a:solidFill>
                      <a:latin typeface="+mj-lt"/>
                    </a:rPr>
                    <a:t>Sourcing </a:t>
                  </a:r>
                  <a:r>
                    <a:rPr lang="en-GB" sz="716" kern="0" dirty="0" smtClean="0">
                      <a:solidFill>
                        <a:srgbClr val="FFFFFF"/>
                      </a:solidFill>
                      <a:latin typeface="+mj-lt"/>
                    </a:rPr>
                    <a:t>and</a:t>
                  </a:r>
                  <a:r>
                    <a:rPr lang="en-GB" sz="716" kern="0" dirty="0">
                      <a:solidFill>
                        <a:srgbClr val="FFFFFF"/>
                      </a:solidFill>
                      <a:latin typeface="+mj-lt"/>
                    </a:rPr>
                    <a:t/>
                  </a:r>
                  <a:br>
                    <a:rPr lang="en-GB" sz="716" kern="0" dirty="0">
                      <a:solidFill>
                        <a:srgbClr val="FFFFFF"/>
                      </a:solidFill>
                      <a:latin typeface="+mj-lt"/>
                    </a:rPr>
                  </a:br>
                  <a:r>
                    <a:rPr lang="en-GB" sz="716" kern="0" dirty="0" smtClean="0">
                      <a:solidFill>
                        <a:srgbClr val="FFFFFF"/>
                      </a:solidFill>
                      <a:latin typeface="+mj-lt"/>
                    </a:rPr>
                    <a:t>purchasing</a:t>
                  </a:r>
                  <a:endParaRPr lang="en-GB" sz="716" kern="0" dirty="0">
                    <a:solidFill>
                      <a:srgbClr val="FFFFFF"/>
                    </a:solidFill>
                    <a:latin typeface="+mj-lt"/>
                  </a:endParaRPr>
                </a:p>
              </p:txBody>
            </p:sp>
          </p:grpSp>
          <p:sp>
            <p:nvSpPr>
              <p:cNvPr id="234" name="Freeform 43"/>
              <p:cNvSpPr>
                <a:spLocks noChangeAspect="1" noEditPoints="1"/>
              </p:cNvSpPr>
              <p:nvPr/>
            </p:nvSpPr>
            <p:spPr bwMode="auto">
              <a:xfrm>
                <a:off x="1354959" y="5387078"/>
                <a:ext cx="319790" cy="363050"/>
              </a:xfrm>
              <a:custGeom>
                <a:avLst/>
                <a:gdLst>
                  <a:gd name="T0" fmla="*/ 2147483647 w 4190"/>
                  <a:gd name="T1" fmla="*/ 2147483647 h 4763"/>
                  <a:gd name="T2" fmla="*/ 2147483647 w 4190"/>
                  <a:gd name="T3" fmla="*/ 2147483647 h 4763"/>
                  <a:gd name="T4" fmla="*/ 2147483647 w 4190"/>
                  <a:gd name="T5" fmla="*/ 2147483647 h 4763"/>
                  <a:gd name="T6" fmla="*/ 2147483647 w 4190"/>
                  <a:gd name="T7" fmla="*/ 2147483647 h 4763"/>
                  <a:gd name="T8" fmla="*/ 2147483647 w 4190"/>
                  <a:gd name="T9" fmla="*/ 2147483647 h 4763"/>
                  <a:gd name="T10" fmla="*/ 2147483647 w 4190"/>
                  <a:gd name="T11" fmla="*/ 2147483647 h 4763"/>
                  <a:gd name="T12" fmla="*/ 2147483647 w 4190"/>
                  <a:gd name="T13" fmla="*/ 2147483647 h 4763"/>
                  <a:gd name="T14" fmla="*/ 2147483647 w 4190"/>
                  <a:gd name="T15" fmla="*/ 2147483647 h 4763"/>
                  <a:gd name="T16" fmla="*/ 2147483647 w 4190"/>
                  <a:gd name="T17" fmla="*/ 2147483647 h 4763"/>
                  <a:gd name="T18" fmla="*/ 2147483647 w 4190"/>
                  <a:gd name="T19" fmla="*/ 2147483647 h 4763"/>
                  <a:gd name="T20" fmla="*/ 2147483647 w 4190"/>
                  <a:gd name="T21" fmla="*/ 2147483647 h 4763"/>
                  <a:gd name="T22" fmla="*/ 2147483647 w 4190"/>
                  <a:gd name="T23" fmla="*/ 2147483647 h 4763"/>
                  <a:gd name="T24" fmla="*/ 2147483647 w 4190"/>
                  <a:gd name="T25" fmla="*/ 2147483647 h 4763"/>
                  <a:gd name="T26" fmla="*/ 2147483647 w 4190"/>
                  <a:gd name="T27" fmla="*/ 2147483647 h 4763"/>
                  <a:gd name="T28" fmla="*/ 2147483647 w 4190"/>
                  <a:gd name="T29" fmla="*/ 2147483647 h 4763"/>
                  <a:gd name="T30" fmla="*/ 2147483647 w 4190"/>
                  <a:gd name="T31" fmla="*/ 2147483647 h 4763"/>
                  <a:gd name="T32" fmla="*/ 2147483647 w 4190"/>
                  <a:gd name="T33" fmla="*/ 2147483647 h 4763"/>
                  <a:gd name="T34" fmla="*/ 2147483647 w 4190"/>
                  <a:gd name="T35" fmla="*/ 2147483647 h 4763"/>
                  <a:gd name="T36" fmla="*/ 2147483647 w 4190"/>
                  <a:gd name="T37" fmla="*/ 2147483647 h 4763"/>
                  <a:gd name="T38" fmla="*/ 2147483647 w 4190"/>
                  <a:gd name="T39" fmla="*/ 2147483647 h 4763"/>
                  <a:gd name="T40" fmla="*/ 2147483647 w 4190"/>
                  <a:gd name="T41" fmla="*/ 2147483647 h 4763"/>
                  <a:gd name="T42" fmla="*/ 2147483647 w 4190"/>
                  <a:gd name="T43" fmla="*/ 2147483647 h 4763"/>
                  <a:gd name="T44" fmla="*/ 2147483647 w 4190"/>
                  <a:gd name="T45" fmla="*/ 2147483647 h 4763"/>
                  <a:gd name="T46" fmla="*/ 2147483647 w 4190"/>
                  <a:gd name="T47" fmla="*/ 2147483647 h 4763"/>
                  <a:gd name="T48" fmla="*/ 2147483647 w 4190"/>
                  <a:gd name="T49" fmla="*/ 2147483647 h 4763"/>
                  <a:gd name="T50" fmla="*/ 2147483647 w 4190"/>
                  <a:gd name="T51" fmla="*/ 2147483647 h 4763"/>
                  <a:gd name="T52" fmla="*/ 2147483647 w 4190"/>
                  <a:gd name="T53" fmla="*/ 2147483647 h 4763"/>
                  <a:gd name="T54" fmla="*/ 2147483647 w 4190"/>
                  <a:gd name="T55" fmla="*/ 2147483647 h 4763"/>
                  <a:gd name="T56" fmla="*/ 2147483647 w 4190"/>
                  <a:gd name="T57" fmla="*/ 2147483647 h 4763"/>
                  <a:gd name="T58" fmla="*/ 2147483647 w 4190"/>
                  <a:gd name="T59" fmla="*/ 2147483647 h 4763"/>
                  <a:gd name="T60" fmla="*/ 2147483647 w 4190"/>
                  <a:gd name="T61" fmla="*/ 0 h 4763"/>
                  <a:gd name="T62" fmla="*/ 2147483647 w 4190"/>
                  <a:gd name="T63" fmla="*/ 2147483647 h 4763"/>
                  <a:gd name="T64" fmla="*/ 2147483647 w 4190"/>
                  <a:gd name="T65" fmla="*/ 2147483647 h 4763"/>
                  <a:gd name="T66" fmla="*/ 2147483647 w 4190"/>
                  <a:gd name="T67" fmla="*/ 2147483647 h 4763"/>
                  <a:gd name="T68" fmla="*/ 2147483647 w 4190"/>
                  <a:gd name="T69" fmla="*/ 2147483647 h 4763"/>
                  <a:gd name="T70" fmla="*/ 2147483647 w 4190"/>
                  <a:gd name="T71" fmla="*/ 2147483647 h 4763"/>
                  <a:gd name="T72" fmla="*/ 2147483647 w 4190"/>
                  <a:gd name="T73" fmla="*/ 2147483647 h 4763"/>
                  <a:gd name="T74" fmla="*/ 2147483647 w 4190"/>
                  <a:gd name="T75" fmla="*/ 2147483647 h 4763"/>
                  <a:gd name="T76" fmla="*/ 2147483647 w 4190"/>
                  <a:gd name="T77" fmla="*/ 2147483647 h 4763"/>
                  <a:gd name="T78" fmla="*/ 2147483647 w 4190"/>
                  <a:gd name="T79" fmla="*/ 2147483647 h 4763"/>
                  <a:gd name="T80" fmla="*/ 2147483647 w 4190"/>
                  <a:gd name="T81" fmla="*/ 2147483647 h 4763"/>
                  <a:gd name="T82" fmla="*/ 2147483647 w 4190"/>
                  <a:gd name="T83" fmla="*/ 2147483647 h 4763"/>
                  <a:gd name="T84" fmla="*/ 2147483647 w 4190"/>
                  <a:gd name="T85" fmla="*/ 2147483647 h 4763"/>
                  <a:gd name="T86" fmla="*/ 2147483647 w 4190"/>
                  <a:gd name="T87" fmla="*/ 2147483647 h 4763"/>
                  <a:gd name="T88" fmla="*/ 2147483647 w 4190"/>
                  <a:gd name="T89" fmla="*/ 2147483647 h 4763"/>
                  <a:gd name="T90" fmla="*/ 0 w 4190"/>
                  <a:gd name="T91" fmla="*/ 2147483647 h 4763"/>
                  <a:gd name="T92" fmla="*/ 2147483647 w 4190"/>
                  <a:gd name="T93" fmla="*/ 2147483647 h 4763"/>
                  <a:gd name="T94" fmla="*/ 2147483647 w 4190"/>
                  <a:gd name="T95" fmla="*/ 2147483647 h 4763"/>
                  <a:gd name="T96" fmla="*/ 2147483647 w 4190"/>
                  <a:gd name="T97" fmla="*/ 2147483647 h 4763"/>
                  <a:gd name="T98" fmla="*/ 2147483647 w 4190"/>
                  <a:gd name="T99" fmla="*/ 2147483647 h 4763"/>
                  <a:gd name="T100" fmla="*/ 2147483647 w 4190"/>
                  <a:gd name="T101" fmla="*/ 2147483647 h 4763"/>
                  <a:gd name="T102" fmla="*/ 2147483647 w 4190"/>
                  <a:gd name="T103" fmla="*/ 2147483647 h 4763"/>
                  <a:gd name="T104" fmla="*/ 2147483647 w 4190"/>
                  <a:gd name="T105" fmla="*/ 2147483647 h 4763"/>
                  <a:gd name="T106" fmla="*/ 2147483647 w 4190"/>
                  <a:gd name="T107" fmla="*/ 2147483647 h 4763"/>
                  <a:gd name="T108" fmla="*/ 2147483647 w 4190"/>
                  <a:gd name="T109" fmla="*/ 2147483647 h 4763"/>
                  <a:gd name="T110" fmla="*/ 2147483647 w 4190"/>
                  <a:gd name="T111" fmla="*/ 2147483647 h 4763"/>
                  <a:gd name="T112" fmla="*/ 2147483647 w 4190"/>
                  <a:gd name="T113" fmla="*/ 2147483647 h 4763"/>
                  <a:gd name="T114" fmla="*/ 2147483647 w 4190"/>
                  <a:gd name="T115" fmla="*/ 2147483647 h 4763"/>
                  <a:gd name="T116" fmla="*/ 2147483647 w 4190"/>
                  <a:gd name="T117" fmla="*/ 2147483647 h 4763"/>
                  <a:gd name="T118" fmla="*/ 2147483647 w 4190"/>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90"/>
                  <a:gd name="T181" fmla="*/ 0 h 4763"/>
                  <a:gd name="T182" fmla="*/ 4190 w 4190"/>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90" h="4763">
                    <a:moveTo>
                      <a:pt x="953" y="3153"/>
                    </a:moveTo>
                    <a:lnTo>
                      <a:pt x="953" y="3464"/>
                    </a:lnTo>
                    <a:lnTo>
                      <a:pt x="760" y="3464"/>
                    </a:lnTo>
                    <a:lnTo>
                      <a:pt x="760" y="3153"/>
                    </a:lnTo>
                    <a:lnTo>
                      <a:pt x="953" y="3153"/>
                    </a:lnTo>
                    <a:close/>
                    <a:moveTo>
                      <a:pt x="2351" y="173"/>
                    </a:moveTo>
                    <a:lnTo>
                      <a:pt x="2351" y="173"/>
                    </a:lnTo>
                    <a:lnTo>
                      <a:pt x="2323" y="173"/>
                    </a:lnTo>
                    <a:lnTo>
                      <a:pt x="2296" y="175"/>
                    </a:lnTo>
                    <a:lnTo>
                      <a:pt x="2269" y="176"/>
                    </a:lnTo>
                    <a:lnTo>
                      <a:pt x="2244" y="179"/>
                    </a:lnTo>
                    <a:lnTo>
                      <a:pt x="2220" y="182"/>
                    </a:lnTo>
                    <a:lnTo>
                      <a:pt x="2197" y="185"/>
                    </a:lnTo>
                    <a:lnTo>
                      <a:pt x="2174" y="190"/>
                    </a:lnTo>
                    <a:lnTo>
                      <a:pt x="2152" y="195"/>
                    </a:lnTo>
                    <a:lnTo>
                      <a:pt x="2111" y="207"/>
                    </a:lnTo>
                    <a:lnTo>
                      <a:pt x="2074" y="220"/>
                    </a:lnTo>
                    <a:lnTo>
                      <a:pt x="2040" y="235"/>
                    </a:lnTo>
                    <a:lnTo>
                      <a:pt x="2010" y="250"/>
                    </a:lnTo>
                    <a:lnTo>
                      <a:pt x="1981" y="267"/>
                    </a:lnTo>
                    <a:lnTo>
                      <a:pt x="1957" y="285"/>
                    </a:lnTo>
                    <a:lnTo>
                      <a:pt x="1934" y="303"/>
                    </a:lnTo>
                    <a:lnTo>
                      <a:pt x="1915" y="322"/>
                    </a:lnTo>
                    <a:lnTo>
                      <a:pt x="1897" y="341"/>
                    </a:lnTo>
                    <a:lnTo>
                      <a:pt x="1882" y="359"/>
                    </a:lnTo>
                    <a:lnTo>
                      <a:pt x="1869" y="376"/>
                    </a:lnTo>
                    <a:lnTo>
                      <a:pt x="1858" y="391"/>
                    </a:lnTo>
                    <a:lnTo>
                      <a:pt x="1817" y="394"/>
                    </a:lnTo>
                    <a:lnTo>
                      <a:pt x="1775" y="396"/>
                    </a:lnTo>
                    <a:lnTo>
                      <a:pt x="1733" y="402"/>
                    </a:lnTo>
                    <a:lnTo>
                      <a:pt x="1711" y="406"/>
                    </a:lnTo>
                    <a:lnTo>
                      <a:pt x="1691" y="411"/>
                    </a:lnTo>
                    <a:lnTo>
                      <a:pt x="1670" y="417"/>
                    </a:lnTo>
                    <a:lnTo>
                      <a:pt x="1650" y="423"/>
                    </a:lnTo>
                    <a:lnTo>
                      <a:pt x="1631" y="430"/>
                    </a:lnTo>
                    <a:lnTo>
                      <a:pt x="1611" y="438"/>
                    </a:lnTo>
                    <a:lnTo>
                      <a:pt x="1593" y="448"/>
                    </a:lnTo>
                    <a:lnTo>
                      <a:pt x="1575" y="459"/>
                    </a:lnTo>
                    <a:lnTo>
                      <a:pt x="1558" y="471"/>
                    </a:lnTo>
                    <a:lnTo>
                      <a:pt x="1543" y="484"/>
                    </a:lnTo>
                    <a:lnTo>
                      <a:pt x="1876" y="484"/>
                    </a:lnTo>
                    <a:lnTo>
                      <a:pt x="1881" y="484"/>
                    </a:lnTo>
                    <a:lnTo>
                      <a:pt x="1887" y="485"/>
                    </a:lnTo>
                    <a:lnTo>
                      <a:pt x="1899" y="491"/>
                    </a:lnTo>
                    <a:lnTo>
                      <a:pt x="1911" y="500"/>
                    </a:lnTo>
                    <a:lnTo>
                      <a:pt x="1926" y="511"/>
                    </a:lnTo>
                    <a:lnTo>
                      <a:pt x="1961" y="538"/>
                    </a:lnTo>
                    <a:lnTo>
                      <a:pt x="1982" y="553"/>
                    </a:lnTo>
                    <a:lnTo>
                      <a:pt x="2006" y="570"/>
                    </a:lnTo>
                    <a:lnTo>
                      <a:pt x="2033" y="585"/>
                    </a:lnTo>
                    <a:lnTo>
                      <a:pt x="2064" y="601"/>
                    </a:lnTo>
                    <a:lnTo>
                      <a:pt x="2100" y="615"/>
                    </a:lnTo>
                    <a:lnTo>
                      <a:pt x="2120" y="621"/>
                    </a:lnTo>
                    <a:lnTo>
                      <a:pt x="2140" y="627"/>
                    </a:lnTo>
                    <a:lnTo>
                      <a:pt x="2162" y="633"/>
                    </a:lnTo>
                    <a:lnTo>
                      <a:pt x="2185" y="639"/>
                    </a:lnTo>
                    <a:lnTo>
                      <a:pt x="2209" y="643"/>
                    </a:lnTo>
                    <a:lnTo>
                      <a:pt x="2234" y="648"/>
                    </a:lnTo>
                    <a:lnTo>
                      <a:pt x="2262" y="650"/>
                    </a:lnTo>
                    <a:lnTo>
                      <a:pt x="2290" y="653"/>
                    </a:lnTo>
                    <a:lnTo>
                      <a:pt x="2320" y="654"/>
                    </a:lnTo>
                    <a:lnTo>
                      <a:pt x="2351" y="655"/>
                    </a:lnTo>
                    <a:lnTo>
                      <a:pt x="2379" y="654"/>
                    </a:lnTo>
                    <a:lnTo>
                      <a:pt x="2404" y="653"/>
                    </a:lnTo>
                    <a:lnTo>
                      <a:pt x="2430" y="652"/>
                    </a:lnTo>
                    <a:lnTo>
                      <a:pt x="2456" y="649"/>
                    </a:lnTo>
                    <a:lnTo>
                      <a:pt x="2481" y="646"/>
                    </a:lnTo>
                    <a:lnTo>
                      <a:pt x="2505" y="641"/>
                    </a:lnTo>
                    <a:lnTo>
                      <a:pt x="2529" y="636"/>
                    </a:lnTo>
                    <a:lnTo>
                      <a:pt x="2552" y="631"/>
                    </a:lnTo>
                    <a:lnTo>
                      <a:pt x="2562" y="629"/>
                    </a:lnTo>
                    <a:lnTo>
                      <a:pt x="2570" y="629"/>
                    </a:lnTo>
                    <a:lnTo>
                      <a:pt x="2579" y="629"/>
                    </a:lnTo>
                    <a:lnTo>
                      <a:pt x="2585" y="630"/>
                    </a:lnTo>
                    <a:lnTo>
                      <a:pt x="2591" y="633"/>
                    </a:lnTo>
                    <a:lnTo>
                      <a:pt x="2595" y="636"/>
                    </a:lnTo>
                    <a:lnTo>
                      <a:pt x="2599" y="641"/>
                    </a:lnTo>
                    <a:lnTo>
                      <a:pt x="2603" y="646"/>
                    </a:lnTo>
                    <a:lnTo>
                      <a:pt x="2605" y="650"/>
                    </a:lnTo>
                    <a:lnTo>
                      <a:pt x="2607" y="656"/>
                    </a:lnTo>
                    <a:lnTo>
                      <a:pt x="2610" y="670"/>
                    </a:lnTo>
                    <a:lnTo>
                      <a:pt x="2611" y="684"/>
                    </a:lnTo>
                    <a:lnTo>
                      <a:pt x="2611" y="698"/>
                    </a:lnTo>
                    <a:lnTo>
                      <a:pt x="2612" y="709"/>
                    </a:lnTo>
                    <a:lnTo>
                      <a:pt x="2613" y="720"/>
                    </a:lnTo>
                    <a:lnTo>
                      <a:pt x="2615" y="731"/>
                    </a:lnTo>
                    <a:lnTo>
                      <a:pt x="2617" y="742"/>
                    </a:lnTo>
                    <a:lnTo>
                      <a:pt x="2624" y="764"/>
                    </a:lnTo>
                    <a:lnTo>
                      <a:pt x="2635" y="785"/>
                    </a:lnTo>
                    <a:lnTo>
                      <a:pt x="2647" y="806"/>
                    </a:lnTo>
                    <a:lnTo>
                      <a:pt x="2663" y="825"/>
                    </a:lnTo>
                    <a:lnTo>
                      <a:pt x="2681" y="843"/>
                    </a:lnTo>
                    <a:lnTo>
                      <a:pt x="2701" y="861"/>
                    </a:lnTo>
                    <a:lnTo>
                      <a:pt x="2723" y="877"/>
                    </a:lnTo>
                    <a:lnTo>
                      <a:pt x="2748" y="891"/>
                    </a:lnTo>
                    <a:lnTo>
                      <a:pt x="2775" y="903"/>
                    </a:lnTo>
                    <a:lnTo>
                      <a:pt x="2803" y="914"/>
                    </a:lnTo>
                    <a:lnTo>
                      <a:pt x="2834" y="922"/>
                    </a:lnTo>
                    <a:lnTo>
                      <a:pt x="2865" y="929"/>
                    </a:lnTo>
                    <a:lnTo>
                      <a:pt x="2899" y="933"/>
                    </a:lnTo>
                    <a:lnTo>
                      <a:pt x="2934" y="935"/>
                    </a:lnTo>
                    <a:lnTo>
                      <a:pt x="2965" y="933"/>
                    </a:lnTo>
                    <a:lnTo>
                      <a:pt x="2995" y="930"/>
                    </a:lnTo>
                    <a:lnTo>
                      <a:pt x="3024" y="924"/>
                    </a:lnTo>
                    <a:lnTo>
                      <a:pt x="3053" y="915"/>
                    </a:lnTo>
                    <a:lnTo>
                      <a:pt x="3081" y="906"/>
                    </a:lnTo>
                    <a:lnTo>
                      <a:pt x="3107" y="895"/>
                    </a:lnTo>
                    <a:lnTo>
                      <a:pt x="3133" y="882"/>
                    </a:lnTo>
                    <a:lnTo>
                      <a:pt x="3157" y="866"/>
                    </a:lnTo>
                    <a:lnTo>
                      <a:pt x="3181" y="850"/>
                    </a:lnTo>
                    <a:lnTo>
                      <a:pt x="3202" y="833"/>
                    </a:lnTo>
                    <a:lnTo>
                      <a:pt x="3223" y="814"/>
                    </a:lnTo>
                    <a:lnTo>
                      <a:pt x="3242" y="795"/>
                    </a:lnTo>
                    <a:lnTo>
                      <a:pt x="3260" y="774"/>
                    </a:lnTo>
                    <a:lnTo>
                      <a:pt x="3277" y="753"/>
                    </a:lnTo>
                    <a:lnTo>
                      <a:pt x="3292" y="731"/>
                    </a:lnTo>
                    <a:lnTo>
                      <a:pt x="3305" y="708"/>
                    </a:lnTo>
                    <a:lnTo>
                      <a:pt x="3352" y="708"/>
                    </a:lnTo>
                    <a:lnTo>
                      <a:pt x="3395" y="706"/>
                    </a:lnTo>
                    <a:lnTo>
                      <a:pt x="3437" y="701"/>
                    </a:lnTo>
                    <a:lnTo>
                      <a:pt x="3477" y="694"/>
                    </a:lnTo>
                    <a:lnTo>
                      <a:pt x="3513" y="684"/>
                    </a:lnTo>
                    <a:lnTo>
                      <a:pt x="3547" y="673"/>
                    </a:lnTo>
                    <a:lnTo>
                      <a:pt x="3578" y="661"/>
                    </a:lnTo>
                    <a:lnTo>
                      <a:pt x="3607" y="647"/>
                    </a:lnTo>
                    <a:lnTo>
                      <a:pt x="3632" y="632"/>
                    </a:lnTo>
                    <a:lnTo>
                      <a:pt x="3655" y="617"/>
                    </a:lnTo>
                    <a:lnTo>
                      <a:pt x="3675" y="601"/>
                    </a:lnTo>
                    <a:lnTo>
                      <a:pt x="3690" y="585"/>
                    </a:lnTo>
                    <a:lnTo>
                      <a:pt x="3703" y="570"/>
                    </a:lnTo>
                    <a:lnTo>
                      <a:pt x="3712" y="554"/>
                    </a:lnTo>
                    <a:lnTo>
                      <a:pt x="3715" y="547"/>
                    </a:lnTo>
                    <a:lnTo>
                      <a:pt x="3718" y="540"/>
                    </a:lnTo>
                    <a:lnTo>
                      <a:pt x="3719" y="531"/>
                    </a:lnTo>
                    <a:lnTo>
                      <a:pt x="3719" y="525"/>
                    </a:lnTo>
                    <a:lnTo>
                      <a:pt x="3719" y="518"/>
                    </a:lnTo>
                    <a:lnTo>
                      <a:pt x="3718" y="511"/>
                    </a:lnTo>
                    <a:lnTo>
                      <a:pt x="3715" y="503"/>
                    </a:lnTo>
                    <a:lnTo>
                      <a:pt x="3712" y="496"/>
                    </a:lnTo>
                    <a:lnTo>
                      <a:pt x="3703" y="481"/>
                    </a:lnTo>
                    <a:lnTo>
                      <a:pt x="3691" y="466"/>
                    </a:lnTo>
                    <a:lnTo>
                      <a:pt x="3676" y="450"/>
                    </a:lnTo>
                    <a:lnTo>
                      <a:pt x="3656" y="436"/>
                    </a:lnTo>
                    <a:lnTo>
                      <a:pt x="3635" y="422"/>
                    </a:lnTo>
                    <a:lnTo>
                      <a:pt x="3609" y="408"/>
                    </a:lnTo>
                    <a:lnTo>
                      <a:pt x="3582" y="395"/>
                    </a:lnTo>
                    <a:lnTo>
                      <a:pt x="3550" y="383"/>
                    </a:lnTo>
                    <a:lnTo>
                      <a:pt x="3516" y="373"/>
                    </a:lnTo>
                    <a:lnTo>
                      <a:pt x="3478" y="364"/>
                    </a:lnTo>
                    <a:lnTo>
                      <a:pt x="3437" y="356"/>
                    </a:lnTo>
                    <a:lnTo>
                      <a:pt x="3395" y="350"/>
                    </a:lnTo>
                    <a:lnTo>
                      <a:pt x="3349" y="348"/>
                    </a:lnTo>
                    <a:lnTo>
                      <a:pt x="3300" y="347"/>
                    </a:lnTo>
                    <a:lnTo>
                      <a:pt x="3270" y="347"/>
                    </a:lnTo>
                    <a:lnTo>
                      <a:pt x="3240" y="349"/>
                    </a:lnTo>
                    <a:lnTo>
                      <a:pt x="3211" y="352"/>
                    </a:lnTo>
                    <a:lnTo>
                      <a:pt x="3182" y="355"/>
                    </a:lnTo>
                    <a:lnTo>
                      <a:pt x="3154" y="360"/>
                    </a:lnTo>
                    <a:lnTo>
                      <a:pt x="3128" y="365"/>
                    </a:lnTo>
                    <a:lnTo>
                      <a:pt x="3076" y="377"/>
                    </a:lnTo>
                    <a:lnTo>
                      <a:pt x="3068" y="378"/>
                    </a:lnTo>
                    <a:lnTo>
                      <a:pt x="3059" y="378"/>
                    </a:lnTo>
                    <a:lnTo>
                      <a:pt x="3052" y="376"/>
                    </a:lnTo>
                    <a:lnTo>
                      <a:pt x="3045" y="372"/>
                    </a:lnTo>
                    <a:lnTo>
                      <a:pt x="3039" y="367"/>
                    </a:lnTo>
                    <a:lnTo>
                      <a:pt x="3034" y="361"/>
                    </a:lnTo>
                    <a:lnTo>
                      <a:pt x="3029" y="354"/>
                    </a:lnTo>
                    <a:lnTo>
                      <a:pt x="3027" y="346"/>
                    </a:lnTo>
                    <a:lnTo>
                      <a:pt x="3016" y="312"/>
                    </a:lnTo>
                    <a:lnTo>
                      <a:pt x="3010" y="293"/>
                    </a:lnTo>
                    <a:lnTo>
                      <a:pt x="3001" y="272"/>
                    </a:lnTo>
                    <a:lnTo>
                      <a:pt x="2992" y="252"/>
                    </a:lnTo>
                    <a:lnTo>
                      <a:pt x="2980" y="231"/>
                    </a:lnTo>
                    <a:lnTo>
                      <a:pt x="2966" y="210"/>
                    </a:lnTo>
                    <a:lnTo>
                      <a:pt x="2949" y="190"/>
                    </a:lnTo>
                    <a:lnTo>
                      <a:pt x="2941" y="181"/>
                    </a:lnTo>
                    <a:lnTo>
                      <a:pt x="2931" y="171"/>
                    </a:lnTo>
                    <a:lnTo>
                      <a:pt x="2921" y="161"/>
                    </a:lnTo>
                    <a:lnTo>
                      <a:pt x="2909" y="153"/>
                    </a:lnTo>
                    <a:lnTo>
                      <a:pt x="2897" y="145"/>
                    </a:lnTo>
                    <a:lnTo>
                      <a:pt x="2883" y="137"/>
                    </a:lnTo>
                    <a:lnTo>
                      <a:pt x="2869" y="130"/>
                    </a:lnTo>
                    <a:lnTo>
                      <a:pt x="2853" y="123"/>
                    </a:lnTo>
                    <a:lnTo>
                      <a:pt x="2837" y="117"/>
                    </a:lnTo>
                    <a:lnTo>
                      <a:pt x="2821" y="112"/>
                    </a:lnTo>
                    <a:lnTo>
                      <a:pt x="2803" y="107"/>
                    </a:lnTo>
                    <a:lnTo>
                      <a:pt x="2782" y="104"/>
                    </a:lnTo>
                    <a:lnTo>
                      <a:pt x="2762" y="100"/>
                    </a:lnTo>
                    <a:lnTo>
                      <a:pt x="2740" y="98"/>
                    </a:lnTo>
                    <a:lnTo>
                      <a:pt x="2717" y="96"/>
                    </a:lnTo>
                    <a:lnTo>
                      <a:pt x="2693" y="96"/>
                    </a:lnTo>
                    <a:lnTo>
                      <a:pt x="2675" y="96"/>
                    </a:lnTo>
                    <a:lnTo>
                      <a:pt x="2658" y="98"/>
                    </a:lnTo>
                    <a:lnTo>
                      <a:pt x="2641" y="99"/>
                    </a:lnTo>
                    <a:lnTo>
                      <a:pt x="2626" y="101"/>
                    </a:lnTo>
                    <a:lnTo>
                      <a:pt x="2597" y="108"/>
                    </a:lnTo>
                    <a:lnTo>
                      <a:pt x="2569" y="117"/>
                    </a:lnTo>
                    <a:lnTo>
                      <a:pt x="2545" y="125"/>
                    </a:lnTo>
                    <a:lnTo>
                      <a:pt x="2523" y="135"/>
                    </a:lnTo>
                    <a:lnTo>
                      <a:pt x="2486" y="154"/>
                    </a:lnTo>
                    <a:lnTo>
                      <a:pt x="2473" y="161"/>
                    </a:lnTo>
                    <a:lnTo>
                      <a:pt x="2461" y="166"/>
                    </a:lnTo>
                    <a:lnTo>
                      <a:pt x="2447" y="169"/>
                    </a:lnTo>
                    <a:lnTo>
                      <a:pt x="2433" y="171"/>
                    </a:lnTo>
                    <a:lnTo>
                      <a:pt x="2416" y="172"/>
                    </a:lnTo>
                    <a:lnTo>
                      <a:pt x="2398" y="173"/>
                    </a:lnTo>
                    <a:lnTo>
                      <a:pt x="2351" y="173"/>
                    </a:lnTo>
                    <a:close/>
                    <a:moveTo>
                      <a:pt x="2517" y="737"/>
                    </a:moveTo>
                    <a:lnTo>
                      <a:pt x="2517" y="737"/>
                    </a:lnTo>
                    <a:lnTo>
                      <a:pt x="2477" y="743"/>
                    </a:lnTo>
                    <a:lnTo>
                      <a:pt x="2436" y="748"/>
                    </a:lnTo>
                    <a:lnTo>
                      <a:pt x="2394" y="750"/>
                    </a:lnTo>
                    <a:lnTo>
                      <a:pt x="2351" y="751"/>
                    </a:lnTo>
                    <a:lnTo>
                      <a:pt x="2312" y="750"/>
                    </a:lnTo>
                    <a:lnTo>
                      <a:pt x="2274" y="748"/>
                    </a:lnTo>
                    <a:lnTo>
                      <a:pt x="2237" y="744"/>
                    </a:lnTo>
                    <a:lnTo>
                      <a:pt x="2200" y="739"/>
                    </a:lnTo>
                    <a:lnTo>
                      <a:pt x="2164" y="732"/>
                    </a:lnTo>
                    <a:lnTo>
                      <a:pt x="2129" y="725"/>
                    </a:lnTo>
                    <a:lnTo>
                      <a:pt x="2096" y="715"/>
                    </a:lnTo>
                    <a:lnTo>
                      <a:pt x="2062" y="706"/>
                    </a:lnTo>
                    <a:lnTo>
                      <a:pt x="2031" y="694"/>
                    </a:lnTo>
                    <a:lnTo>
                      <a:pt x="2000" y="680"/>
                    </a:lnTo>
                    <a:lnTo>
                      <a:pt x="1972" y="667"/>
                    </a:lnTo>
                    <a:lnTo>
                      <a:pt x="1945" y="652"/>
                    </a:lnTo>
                    <a:lnTo>
                      <a:pt x="1920" y="636"/>
                    </a:lnTo>
                    <a:lnTo>
                      <a:pt x="1896" y="618"/>
                    </a:lnTo>
                    <a:lnTo>
                      <a:pt x="1874" y="600"/>
                    </a:lnTo>
                    <a:lnTo>
                      <a:pt x="1855" y="580"/>
                    </a:lnTo>
                    <a:lnTo>
                      <a:pt x="1458" y="580"/>
                    </a:lnTo>
                    <a:lnTo>
                      <a:pt x="1446" y="579"/>
                    </a:lnTo>
                    <a:lnTo>
                      <a:pt x="1436" y="576"/>
                    </a:lnTo>
                    <a:lnTo>
                      <a:pt x="1426" y="571"/>
                    </a:lnTo>
                    <a:lnTo>
                      <a:pt x="1419" y="564"/>
                    </a:lnTo>
                    <a:lnTo>
                      <a:pt x="1414" y="554"/>
                    </a:lnTo>
                    <a:lnTo>
                      <a:pt x="1410" y="544"/>
                    </a:lnTo>
                    <a:lnTo>
                      <a:pt x="1409" y="534"/>
                    </a:lnTo>
                    <a:lnTo>
                      <a:pt x="1412" y="521"/>
                    </a:lnTo>
                    <a:lnTo>
                      <a:pt x="1414" y="509"/>
                    </a:lnTo>
                    <a:lnTo>
                      <a:pt x="1419" y="497"/>
                    </a:lnTo>
                    <a:lnTo>
                      <a:pt x="1424" y="485"/>
                    </a:lnTo>
                    <a:lnTo>
                      <a:pt x="1428" y="473"/>
                    </a:lnTo>
                    <a:lnTo>
                      <a:pt x="1436" y="462"/>
                    </a:lnTo>
                    <a:lnTo>
                      <a:pt x="1443" y="452"/>
                    </a:lnTo>
                    <a:lnTo>
                      <a:pt x="1450" y="441"/>
                    </a:lnTo>
                    <a:lnTo>
                      <a:pt x="1458" y="431"/>
                    </a:lnTo>
                    <a:lnTo>
                      <a:pt x="1478" y="412"/>
                    </a:lnTo>
                    <a:lnTo>
                      <a:pt x="1499" y="395"/>
                    </a:lnTo>
                    <a:lnTo>
                      <a:pt x="1522" y="378"/>
                    </a:lnTo>
                    <a:lnTo>
                      <a:pt x="1549" y="364"/>
                    </a:lnTo>
                    <a:lnTo>
                      <a:pt x="1575" y="352"/>
                    </a:lnTo>
                    <a:lnTo>
                      <a:pt x="1604" y="340"/>
                    </a:lnTo>
                    <a:lnTo>
                      <a:pt x="1634" y="330"/>
                    </a:lnTo>
                    <a:lnTo>
                      <a:pt x="1666" y="323"/>
                    </a:lnTo>
                    <a:lnTo>
                      <a:pt x="1698" y="316"/>
                    </a:lnTo>
                    <a:lnTo>
                      <a:pt x="1731" y="312"/>
                    </a:lnTo>
                    <a:lnTo>
                      <a:pt x="1763" y="308"/>
                    </a:lnTo>
                    <a:lnTo>
                      <a:pt x="1797" y="308"/>
                    </a:lnTo>
                    <a:lnTo>
                      <a:pt x="1810" y="308"/>
                    </a:lnTo>
                    <a:lnTo>
                      <a:pt x="1817" y="295"/>
                    </a:lnTo>
                    <a:lnTo>
                      <a:pt x="1826" y="282"/>
                    </a:lnTo>
                    <a:lnTo>
                      <a:pt x="1835" y="269"/>
                    </a:lnTo>
                    <a:lnTo>
                      <a:pt x="1846" y="257"/>
                    </a:lnTo>
                    <a:lnTo>
                      <a:pt x="1857" y="244"/>
                    </a:lnTo>
                    <a:lnTo>
                      <a:pt x="1868" y="234"/>
                    </a:lnTo>
                    <a:lnTo>
                      <a:pt x="1881" y="222"/>
                    </a:lnTo>
                    <a:lnTo>
                      <a:pt x="1893" y="211"/>
                    </a:lnTo>
                    <a:lnTo>
                      <a:pt x="1922" y="190"/>
                    </a:lnTo>
                    <a:lnTo>
                      <a:pt x="1952" y="171"/>
                    </a:lnTo>
                    <a:lnTo>
                      <a:pt x="1985" y="154"/>
                    </a:lnTo>
                    <a:lnTo>
                      <a:pt x="2020" y="138"/>
                    </a:lnTo>
                    <a:lnTo>
                      <a:pt x="2057" y="124"/>
                    </a:lnTo>
                    <a:lnTo>
                      <a:pt x="2096" y="112"/>
                    </a:lnTo>
                    <a:lnTo>
                      <a:pt x="2135" y="101"/>
                    </a:lnTo>
                    <a:lnTo>
                      <a:pt x="2176" y="93"/>
                    </a:lnTo>
                    <a:lnTo>
                      <a:pt x="2220" y="86"/>
                    </a:lnTo>
                    <a:lnTo>
                      <a:pt x="2263" y="81"/>
                    </a:lnTo>
                    <a:lnTo>
                      <a:pt x="2306" y="77"/>
                    </a:lnTo>
                    <a:lnTo>
                      <a:pt x="2351" y="77"/>
                    </a:lnTo>
                    <a:lnTo>
                      <a:pt x="2386" y="77"/>
                    </a:lnTo>
                    <a:lnTo>
                      <a:pt x="2421" y="79"/>
                    </a:lnTo>
                    <a:lnTo>
                      <a:pt x="2450" y="61"/>
                    </a:lnTo>
                    <a:lnTo>
                      <a:pt x="2480" y="46"/>
                    </a:lnTo>
                    <a:lnTo>
                      <a:pt x="2512" y="31"/>
                    </a:lnTo>
                    <a:lnTo>
                      <a:pt x="2546" y="20"/>
                    </a:lnTo>
                    <a:lnTo>
                      <a:pt x="2581" y="12"/>
                    </a:lnTo>
                    <a:lnTo>
                      <a:pt x="2617" y="5"/>
                    </a:lnTo>
                    <a:lnTo>
                      <a:pt x="2654" y="1"/>
                    </a:lnTo>
                    <a:lnTo>
                      <a:pt x="2693" y="0"/>
                    </a:lnTo>
                    <a:lnTo>
                      <a:pt x="2729" y="1"/>
                    </a:lnTo>
                    <a:lnTo>
                      <a:pt x="2765" y="5"/>
                    </a:lnTo>
                    <a:lnTo>
                      <a:pt x="2800" y="11"/>
                    </a:lnTo>
                    <a:lnTo>
                      <a:pt x="2835" y="19"/>
                    </a:lnTo>
                    <a:lnTo>
                      <a:pt x="2868" y="30"/>
                    </a:lnTo>
                    <a:lnTo>
                      <a:pt x="2899" y="42"/>
                    </a:lnTo>
                    <a:lnTo>
                      <a:pt x="2929" y="58"/>
                    </a:lnTo>
                    <a:lnTo>
                      <a:pt x="2958" y="75"/>
                    </a:lnTo>
                    <a:lnTo>
                      <a:pt x="2984" y="93"/>
                    </a:lnTo>
                    <a:lnTo>
                      <a:pt x="3010" y="113"/>
                    </a:lnTo>
                    <a:lnTo>
                      <a:pt x="3033" y="136"/>
                    </a:lnTo>
                    <a:lnTo>
                      <a:pt x="3042" y="147"/>
                    </a:lnTo>
                    <a:lnTo>
                      <a:pt x="3052" y="159"/>
                    </a:lnTo>
                    <a:lnTo>
                      <a:pt x="3062" y="172"/>
                    </a:lnTo>
                    <a:lnTo>
                      <a:pt x="3070" y="184"/>
                    </a:lnTo>
                    <a:lnTo>
                      <a:pt x="3077" y="198"/>
                    </a:lnTo>
                    <a:lnTo>
                      <a:pt x="3084" y="212"/>
                    </a:lnTo>
                    <a:lnTo>
                      <a:pt x="3092" y="225"/>
                    </a:lnTo>
                    <a:lnTo>
                      <a:pt x="3096" y="240"/>
                    </a:lnTo>
                    <a:lnTo>
                      <a:pt x="3101" y="254"/>
                    </a:lnTo>
                    <a:lnTo>
                      <a:pt x="3105" y="270"/>
                    </a:lnTo>
                    <a:lnTo>
                      <a:pt x="3152" y="261"/>
                    </a:lnTo>
                    <a:lnTo>
                      <a:pt x="3200" y="255"/>
                    </a:lnTo>
                    <a:lnTo>
                      <a:pt x="3249" y="252"/>
                    </a:lnTo>
                    <a:lnTo>
                      <a:pt x="3300" y="250"/>
                    </a:lnTo>
                    <a:lnTo>
                      <a:pt x="3347" y="252"/>
                    </a:lnTo>
                    <a:lnTo>
                      <a:pt x="3394" y="254"/>
                    </a:lnTo>
                    <a:lnTo>
                      <a:pt x="3441" y="260"/>
                    </a:lnTo>
                    <a:lnTo>
                      <a:pt x="3487" y="269"/>
                    </a:lnTo>
                    <a:lnTo>
                      <a:pt x="3530" y="278"/>
                    </a:lnTo>
                    <a:lnTo>
                      <a:pt x="3573" y="290"/>
                    </a:lnTo>
                    <a:lnTo>
                      <a:pt x="3613" y="305"/>
                    </a:lnTo>
                    <a:lnTo>
                      <a:pt x="3634" y="313"/>
                    </a:lnTo>
                    <a:lnTo>
                      <a:pt x="3652" y="322"/>
                    </a:lnTo>
                    <a:lnTo>
                      <a:pt x="3670" y="330"/>
                    </a:lnTo>
                    <a:lnTo>
                      <a:pt x="3687" y="340"/>
                    </a:lnTo>
                    <a:lnTo>
                      <a:pt x="3703" y="349"/>
                    </a:lnTo>
                    <a:lnTo>
                      <a:pt x="3719" y="360"/>
                    </a:lnTo>
                    <a:lnTo>
                      <a:pt x="3734" y="371"/>
                    </a:lnTo>
                    <a:lnTo>
                      <a:pt x="3747" y="383"/>
                    </a:lnTo>
                    <a:lnTo>
                      <a:pt x="3759" y="395"/>
                    </a:lnTo>
                    <a:lnTo>
                      <a:pt x="3771" y="407"/>
                    </a:lnTo>
                    <a:lnTo>
                      <a:pt x="3781" y="420"/>
                    </a:lnTo>
                    <a:lnTo>
                      <a:pt x="3790" y="434"/>
                    </a:lnTo>
                    <a:lnTo>
                      <a:pt x="3797" y="448"/>
                    </a:lnTo>
                    <a:lnTo>
                      <a:pt x="3803" y="462"/>
                    </a:lnTo>
                    <a:lnTo>
                      <a:pt x="3809" y="477"/>
                    </a:lnTo>
                    <a:lnTo>
                      <a:pt x="3813" y="493"/>
                    </a:lnTo>
                    <a:lnTo>
                      <a:pt x="3815" y="508"/>
                    </a:lnTo>
                    <a:lnTo>
                      <a:pt x="3815" y="525"/>
                    </a:lnTo>
                    <a:lnTo>
                      <a:pt x="3815" y="540"/>
                    </a:lnTo>
                    <a:lnTo>
                      <a:pt x="3813" y="554"/>
                    </a:lnTo>
                    <a:lnTo>
                      <a:pt x="3811" y="568"/>
                    </a:lnTo>
                    <a:lnTo>
                      <a:pt x="3806" y="582"/>
                    </a:lnTo>
                    <a:lnTo>
                      <a:pt x="3800" y="595"/>
                    </a:lnTo>
                    <a:lnTo>
                      <a:pt x="3794" y="608"/>
                    </a:lnTo>
                    <a:lnTo>
                      <a:pt x="3787" y="621"/>
                    </a:lnTo>
                    <a:lnTo>
                      <a:pt x="3777" y="633"/>
                    </a:lnTo>
                    <a:lnTo>
                      <a:pt x="3767" y="644"/>
                    </a:lnTo>
                    <a:lnTo>
                      <a:pt x="3758" y="656"/>
                    </a:lnTo>
                    <a:lnTo>
                      <a:pt x="3746" y="667"/>
                    </a:lnTo>
                    <a:lnTo>
                      <a:pt x="3734" y="678"/>
                    </a:lnTo>
                    <a:lnTo>
                      <a:pt x="3720" y="688"/>
                    </a:lnTo>
                    <a:lnTo>
                      <a:pt x="3706" y="697"/>
                    </a:lnTo>
                    <a:lnTo>
                      <a:pt x="3691" y="707"/>
                    </a:lnTo>
                    <a:lnTo>
                      <a:pt x="3676" y="715"/>
                    </a:lnTo>
                    <a:lnTo>
                      <a:pt x="3643" y="732"/>
                    </a:lnTo>
                    <a:lnTo>
                      <a:pt x="3608" y="747"/>
                    </a:lnTo>
                    <a:lnTo>
                      <a:pt x="3571" y="760"/>
                    </a:lnTo>
                    <a:lnTo>
                      <a:pt x="3531" y="771"/>
                    </a:lnTo>
                    <a:lnTo>
                      <a:pt x="3491" y="780"/>
                    </a:lnTo>
                    <a:lnTo>
                      <a:pt x="3449" y="788"/>
                    </a:lnTo>
                    <a:lnTo>
                      <a:pt x="3407" y="794"/>
                    </a:lnTo>
                    <a:lnTo>
                      <a:pt x="3365" y="797"/>
                    </a:lnTo>
                    <a:lnTo>
                      <a:pt x="3357" y="810"/>
                    </a:lnTo>
                    <a:lnTo>
                      <a:pt x="3346" y="826"/>
                    </a:lnTo>
                    <a:lnTo>
                      <a:pt x="3332" y="843"/>
                    </a:lnTo>
                    <a:lnTo>
                      <a:pt x="3316" y="861"/>
                    </a:lnTo>
                    <a:lnTo>
                      <a:pt x="3298" y="880"/>
                    </a:lnTo>
                    <a:lnTo>
                      <a:pt x="3276" y="900"/>
                    </a:lnTo>
                    <a:lnTo>
                      <a:pt x="3253" y="919"/>
                    </a:lnTo>
                    <a:lnTo>
                      <a:pt x="3227" y="938"/>
                    </a:lnTo>
                    <a:lnTo>
                      <a:pt x="3199" y="956"/>
                    </a:lnTo>
                    <a:lnTo>
                      <a:pt x="3167" y="974"/>
                    </a:lnTo>
                    <a:lnTo>
                      <a:pt x="3134" y="990"/>
                    </a:lnTo>
                    <a:lnTo>
                      <a:pt x="3117" y="997"/>
                    </a:lnTo>
                    <a:lnTo>
                      <a:pt x="3099" y="1003"/>
                    </a:lnTo>
                    <a:lnTo>
                      <a:pt x="3080" y="1009"/>
                    </a:lnTo>
                    <a:lnTo>
                      <a:pt x="3060" y="1014"/>
                    </a:lnTo>
                    <a:lnTo>
                      <a:pt x="3041" y="1019"/>
                    </a:lnTo>
                    <a:lnTo>
                      <a:pt x="3021" y="1024"/>
                    </a:lnTo>
                    <a:lnTo>
                      <a:pt x="3000" y="1026"/>
                    </a:lnTo>
                    <a:lnTo>
                      <a:pt x="2978" y="1028"/>
                    </a:lnTo>
                    <a:lnTo>
                      <a:pt x="2957" y="1030"/>
                    </a:lnTo>
                    <a:lnTo>
                      <a:pt x="2934" y="1031"/>
                    </a:lnTo>
                    <a:lnTo>
                      <a:pt x="2897" y="1028"/>
                    </a:lnTo>
                    <a:lnTo>
                      <a:pt x="2859" y="1025"/>
                    </a:lnTo>
                    <a:lnTo>
                      <a:pt x="2822" y="1019"/>
                    </a:lnTo>
                    <a:lnTo>
                      <a:pt x="2787" y="1009"/>
                    </a:lnTo>
                    <a:lnTo>
                      <a:pt x="2752" y="997"/>
                    </a:lnTo>
                    <a:lnTo>
                      <a:pt x="2719" y="984"/>
                    </a:lnTo>
                    <a:lnTo>
                      <a:pt x="2688" y="967"/>
                    </a:lnTo>
                    <a:lnTo>
                      <a:pt x="2658" y="949"/>
                    </a:lnTo>
                    <a:lnTo>
                      <a:pt x="2645" y="939"/>
                    </a:lnTo>
                    <a:lnTo>
                      <a:pt x="2632" y="929"/>
                    </a:lnTo>
                    <a:lnTo>
                      <a:pt x="2618" y="918"/>
                    </a:lnTo>
                    <a:lnTo>
                      <a:pt x="2606" y="906"/>
                    </a:lnTo>
                    <a:lnTo>
                      <a:pt x="2595" y="895"/>
                    </a:lnTo>
                    <a:lnTo>
                      <a:pt x="2585" y="882"/>
                    </a:lnTo>
                    <a:lnTo>
                      <a:pt x="2574" y="870"/>
                    </a:lnTo>
                    <a:lnTo>
                      <a:pt x="2564" y="856"/>
                    </a:lnTo>
                    <a:lnTo>
                      <a:pt x="2556" y="843"/>
                    </a:lnTo>
                    <a:lnTo>
                      <a:pt x="2547" y="829"/>
                    </a:lnTo>
                    <a:lnTo>
                      <a:pt x="2540" y="814"/>
                    </a:lnTo>
                    <a:lnTo>
                      <a:pt x="2534" y="800"/>
                    </a:lnTo>
                    <a:lnTo>
                      <a:pt x="2529" y="784"/>
                    </a:lnTo>
                    <a:lnTo>
                      <a:pt x="2524" y="768"/>
                    </a:lnTo>
                    <a:lnTo>
                      <a:pt x="2521" y="753"/>
                    </a:lnTo>
                    <a:lnTo>
                      <a:pt x="2517" y="737"/>
                    </a:lnTo>
                    <a:close/>
                    <a:moveTo>
                      <a:pt x="1496" y="715"/>
                    </a:moveTo>
                    <a:lnTo>
                      <a:pt x="1448" y="2141"/>
                    </a:lnTo>
                    <a:lnTo>
                      <a:pt x="1604" y="1983"/>
                    </a:lnTo>
                    <a:lnTo>
                      <a:pt x="1562" y="715"/>
                    </a:lnTo>
                    <a:lnTo>
                      <a:pt x="1496" y="715"/>
                    </a:lnTo>
                    <a:close/>
                    <a:moveTo>
                      <a:pt x="1402" y="619"/>
                    </a:moveTo>
                    <a:lnTo>
                      <a:pt x="1655" y="619"/>
                    </a:lnTo>
                    <a:lnTo>
                      <a:pt x="1716" y="2436"/>
                    </a:lnTo>
                    <a:lnTo>
                      <a:pt x="1340" y="2436"/>
                    </a:lnTo>
                    <a:lnTo>
                      <a:pt x="1402" y="619"/>
                    </a:lnTo>
                    <a:close/>
                    <a:moveTo>
                      <a:pt x="992" y="2132"/>
                    </a:moveTo>
                    <a:lnTo>
                      <a:pt x="1149" y="1975"/>
                    </a:lnTo>
                    <a:lnTo>
                      <a:pt x="1107" y="715"/>
                    </a:lnTo>
                    <a:lnTo>
                      <a:pt x="1041" y="715"/>
                    </a:lnTo>
                    <a:lnTo>
                      <a:pt x="992" y="2132"/>
                    </a:lnTo>
                    <a:close/>
                    <a:moveTo>
                      <a:pt x="948" y="619"/>
                    </a:moveTo>
                    <a:lnTo>
                      <a:pt x="1200" y="619"/>
                    </a:lnTo>
                    <a:lnTo>
                      <a:pt x="1261" y="2436"/>
                    </a:lnTo>
                    <a:lnTo>
                      <a:pt x="886" y="2436"/>
                    </a:lnTo>
                    <a:lnTo>
                      <a:pt x="948" y="619"/>
                    </a:lnTo>
                    <a:close/>
                    <a:moveTo>
                      <a:pt x="3022" y="2533"/>
                    </a:moveTo>
                    <a:lnTo>
                      <a:pt x="3022" y="3006"/>
                    </a:lnTo>
                    <a:lnTo>
                      <a:pt x="0" y="3006"/>
                    </a:lnTo>
                    <a:lnTo>
                      <a:pt x="0" y="2533"/>
                    </a:lnTo>
                    <a:lnTo>
                      <a:pt x="3022" y="2533"/>
                    </a:lnTo>
                    <a:close/>
                    <a:moveTo>
                      <a:pt x="193" y="4079"/>
                    </a:moveTo>
                    <a:lnTo>
                      <a:pt x="1303" y="4079"/>
                    </a:lnTo>
                    <a:lnTo>
                      <a:pt x="1308" y="3455"/>
                    </a:lnTo>
                    <a:lnTo>
                      <a:pt x="1308" y="3445"/>
                    </a:lnTo>
                    <a:lnTo>
                      <a:pt x="1309" y="3437"/>
                    </a:lnTo>
                    <a:lnTo>
                      <a:pt x="1312" y="3430"/>
                    </a:lnTo>
                    <a:lnTo>
                      <a:pt x="1314" y="3424"/>
                    </a:lnTo>
                    <a:lnTo>
                      <a:pt x="1318" y="3418"/>
                    </a:lnTo>
                    <a:lnTo>
                      <a:pt x="1322" y="3413"/>
                    </a:lnTo>
                    <a:lnTo>
                      <a:pt x="1326" y="3409"/>
                    </a:lnTo>
                    <a:lnTo>
                      <a:pt x="1332" y="3406"/>
                    </a:lnTo>
                    <a:lnTo>
                      <a:pt x="1338" y="3403"/>
                    </a:lnTo>
                    <a:lnTo>
                      <a:pt x="1344" y="3402"/>
                    </a:lnTo>
                    <a:lnTo>
                      <a:pt x="1350" y="3402"/>
                    </a:lnTo>
                    <a:lnTo>
                      <a:pt x="1357" y="3403"/>
                    </a:lnTo>
                    <a:lnTo>
                      <a:pt x="1363" y="3405"/>
                    </a:lnTo>
                    <a:lnTo>
                      <a:pt x="1371" y="3408"/>
                    </a:lnTo>
                    <a:lnTo>
                      <a:pt x="1378" y="3412"/>
                    </a:lnTo>
                    <a:lnTo>
                      <a:pt x="1385" y="3418"/>
                    </a:lnTo>
                    <a:lnTo>
                      <a:pt x="2135" y="4008"/>
                    </a:lnTo>
                    <a:lnTo>
                      <a:pt x="2135" y="3455"/>
                    </a:lnTo>
                    <a:lnTo>
                      <a:pt x="2135" y="3445"/>
                    </a:lnTo>
                    <a:lnTo>
                      <a:pt x="2138" y="3438"/>
                    </a:lnTo>
                    <a:lnTo>
                      <a:pt x="2139" y="3430"/>
                    </a:lnTo>
                    <a:lnTo>
                      <a:pt x="2143" y="3424"/>
                    </a:lnTo>
                    <a:lnTo>
                      <a:pt x="2146" y="3418"/>
                    </a:lnTo>
                    <a:lnTo>
                      <a:pt x="2150" y="3413"/>
                    </a:lnTo>
                    <a:lnTo>
                      <a:pt x="2155" y="3409"/>
                    </a:lnTo>
                    <a:lnTo>
                      <a:pt x="2159" y="3406"/>
                    </a:lnTo>
                    <a:lnTo>
                      <a:pt x="2165" y="3403"/>
                    </a:lnTo>
                    <a:lnTo>
                      <a:pt x="2171" y="3402"/>
                    </a:lnTo>
                    <a:lnTo>
                      <a:pt x="2177" y="3402"/>
                    </a:lnTo>
                    <a:lnTo>
                      <a:pt x="2185" y="3403"/>
                    </a:lnTo>
                    <a:lnTo>
                      <a:pt x="2192" y="3405"/>
                    </a:lnTo>
                    <a:lnTo>
                      <a:pt x="2199" y="3408"/>
                    </a:lnTo>
                    <a:lnTo>
                      <a:pt x="2206" y="3412"/>
                    </a:lnTo>
                    <a:lnTo>
                      <a:pt x="2214" y="3418"/>
                    </a:lnTo>
                    <a:lnTo>
                      <a:pt x="2627" y="3743"/>
                    </a:lnTo>
                    <a:lnTo>
                      <a:pt x="2627" y="3102"/>
                    </a:lnTo>
                    <a:lnTo>
                      <a:pt x="2819" y="3102"/>
                    </a:lnTo>
                    <a:lnTo>
                      <a:pt x="2819" y="3895"/>
                    </a:lnTo>
                    <a:lnTo>
                      <a:pt x="2912" y="3968"/>
                    </a:lnTo>
                    <a:lnTo>
                      <a:pt x="2964" y="3968"/>
                    </a:lnTo>
                    <a:lnTo>
                      <a:pt x="2964" y="3455"/>
                    </a:lnTo>
                    <a:lnTo>
                      <a:pt x="2964" y="3445"/>
                    </a:lnTo>
                    <a:lnTo>
                      <a:pt x="2965" y="3438"/>
                    </a:lnTo>
                    <a:lnTo>
                      <a:pt x="2968" y="3430"/>
                    </a:lnTo>
                    <a:lnTo>
                      <a:pt x="2970" y="3424"/>
                    </a:lnTo>
                    <a:lnTo>
                      <a:pt x="2974" y="3418"/>
                    </a:lnTo>
                    <a:lnTo>
                      <a:pt x="2978" y="3413"/>
                    </a:lnTo>
                    <a:lnTo>
                      <a:pt x="2982" y="3409"/>
                    </a:lnTo>
                    <a:lnTo>
                      <a:pt x="2988" y="3406"/>
                    </a:lnTo>
                    <a:lnTo>
                      <a:pt x="2994" y="3403"/>
                    </a:lnTo>
                    <a:lnTo>
                      <a:pt x="3000" y="3402"/>
                    </a:lnTo>
                    <a:lnTo>
                      <a:pt x="3006" y="3402"/>
                    </a:lnTo>
                    <a:lnTo>
                      <a:pt x="3013" y="3403"/>
                    </a:lnTo>
                    <a:lnTo>
                      <a:pt x="3019" y="3405"/>
                    </a:lnTo>
                    <a:lnTo>
                      <a:pt x="3027" y="3408"/>
                    </a:lnTo>
                    <a:lnTo>
                      <a:pt x="3034" y="3412"/>
                    </a:lnTo>
                    <a:lnTo>
                      <a:pt x="3041" y="3418"/>
                    </a:lnTo>
                    <a:lnTo>
                      <a:pt x="3740" y="3968"/>
                    </a:lnTo>
                    <a:lnTo>
                      <a:pt x="4190" y="3968"/>
                    </a:lnTo>
                    <a:lnTo>
                      <a:pt x="4190" y="4763"/>
                    </a:lnTo>
                    <a:lnTo>
                      <a:pt x="0" y="4763"/>
                    </a:lnTo>
                    <a:lnTo>
                      <a:pt x="0" y="3102"/>
                    </a:lnTo>
                    <a:lnTo>
                      <a:pt x="193" y="3102"/>
                    </a:lnTo>
                    <a:lnTo>
                      <a:pt x="193" y="4079"/>
                    </a:lnTo>
                    <a:close/>
                    <a:moveTo>
                      <a:pt x="3783" y="4125"/>
                    </a:moveTo>
                    <a:lnTo>
                      <a:pt x="3060" y="3554"/>
                    </a:lnTo>
                    <a:lnTo>
                      <a:pt x="3060" y="4108"/>
                    </a:lnTo>
                    <a:lnTo>
                      <a:pt x="3059" y="4116"/>
                    </a:lnTo>
                    <a:lnTo>
                      <a:pt x="3058" y="4125"/>
                    </a:lnTo>
                    <a:lnTo>
                      <a:pt x="3055" y="4132"/>
                    </a:lnTo>
                    <a:lnTo>
                      <a:pt x="3053" y="4139"/>
                    </a:lnTo>
                    <a:lnTo>
                      <a:pt x="3049" y="4145"/>
                    </a:lnTo>
                    <a:lnTo>
                      <a:pt x="3046" y="4150"/>
                    </a:lnTo>
                    <a:lnTo>
                      <a:pt x="3041" y="4154"/>
                    </a:lnTo>
                    <a:lnTo>
                      <a:pt x="3035" y="4157"/>
                    </a:lnTo>
                    <a:lnTo>
                      <a:pt x="3030" y="4160"/>
                    </a:lnTo>
                    <a:lnTo>
                      <a:pt x="3024" y="4161"/>
                    </a:lnTo>
                    <a:lnTo>
                      <a:pt x="3017" y="4161"/>
                    </a:lnTo>
                    <a:lnTo>
                      <a:pt x="3011" y="4160"/>
                    </a:lnTo>
                    <a:lnTo>
                      <a:pt x="3004" y="4158"/>
                    </a:lnTo>
                    <a:lnTo>
                      <a:pt x="2996" y="4155"/>
                    </a:lnTo>
                    <a:lnTo>
                      <a:pt x="2989" y="4151"/>
                    </a:lnTo>
                    <a:lnTo>
                      <a:pt x="2982" y="4145"/>
                    </a:lnTo>
                    <a:lnTo>
                      <a:pt x="2232" y="3554"/>
                    </a:lnTo>
                    <a:lnTo>
                      <a:pt x="2232" y="4108"/>
                    </a:lnTo>
                    <a:lnTo>
                      <a:pt x="2232" y="4116"/>
                    </a:lnTo>
                    <a:lnTo>
                      <a:pt x="2230" y="4125"/>
                    </a:lnTo>
                    <a:lnTo>
                      <a:pt x="2228" y="4132"/>
                    </a:lnTo>
                    <a:lnTo>
                      <a:pt x="2226" y="4139"/>
                    </a:lnTo>
                    <a:lnTo>
                      <a:pt x="2222" y="4145"/>
                    </a:lnTo>
                    <a:lnTo>
                      <a:pt x="2217" y="4150"/>
                    </a:lnTo>
                    <a:lnTo>
                      <a:pt x="2212" y="4154"/>
                    </a:lnTo>
                    <a:lnTo>
                      <a:pt x="2208" y="4157"/>
                    </a:lnTo>
                    <a:lnTo>
                      <a:pt x="2202" y="4160"/>
                    </a:lnTo>
                    <a:lnTo>
                      <a:pt x="2196" y="4161"/>
                    </a:lnTo>
                    <a:lnTo>
                      <a:pt x="2190" y="4161"/>
                    </a:lnTo>
                    <a:lnTo>
                      <a:pt x="2182" y="4160"/>
                    </a:lnTo>
                    <a:lnTo>
                      <a:pt x="2175" y="4158"/>
                    </a:lnTo>
                    <a:lnTo>
                      <a:pt x="2168" y="4155"/>
                    </a:lnTo>
                    <a:lnTo>
                      <a:pt x="2161" y="4151"/>
                    </a:lnTo>
                    <a:lnTo>
                      <a:pt x="2153" y="4145"/>
                    </a:lnTo>
                    <a:lnTo>
                      <a:pt x="1403" y="3554"/>
                    </a:lnTo>
                    <a:lnTo>
                      <a:pt x="1399" y="4128"/>
                    </a:lnTo>
                    <a:lnTo>
                      <a:pt x="1398" y="4137"/>
                    </a:lnTo>
                    <a:lnTo>
                      <a:pt x="1396" y="4146"/>
                    </a:lnTo>
                    <a:lnTo>
                      <a:pt x="1391" y="4154"/>
                    </a:lnTo>
                    <a:lnTo>
                      <a:pt x="1385" y="4161"/>
                    </a:lnTo>
                    <a:lnTo>
                      <a:pt x="1378" y="4167"/>
                    </a:lnTo>
                    <a:lnTo>
                      <a:pt x="1369" y="4172"/>
                    </a:lnTo>
                    <a:lnTo>
                      <a:pt x="1361" y="4175"/>
                    </a:lnTo>
                    <a:lnTo>
                      <a:pt x="1351" y="4175"/>
                    </a:lnTo>
                    <a:lnTo>
                      <a:pt x="193" y="4175"/>
                    </a:lnTo>
                    <a:lnTo>
                      <a:pt x="193" y="4570"/>
                    </a:lnTo>
                    <a:lnTo>
                      <a:pt x="4005" y="4570"/>
                    </a:lnTo>
                    <a:lnTo>
                      <a:pt x="4005" y="4127"/>
                    </a:lnTo>
                    <a:lnTo>
                      <a:pt x="3783" y="4125"/>
                    </a:lnTo>
                    <a:close/>
                    <a:moveTo>
                      <a:pt x="618" y="3656"/>
                    </a:moveTo>
                    <a:lnTo>
                      <a:pt x="618" y="3965"/>
                    </a:lnTo>
                    <a:lnTo>
                      <a:pt x="425" y="3965"/>
                    </a:lnTo>
                    <a:lnTo>
                      <a:pt x="425" y="3656"/>
                    </a:lnTo>
                    <a:lnTo>
                      <a:pt x="618" y="3656"/>
                    </a:lnTo>
                    <a:close/>
                    <a:moveTo>
                      <a:pt x="618" y="3153"/>
                    </a:moveTo>
                    <a:lnTo>
                      <a:pt x="618" y="3464"/>
                    </a:lnTo>
                    <a:lnTo>
                      <a:pt x="425" y="3464"/>
                    </a:lnTo>
                    <a:lnTo>
                      <a:pt x="425" y="3153"/>
                    </a:lnTo>
                    <a:lnTo>
                      <a:pt x="618" y="3153"/>
                    </a:lnTo>
                    <a:close/>
                    <a:moveTo>
                      <a:pt x="953" y="3656"/>
                    </a:moveTo>
                    <a:lnTo>
                      <a:pt x="953" y="3965"/>
                    </a:lnTo>
                    <a:lnTo>
                      <a:pt x="760" y="3965"/>
                    </a:lnTo>
                    <a:lnTo>
                      <a:pt x="760" y="3656"/>
                    </a:lnTo>
                    <a:lnTo>
                      <a:pt x="953" y="3656"/>
                    </a:lnTo>
                    <a:close/>
                  </a:path>
                </a:pathLst>
              </a:custGeom>
              <a:solidFill>
                <a:srgbClr val="646464"/>
              </a:solidFill>
              <a:ln w="9525">
                <a:noFill/>
                <a:round/>
                <a:headEnd/>
                <a:tailEnd/>
              </a:ln>
            </p:spPr>
            <p:txBody>
              <a:bodyPr/>
              <a:lstStyle/>
              <a:p>
                <a:pPr defTabSz="791108">
                  <a:defRPr/>
                </a:pPr>
                <a:endParaRPr lang="de-DE" sz="1557" kern="0" dirty="0">
                  <a:solidFill>
                    <a:srgbClr val="646464"/>
                  </a:solidFill>
                  <a:latin typeface="+mj-lt"/>
                </a:endParaRPr>
              </a:p>
            </p:txBody>
          </p:sp>
          <p:sp>
            <p:nvSpPr>
              <p:cNvPr id="235" name="Freeform 13"/>
              <p:cNvSpPr>
                <a:spLocks noChangeAspect="1" noEditPoints="1"/>
              </p:cNvSpPr>
              <p:nvPr/>
            </p:nvSpPr>
            <p:spPr bwMode="auto">
              <a:xfrm>
                <a:off x="5378609" y="5464495"/>
                <a:ext cx="407004" cy="285633"/>
              </a:xfrm>
              <a:custGeom>
                <a:avLst/>
                <a:gdLst>
                  <a:gd name="T0" fmla="*/ 2147483647 w 6736"/>
                  <a:gd name="T1" fmla="*/ 2147483647 h 4727"/>
                  <a:gd name="T2" fmla="*/ 2147483647 w 6736"/>
                  <a:gd name="T3" fmla="*/ 2147483647 h 4727"/>
                  <a:gd name="T4" fmla="*/ 2147483647 w 6736"/>
                  <a:gd name="T5" fmla="*/ 2147483647 h 4727"/>
                  <a:gd name="T6" fmla="*/ 2147483647 w 6736"/>
                  <a:gd name="T7" fmla="*/ 2147483647 h 4727"/>
                  <a:gd name="T8" fmla="*/ 2147483647 w 6736"/>
                  <a:gd name="T9" fmla="*/ 2147483647 h 4727"/>
                  <a:gd name="T10" fmla="*/ 2147483647 w 6736"/>
                  <a:gd name="T11" fmla="*/ 2147483647 h 4727"/>
                  <a:gd name="T12" fmla="*/ 2147483647 w 6736"/>
                  <a:gd name="T13" fmla="*/ 2147483647 h 4727"/>
                  <a:gd name="T14" fmla="*/ 2147483647 w 6736"/>
                  <a:gd name="T15" fmla="*/ 2147483647 h 4727"/>
                  <a:gd name="T16" fmla="*/ 2147483647 w 6736"/>
                  <a:gd name="T17" fmla="*/ 2147483647 h 4727"/>
                  <a:gd name="T18" fmla="*/ 0 w 6736"/>
                  <a:gd name="T19" fmla="*/ 2147483647 h 4727"/>
                  <a:gd name="T20" fmla="*/ 2147483647 w 6736"/>
                  <a:gd name="T21" fmla="*/ 2147483647 h 4727"/>
                  <a:gd name="T22" fmla="*/ 2147483647 w 6736"/>
                  <a:gd name="T23" fmla="*/ 2147483647 h 4727"/>
                  <a:gd name="T24" fmla="*/ 2147483647 w 6736"/>
                  <a:gd name="T25" fmla="*/ 2147483647 h 4727"/>
                  <a:gd name="T26" fmla="*/ 2147483647 w 6736"/>
                  <a:gd name="T27" fmla="*/ 2147483647 h 4727"/>
                  <a:gd name="T28" fmla="*/ 2147483647 w 6736"/>
                  <a:gd name="T29" fmla="*/ 2147483647 h 4727"/>
                  <a:gd name="T30" fmla="*/ 2147483647 w 6736"/>
                  <a:gd name="T31" fmla="*/ 2147483647 h 4727"/>
                  <a:gd name="T32" fmla="*/ 2147483647 w 6736"/>
                  <a:gd name="T33" fmla="*/ 2147483647 h 4727"/>
                  <a:gd name="T34" fmla="*/ 2147483647 w 6736"/>
                  <a:gd name="T35" fmla="*/ 2147483647 h 4727"/>
                  <a:gd name="T36" fmla="*/ 2147483647 w 6736"/>
                  <a:gd name="T37" fmla="*/ 2147483647 h 4727"/>
                  <a:gd name="T38" fmla="*/ 2147483647 w 6736"/>
                  <a:gd name="T39" fmla="*/ 2147483647 h 4727"/>
                  <a:gd name="T40" fmla="*/ 2147483647 w 6736"/>
                  <a:gd name="T41" fmla="*/ 2147483647 h 4727"/>
                  <a:gd name="T42" fmla="*/ 2147483647 w 6736"/>
                  <a:gd name="T43" fmla="*/ 2147483647 h 4727"/>
                  <a:gd name="T44" fmla="*/ 2147483647 w 6736"/>
                  <a:gd name="T45" fmla="*/ 2147483647 h 4727"/>
                  <a:gd name="T46" fmla="*/ 2147483647 w 6736"/>
                  <a:gd name="T47" fmla="*/ 2147483647 h 4727"/>
                  <a:gd name="T48" fmla="*/ 2147483647 w 6736"/>
                  <a:gd name="T49" fmla="*/ 2147483647 h 4727"/>
                  <a:gd name="T50" fmla="*/ 2147483647 w 6736"/>
                  <a:gd name="T51" fmla="*/ 2147483647 h 4727"/>
                  <a:gd name="T52" fmla="*/ 2147483647 w 6736"/>
                  <a:gd name="T53" fmla="*/ 2147483647 h 4727"/>
                  <a:gd name="T54" fmla="*/ 2147483647 w 6736"/>
                  <a:gd name="T55" fmla="*/ 2147483647 h 4727"/>
                  <a:gd name="T56" fmla="*/ 2147483647 w 6736"/>
                  <a:gd name="T57" fmla="*/ 2147483647 h 4727"/>
                  <a:gd name="T58" fmla="*/ 2147483647 w 6736"/>
                  <a:gd name="T59" fmla="*/ 2147483647 h 4727"/>
                  <a:gd name="T60" fmla="*/ 2147483647 w 6736"/>
                  <a:gd name="T61" fmla="*/ 2147483647 h 4727"/>
                  <a:gd name="T62" fmla="*/ 2147483647 w 6736"/>
                  <a:gd name="T63" fmla="*/ 2147483647 h 4727"/>
                  <a:gd name="T64" fmla="*/ 2147483647 w 6736"/>
                  <a:gd name="T65" fmla="*/ 2147483647 h 4727"/>
                  <a:gd name="T66" fmla="*/ 2147483647 w 6736"/>
                  <a:gd name="T67" fmla="*/ 2147483647 h 4727"/>
                  <a:gd name="T68" fmla="*/ 2147483647 w 6736"/>
                  <a:gd name="T69" fmla="*/ 2147483647 h 4727"/>
                  <a:gd name="T70" fmla="*/ 2147483647 w 6736"/>
                  <a:gd name="T71" fmla="*/ 2147483647 h 4727"/>
                  <a:gd name="T72" fmla="*/ 2147483647 w 6736"/>
                  <a:gd name="T73" fmla="*/ 2147483647 h 4727"/>
                  <a:gd name="T74" fmla="*/ 2147483647 w 6736"/>
                  <a:gd name="T75" fmla="*/ 2147483647 h 4727"/>
                  <a:gd name="T76" fmla="*/ 2147483647 w 6736"/>
                  <a:gd name="T77" fmla="*/ 2147483647 h 4727"/>
                  <a:gd name="T78" fmla="*/ 2147483647 w 6736"/>
                  <a:gd name="T79" fmla="*/ 2147483647 h 4727"/>
                  <a:gd name="T80" fmla="*/ 2147483647 w 6736"/>
                  <a:gd name="T81" fmla="*/ 0 h 4727"/>
                  <a:gd name="T82" fmla="*/ 2147483647 w 6736"/>
                  <a:gd name="T83" fmla="*/ 2147483647 h 4727"/>
                  <a:gd name="T84" fmla="*/ 2147483647 w 6736"/>
                  <a:gd name="T85" fmla="*/ 2147483647 h 4727"/>
                  <a:gd name="T86" fmla="*/ 2147483647 w 6736"/>
                  <a:gd name="T87" fmla="*/ 2147483647 h 4727"/>
                  <a:gd name="T88" fmla="*/ 2147483647 w 6736"/>
                  <a:gd name="T89" fmla="*/ 2147483647 h 4727"/>
                  <a:gd name="T90" fmla="*/ 2147483647 w 6736"/>
                  <a:gd name="T91" fmla="*/ 2147483647 h 4727"/>
                  <a:gd name="T92" fmla="*/ 2147483647 w 6736"/>
                  <a:gd name="T93" fmla="*/ 2147483647 h 4727"/>
                  <a:gd name="T94" fmla="*/ 2147483647 w 6736"/>
                  <a:gd name="T95" fmla="*/ 2147483647 h 4727"/>
                  <a:gd name="T96" fmla="*/ 2147483647 w 6736"/>
                  <a:gd name="T97" fmla="*/ 2147483647 h 4727"/>
                  <a:gd name="T98" fmla="*/ 2147483647 w 6736"/>
                  <a:gd name="T99" fmla="*/ 2147483647 h 4727"/>
                  <a:gd name="T100" fmla="*/ 2147483647 w 6736"/>
                  <a:gd name="T101" fmla="*/ 2147483647 h 4727"/>
                  <a:gd name="T102" fmla="*/ 2147483647 w 6736"/>
                  <a:gd name="T103" fmla="*/ 2147483647 h 4727"/>
                  <a:gd name="T104" fmla="*/ 2147483647 w 6736"/>
                  <a:gd name="T105" fmla="*/ 2147483647 h 4727"/>
                  <a:gd name="T106" fmla="*/ 2147483647 w 6736"/>
                  <a:gd name="T107" fmla="*/ 2147483647 h 4727"/>
                  <a:gd name="T108" fmla="*/ 2147483647 w 6736"/>
                  <a:gd name="T109" fmla="*/ 2147483647 h 4727"/>
                  <a:gd name="T110" fmla="*/ 2147483647 w 6736"/>
                  <a:gd name="T111" fmla="*/ 2147483647 h 4727"/>
                  <a:gd name="T112" fmla="*/ 2147483647 w 6736"/>
                  <a:gd name="T113" fmla="*/ 2147483647 h 4727"/>
                  <a:gd name="T114" fmla="*/ 2147483647 w 6736"/>
                  <a:gd name="T115" fmla="*/ 2147483647 h 4727"/>
                  <a:gd name="T116" fmla="*/ 2147483647 w 6736"/>
                  <a:gd name="T117" fmla="*/ 2147483647 h 4727"/>
                  <a:gd name="T118" fmla="*/ 2147483647 w 6736"/>
                  <a:gd name="T119" fmla="*/ 2147483647 h 4727"/>
                  <a:gd name="T120" fmla="*/ 2147483647 w 6736"/>
                  <a:gd name="T121" fmla="*/ 2147483647 h 47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736"/>
                  <a:gd name="T184" fmla="*/ 0 h 4727"/>
                  <a:gd name="T185" fmla="*/ 6736 w 6736"/>
                  <a:gd name="T186" fmla="*/ 4727 h 47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736" h="4727">
                    <a:moveTo>
                      <a:pt x="1302" y="3975"/>
                    </a:moveTo>
                    <a:lnTo>
                      <a:pt x="1302" y="3713"/>
                    </a:lnTo>
                    <a:lnTo>
                      <a:pt x="1438" y="3713"/>
                    </a:lnTo>
                    <a:lnTo>
                      <a:pt x="1438" y="3975"/>
                    </a:lnTo>
                    <a:lnTo>
                      <a:pt x="1302" y="3975"/>
                    </a:lnTo>
                    <a:close/>
                    <a:moveTo>
                      <a:pt x="2533" y="3206"/>
                    </a:moveTo>
                    <a:lnTo>
                      <a:pt x="750" y="2593"/>
                    </a:lnTo>
                    <a:lnTo>
                      <a:pt x="750" y="3206"/>
                    </a:lnTo>
                    <a:lnTo>
                      <a:pt x="2533" y="3206"/>
                    </a:lnTo>
                    <a:close/>
                    <a:moveTo>
                      <a:pt x="1453" y="2537"/>
                    </a:moveTo>
                    <a:lnTo>
                      <a:pt x="1635" y="2596"/>
                    </a:lnTo>
                    <a:lnTo>
                      <a:pt x="1584" y="1229"/>
                    </a:lnTo>
                    <a:lnTo>
                      <a:pt x="1502" y="1229"/>
                    </a:lnTo>
                    <a:lnTo>
                      <a:pt x="1453" y="2537"/>
                    </a:lnTo>
                    <a:close/>
                    <a:moveTo>
                      <a:pt x="2745" y="4447"/>
                    </a:moveTo>
                    <a:lnTo>
                      <a:pt x="2738" y="3342"/>
                    </a:lnTo>
                    <a:lnTo>
                      <a:pt x="750" y="3342"/>
                    </a:lnTo>
                    <a:lnTo>
                      <a:pt x="750" y="4447"/>
                    </a:lnTo>
                    <a:lnTo>
                      <a:pt x="479" y="4447"/>
                    </a:lnTo>
                    <a:lnTo>
                      <a:pt x="479" y="2219"/>
                    </a:lnTo>
                    <a:lnTo>
                      <a:pt x="1319" y="2493"/>
                    </a:lnTo>
                    <a:lnTo>
                      <a:pt x="1372" y="1093"/>
                    </a:lnTo>
                    <a:lnTo>
                      <a:pt x="1715" y="1093"/>
                    </a:lnTo>
                    <a:lnTo>
                      <a:pt x="1774" y="2640"/>
                    </a:lnTo>
                    <a:lnTo>
                      <a:pt x="2083" y="2742"/>
                    </a:lnTo>
                    <a:lnTo>
                      <a:pt x="3645" y="2263"/>
                    </a:lnTo>
                    <a:lnTo>
                      <a:pt x="6281" y="3136"/>
                    </a:lnTo>
                    <a:lnTo>
                      <a:pt x="6288" y="4447"/>
                    </a:lnTo>
                    <a:lnTo>
                      <a:pt x="6016" y="4449"/>
                    </a:lnTo>
                    <a:lnTo>
                      <a:pt x="6011" y="3342"/>
                    </a:lnTo>
                    <a:lnTo>
                      <a:pt x="3303" y="3342"/>
                    </a:lnTo>
                    <a:lnTo>
                      <a:pt x="3303" y="3206"/>
                    </a:lnTo>
                    <a:lnTo>
                      <a:pt x="4884" y="3206"/>
                    </a:lnTo>
                    <a:lnTo>
                      <a:pt x="3640" y="2549"/>
                    </a:lnTo>
                    <a:lnTo>
                      <a:pt x="2276" y="2966"/>
                    </a:lnTo>
                    <a:lnTo>
                      <a:pt x="2874" y="3187"/>
                    </a:lnTo>
                    <a:lnTo>
                      <a:pt x="2881" y="4447"/>
                    </a:lnTo>
                    <a:lnTo>
                      <a:pt x="2745" y="4447"/>
                    </a:lnTo>
                    <a:close/>
                    <a:moveTo>
                      <a:pt x="4599" y="4148"/>
                    </a:moveTo>
                    <a:lnTo>
                      <a:pt x="4599" y="3887"/>
                    </a:lnTo>
                    <a:lnTo>
                      <a:pt x="4735" y="3887"/>
                    </a:lnTo>
                    <a:lnTo>
                      <a:pt x="4735" y="4148"/>
                    </a:lnTo>
                    <a:lnTo>
                      <a:pt x="4599" y="4148"/>
                    </a:lnTo>
                    <a:close/>
                    <a:moveTo>
                      <a:pt x="5312" y="4148"/>
                    </a:moveTo>
                    <a:lnTo>
                      <a:pt x="5312" y="3887"/>
                    </a:lnTo>
                    <a:lnTo>
                      <a:pt x="5448" y="3887"/>
                    </a:lnTo>
                    <a:lnTo>
                      <a:pt x="5448" y="4148"/>
                    </a:lnTo>
                    <a:lnTo>
                      <a:pt x="5312" y="4148"/>
                    </a:lnTo>
                    <a:close/>
                    <a:moveTo>
                      <a:pt x="4955" y="4148"/>
                    </a:moveTo>
                    <a:lnTo>
                      <a:pt x="4955" y="3887"/>
                    </a:lnTo>
                    <a:lnTo>
                      <a:pt x="5091" y="3887"/>
                    </a:lnTo>
                    <a:lnTo>
                      <a:pt x="5091" y="4148"/>
                    </a:lnTo>
                    <a:lnTo>
                      <a:pt x="4955" y="4148"/>
                    </a:lnTo>
                    <a:close/>
                    <a:moveTo>
                      <a:pt x="3302" y="4591"/>
                    </a:moveTo>
                    <a:lnTo>
                      <a:pt x="3302" y="3887"/>
                    </a:lnTo>
                    <a:lnTo>
                      <a:pt x="4147" y="3887"/>
                    </a:lnTo>
                    <a:lnTo>
                      <a:pt x="4147" y="4591"/>
                    </a:lnTo>
                    <a:lnTo>
                      <a:pt x="6736" y="4591"/>
                    </a:lnTo>
                    <a:lnTo>
                      <a:pt x="6736" y="4727"/>
                    </a:lnTo>
                    <a:lnTo>
                      <a:pt x="0" y="4727"/>
                    </a:lnTo>
                    <a:lnTo>
                      <a:pt x="0" y="4591"/>
                    </a:lnTo>
                    <a:lnTo>
                      <a:pt x="3302" y="4591"/>
                    </a:lnTo>
                    <a:close/>
                    <a:moveTo>
                      <a:pt x="3667" y="4004"/>
                    </a:moveTo>
                    <a:lnTo>
                      <a:pt x="3419" y="4004"/>
                    </a:lnTo>
                    <a:lnTo>
                      <a:pt x="3419" y="4581"/>
                    </a:lnTo>
                    <a:lnTo>
                      <a:pt x="3667" y="4581"/>
                    </a:lnTo>
                    <a:lnTo>
                      <a:pt x="3667" y="4004"/>
                    </a:lnTo>
                    <a:close/>
                    <a:moveTo>
                      <a:pt x="4030" y="4581"/>
                    </a:moveTo>
                    <a:lnTo>
                      <a:pt x="4030" y="4004"/>
                    </a:lnTo>
                    <a:lnTo>
                      <a:pt x="3784" y="4004"/>
                    </a:lnTo>
                    <a:lnTo>
                      <a:pt x="3784" y="4581"/>
                    </a:lnTo>
                    <a:lnTo>
                      <a:pt x="4030" y="4581"/>
                    </a:lnTo>
                    <a:close/>
                    <a:moveTo>
                      <a:pt x="1426" y="718"/>
                    </a:moveTo>
                    <a:lnTo>
                      <a:pt x="4492" y="718"/>
                    </a:lnTo>
                    <a:lnTo>
                      <a:pt x="4526" y="717"/>
                    </a:lnTo>
                    <a:lnTo>
                      <a:pt x="4553" y="711"/>
                    </a:lnTo>
                    <a:lnTo>
                      <a:pt x="4565" y="708"/>
                    </a:lnTo>
                    <a:lnTo>
                      <a:pt x="4575" y="705"/>
                    </a:lnTo>
                    <a:lnTo>
                      <a:pt x="4583" y="700"/>
                    </a:lnTo>
                    <a:lnTo>
                      <a:pt x="4592" y="694"/>
                    </a:lnTo>
                    <a:lnTo>
                      <a:pt x="4599" y="688"/>
                    </a:lnTo>
                    <a:lnTo>
                      <a:pt x="4604" y="683"/>
                    </a:lnTo>
                    <a:lnTo>
                      <a:pt x="4609" y="676"/>
                    </a:lnTo>
                    <a:lnTo>
                      <a:pt x="4612" y="669"/>
                    </a:lnTo>
                    <a:lnTo>
                      <a:pt x="4614" y="660"/>
                    </a:lnTo>
                    <a:lnTo>
                      <a:pt x="4616" y="654"/>
                    </a:lnTo>
                    <a:lnTo>
                      <a:pt x="4616" y="638"/>
                    </a:lnTo>
                    <a:lnTo>
                      <a:pt x="4612" y="621"/>
                    </a:lnTo>
                    <a:lnTo>
                      <a:pt x="4606" y="606"/>
                    </a:lnTo>
                    <a:lnTo>
                      <a:pt x="4595" y="589"/>
                    </a:lnTo>
                    <a:lnTo>
                      <a:pt x="4583" y="576"/>
                    </a:lnTo>
                    <a:lnTo>
                      <a:pt x="4570" y="560"/>
                    </a:lnTo>
                    <a:lnTo>
                      <a:pt x="4555" y="548"/>
                    </a:lnTo>
                    <a:lnTo>
                      <a:pt x="4538" y="538"/>
                    </a:lnTo>
                    <a:lnTo>
                      <a:pt x="4519" y="530"/>
                    </a:lnTo>
                    <a:lnTo>
                      <a:pt x="4480" y="518"/>
                    </a:lnTo>
                    <a:lnTo>
                      <a:pt x="4436" y="504"/>
                    </a:lnTo>
                    <a:lnTo>
                      <a:pt x="4383" y="491"/>
                    </a:lnTo>
                    <a:lnTo>
                      <a:pt x="4325" y="479"/>
                    </a:lnTo>
                    <a:lnTo>
                      <a:pt x="4258" y="469"/>
                    </a:lnTo>
                    <a:lnTo>
                      <a:pt x="4185" y="460"/>
                    </a:lnTo>
                    <a:lnTo>
                      <a:pt x="4101" y="455"/>
                    </a:lnTo>
                    <a:lnTo>
                      <a:pt x="4010" y="453"/>
                    </a:lnTo>
                    <a:lnTo>
                      <a:pt x="3957" y="455"/>
                    </a:lnTo>
                    <a:lnTo>
                      <a:pt x="3904" y="457"/>
                    </a:lnTo>
                    <a:lnTo>
                      <a:pt x="3799" y="460"/>
                    </a:lnTo>
                    <a:lnTo>
                      <a:pt x="3828" y="436"/>
                    </a:lnTo>
                    <a:lnTo>
                      <a:pt x="3843" y="423"/>
                    </a:lnTo>
                    <a:lnTo>
                      <a:pt x="3857" y="408"/>
                    </a:lnTo>
                    <a:lnTo>
                      <a:pt x="3869" y="389"/>
                    </a:lnTo>
                    <a:lnTo>
                      <a:pt x="3877" y="370"/>
                    </a:lnTo>
                    <a:lnTo>
                      <a:pt x="3882" y="358"/>
                    </a:lnTo>
                    <a:lnTo>
                      <a:pt x="3884" y="348"/>
                    </a:lnTo>
                    <a:lnTo>
                      <a:pt x="3886" y="336"/>
                    </a:lnTo>
                    <a:lnTo>
                      <a:pt x="3886" y="323"/>
                    </a:lnTo>
                    <a:lnTo>
                      <a:pt x="3886" y="309"/>
                    </a:lnTo>
                    <a:lnTo>
                      <a:pt x="3881" y="297"/>
                    </a:lnTo>
                    <a:lnTo>
                      <a:pt x="3874" y="285"/>
                    </a:lnTo>
                    <a:lnTo>
                      <a:pt x="3864" y="273"/>
                    </a:lnTo>
                    <a:lnTo>
                      <a:pt x="3852" y="261"/>
                    </a:lnTo>
                    <a:lnTo>
                      <a:pt x="3837" y="251"/>
                    </a:lnTo>
                    <a:lnTo>
                      <a:pt x="3821" y="241"/>
                    </a:lnTo>
                    <a:lnTo>
                      <a:pt x="3803" y="233"/>
                    </a:lnTo>
                    <a:lnTo>
                      <a:pt x="3782" y="224"/>
                    </a:lnTo>
                    <a:lnTo>
                      <a:pt x="3762" y="216"/>
                    </a:lnTo>
                    <a:lnTo>
                      <a:pt x="3714" y="200"/>
                    </a:lnTo>
                    <a:lnTo>
                      <a:pt x="3665" y="187"/>
                    </a:lnTo>
                    <a:lnTo>
                      <a:pt x="3612" y="175"/>
                    </a:lnTo>
                    <a:lnTo>
                      <a:pt x="3558" y="165"/>
                    </a:lnTo>
                    <a:lnTo>
                      <a:pt x="3506" y="156"/>
                    </a:lnTo>
                    <a:lnTo>
                      <a:pt x="3455" y="149"/>
                    </a:lnTo>
                    <a:lnTo>
                      <a:pt x="3407" y="144"/>
                    </a:lnTo>
                    <a:lnTo>
                      <a:pt x="3327" y="138"/>
                    </a:lnTo>
                    <a:lnTo>
                      <a:pt x="3280" y="136"/>
                    </a:lnTo>
                    <a:lnTo>
                      <a:pt x="3230" y="138"/>
                    </a:lnTo>
                    <a:lnTo>
                      <a:pt x="3154" y="141"/>
                    </a:lnTo>
                    <a:lnTo>
                      <a:pt x="3108" y="144"/>
                    </a:lnTo>
                    <a:lnTo>
                      <a:pt x="3059" y="149"/>
                    </a:lnTo>
                    <a:lnTo>
                      <a:pt x="3006" y="156"/>
                    </a:lnTo>
                    <a:lnTo>
                      <a:pt x="2954" y="163"/>
                    </a:lnTo>
                    <a:lnTo>
                      <a:pt x="2903" y="173"/>
                    </a:lnTo>
                    <a:lnTo>
                      <a:pt x="2854" y="187"/>
                    </a:lnTo>
                    <a:lnTo>
                      <a:pt x="2808" y="200"/>
                    </a:lnTo>
                    <a:lnTo>
                      <a:pt x="2786" y="209"/>
                    </a:lnTo>
                    <a:lnTo>
                      <a:pt x="2767" y="217"/>
                    </a:lnTo>
                    <a:lnTo>
                      <a:pt x="2748" y="228"/>
                    </a:lnTo>
                    <a:lnTo>
                      <a:pt x="2731" y="238"/>
                    </a:lnTo>
                    <a:lnTo>
                      <a:pt x="2716" y="248"/>
                    </a:lnTo>
                    <a:lnTo>
                      <a:pt x="2703" y="260"/>
                    </a:lnTo>
                    <a:lnTo>
                      <a:pt x="2692" y="273"/>
                    </a:lnTo>
                    <a:lnTo>
                      <a:pt x="2684" y="285"/>
                    </a:lnTo>
                    <a:lnTo>
                      <a:pt x="2679" y="301"/>
                    </a:lnTo>
                    <a:lnTo>
                      <a:pt x="2675" y="316"/>
                    </a:lnTo>
                    <a:lnTo>
                      <a:pt x="2675" y="328"/>
                    </a:lnTo>
                    <a:lnTo>
                      <a:pt x="2677" y="340"/>
                    </a:lnTo>
                    <a:lnTo>
                      <a:pt x="2682" y="351"/>
                    </a:lnTo>
                    <a:lnTo>
                      <a:pt x="2689" y="363"/>
                    </a:lnTo>
                    <a:lnTo>
                      <a:pt x="2699" y="374"/>
                    </a:lnTo>
                    <a:lnTo>
                      <a:pt x="2713" y="385"/>
                    </a:lnTo>
                    <a:lnTo>
                      <a:pt x="2728" y="394"/>
                    </a:lnTo>
                    <a:lnTo>
                      <a:pt x="2747" y="402"/>
                    </a:lnTo>
                    <a:lnTo>
                      <a:pt x="2706" y="530"/>
                    </a:lnTo>
                    <a:lnTo>
                      <a:pt x="2635" y="525"/>
                    </a:lnTo>
                    <a:lnTo>
                      <a:pt x="2562" y="523"/>
                    </a:lnTo>
                    <a:lnTo>
                      <a:pt x="2507" y="523"/>
                    </a:lnTo>
                    <a:lnTo>
                      <a:pt x="2453" y="526"/>
                    </a:lnTo>
                    <a:lnTo>
                      <a:pt x="2397" y="531"/>
                    </a:lnTo>
                    <a:lnTo>
                      <a:pt x="2341" y="540"/>
                    </a:lnTo>
                    <a:lnTo>
                      <a:pt x="2287" y="550"/>
                    </a:lnTo>
                    <a:lnTo>
                      <a:pt x="2259" y="557"/>
                    </a:lnTo>
                    <a:lnTo>
                      <a:pt x="2232" y="565"/>
                    </a:lnTo>
                    <a:lnTo>
                      <a:pt x="2205" y="574"/>
                    </a:lnTo>
                    <a:lnTo>
                      <a:pt x="2180" y="584"/>
                    </a:lnTo>
                    <a:lnTo>
                      <a:pt x="2156" y="596"/>
                    </a:lnTo>
                    <a:lnTo>
                      <a:pt x="2130" y="608"/>
                    </a:lnTo>
                    <a:lnTo>
                      <a:pt x="2059" y="594"/>
                    </a:lnTo>
                    <a:lnTo>
                      <a:pt x="1990" y="586"/>
                    </a:lnTo>
                    <a:lnTo>
                      <a:pt x="1917" y="581"/>
                    </a:lnTo>
                    <a:lnTo>
                      <a:pt x="1845" y="579"/>
                    </a:lnTo>
                    <a:lnTo>
                      <a:pt x="1810" y="579"/>
                    </a:lnTo>
                    <a:lnTo>
                      <a:pt x="1754" y="581"/>
                    </a:lnTo>
                    <a:lnTo>
                      <a:pt x="1684" y="586"/>
                    </a:lnTo>
                    <a:lnTo>
                      <a:pt x="1608" y="594"/>
                    </a:lnTo>
                    <a:lnTo>
                      <a:pt x="1569" y="599"/>
                    </a:lnTo>
                    <a:lnTo>
                      <a:pt x="1533" y="606"/>
                    </a:lnTo>
                    <a:lnTo>
                      <a:pt x="1499" y="613"/>
                    </a:lnTo>
                    <a:lnTo>
                      <a:pt x="1467" y="621"/>
                    </a:lnTo>
                    <a:lnTo>
                      <a:pt x="1440" y="632"/>
                    </a:lnTo>
                    <a:lnTo>
                      <a:pt x="1417" y="644"/>
                    </a:lnTo>
                    <a:lnTo>
                      <a:pt x="1409" y="650"/>
                    </a:lnTo>
                    <a:lnTo>
                      <a:pt x="1401" y="655"/>
                    </a:lnTo>
                    <a:lnTo>
                      <a:pt x="1395" y="664"/>
                    </a:lnTo>
                    <a:lnTo>
                      <a:pt x="1392" y="671"/>
                    </a:lnTo>
                    <a:lnTo>
                      <a:pt x="1387" y="683"/>
                    </a:lnTo>
                    <a:lnTo>
                      <a:pt x="1387" y="694"/>
                    </a:lnTo>
                    <a:lnTo>
                      <a:pt x="1390" y="701"/>
                    </a:lnTo>
                    <a:lnTo>
                      <a:pt x="1395" y="708"/>
                    </a:lnTo>
                    <a:lnTo>
                      <a:pt x="1401" y="713"/>
                    </a:lnTo>
                    <a:lnTo>
                      <a:pt x="1409" y="717"/>
                    </a:lnTo>
                    <a:lnTo>
                      <a:pt x="1417" y="718"/>
                    </a:lnTo>
                    <a:lnTo>
                      <a:pt x="1426" y="718"/>
                    </a:lnTo>
                    <a:close/>
                    <a:moveTo>
                      <a:pt x="2548" y="387"/>
                    </a:moveTo>
                    <a:lnTo>
                      <a:pt x="2548" y="387"/>
                    </a:lnTo>
                    <a:lnTo>
                      <a:pt x="2543" y="372"/>
                    </a:lnTo>
                    <a:lnTo>
                      <a:pt x="2538" y="357"/>
                    </a:lnTo>
                    <a:lnTo>
                      <a:pt x="2536" y="340"/>
                    </a:lnTo>
                    <a:lnTo>
                      <a:pt x="2536" y="323"/>
                    </a:lnTo>
                    <a:lnTo>
                      <a:pt x="2538" y="297"/>
                    </a:lnTo>
                    <a:lnTo>
                      <a:pt x="2541" y="273"/>
                    </a:lnTo>
                    <a:lnTo>
                      <a:pt x="2550" y="251"/>
                    </a:lnTo>
                    <a:lnTo>
                      <a:pt x="2560" y="231"/>
                    </a:lnTo>
                    <a:lnTo>
                      <a:pt x="2574" y="211"/>
                    </a:lnTo>
                    <a:lnTo>
                      <a:pt x="2589" y="192"/>
                    </a:lnTo>
                    <a:lnTo>
                      <a:pt x="2607" y="173"/>
                    </a:lnTo>
                    <a:lnTo>
                      <a:pt x="2628" y="156"/>
                    </a:lnTo>
                    <a:lnTo>
                      <a:pt x="2650" y="141"/>
                    </a:lnTo>
                    <a:lnTo>
                      <a:pt x="2674" y="126"/>
                    </a:lnTo>
                    <a:lnTo>
                      <a:pt x="2697" y="112"/>
                    </a:lnTo>
                    <a:lnTo>
                      <a:pt x="2725" y="100"/>
                    </a:lnTo>
                    <a:lnTo>
                      <a:pt x="2753" y="88"/>
                    </a:lnTo>
                    <a:lnTo>
                      <a:pt x="2782" y="78"/>
                    </a:lnTo>
                    <a:lnTo>
                      <a:pt x="2811" y="68"/>
                    </a:lnTo>
                    <a:lnTo>
                      <a:pt x="2842" y="58"/>
                    </a:lnTo>
                    <a:lnTo>
                      <a:pt x="2905" y="42"/>
                    </a:lnTo>
                    <a:lnTo>
                      <a:pt x="2967" y="31"/>
                    </a:lnTo>
                    <a:lnTo>
                      <a:pt x="3030" y="20"/>
                    </a:lnTo>
                    <a:lnTo>
                      <a:pt x="3090" y="12"/>
                    </a:lnTo>
                    <a:lnTo>
                      <a:pt x="3146" y="7"/>
                    </a:lnTo>
                    <a:lnTo>
                      <a:pt x="3197" y="3"/>
                    </a:lnTo>
                    <a:lnTo>
                      <a:pt x="3242" y="0"/>
                    </a:lnTo>
                    <a:lnTo>
                      <a:pt x="3280" y="0"/>
                    </a:lnTo>
                    <a:lnTo>
                      <a:pt x="3315" y="0"/>
                    </a:lnTo>
                    <a:lnTo>
                      <a:pt x="3361" y="2"/>
                    </a:lnTo>
                    <a:lnTo>
                      <a:pt x="3412" y="7"/>
                    </a:lnTo>
                    <a:lnTo>
                      <a:pt x="3468" y="12"/>
                    </a:lnTo>
                    <a:lnTo>
                      <a:pt x="3528" y="19"/>
                    </a:lnTo>
                    <a:lnTo>
                      <a:pt x="3589" y="29"/>
                    </a:lnTo>
                    <a:lnTo>
                      <a:pt x="3651" y="42"/>
                    </a:lnTo>
                    <a:lnTo>
                      <a:pt x="3713" y="58"/>
                    </a:lnTo>
                    <a:lnTo>
                      <a:pt x="3774" y="76"/>
                    </a:lnTo>
                    <a:lnTo>
                      <a:pt x="3801" y="87"/>
                    </a:lnTo>
                    <a:lnTo>
                      <a:pt x="3830" y="98"/>
                    </a:lnTo>
                    <a:lnTo>
                      <a:pt x="3857" y="110"/>
                    </a:lnTo>
                    <a:lnTo>
                      <a:pt x="3881" y="124"/>
                    </a:lnTo>
                    <a:lnTo>
                      <a:pt x="3904" y="139"/>
                    </a:lnTo>
                    <a:lnTo>
                      <a:pt x="3927" y="155"/>
                    </a:lnTo>
                    <a:lnTo>
                      <a:pt x="3947" y="171"/>
                    </a:lnTo>
                    <a:lnTo>
                      <a:pt x="3966" y="188"/>
                    </a:lnTo>
                    <a:lnTo>
                      <a:pt x="3983" y="207"/>
                    </a:lnTo>
                    <a:lnTo>
                      <a:pt x="3996" y="226"/>
                    </a:lnTo>
                    <a:lnTo>
                      <a:pt x="4006" y="248"/>
                    </a:lnTo>
                    <a:lnTo>
                      <a:pt x="4015" y="270"/>
                    </a:lnTo>
                    <a:lnTo>
                      <a:pt x="4020" y="294"/>
                    </a:lnTo>
                    <a:lnTo>
                      <a:pt x="4022" y="318"/>
                    </a:lnTo>
                    <a:lnTo>
                      <a:pt x="4108" y="319"/>
                    </a:lnTo>
                    <a:lnTo>
                      <a:pt x="4190" y="324"/>
                    </a:lnTo>
                    <a:lnTo>
                      <a:pt x="4263" y="331"/>
                    </a:lnTo>
                    <a:lnTo>
                      <a:pt x="4331" y="341"/>
                    </a:lnTo>
                    <a:lnTo>
                      <a:pt x="4393" y="355"/>
                    </a:lnTo>
                    <a:lnTo>
                      <a:pt x="4451" y="368"/>
                    </a:lnTo>
                    <a:lnTo>
                      <a:pt x="4504" y="385"/>
                    </a:lnTo>
                    <a:lnTo>
                      <a:pt x="4550" y="402"/>
                    </a:lnTo>
                    <a:lnTo>
                      <a:pt x="4592" y="423"/>
                    </a:lnTo>
                    <a:lnTo>
                      <a:pt x="4628" y="443"/>
                    </a:lnTo>
                    <a:lnTo>
                      <a:pt x="4660" y="465"/>
                    </a:lnTo>
                    <a:lnTo>
                      <a:pt x="4687" y="489"/>
                    </a:lnTo>
                    <a:lnTo>
                      <a:pt x="4711" y="513"/>
                    </a:lnTo>
                    <a:lnTo>
                      <a:pt x="4729" y="537"/>
                    </a:lnTo>
                    <a:lnTo>
                      <a:pt x="4745" y="562"/>
                    </a:lnTo>
                    <a:lnTo>
                      <a:pt x="4757" y="587"/>
                    </a:lnTo>
                    <a:lnTo>
                      <a:pt x="4763" y="613"/>
                    </a:lnTo>
                    <a:lnTo>
                      <a:pt x="4769" y="637"/>
                    </a:lnTo>
                    <a:lnTo>
                      <a:pt x="4769" y="662"/>
                    </a:lnTo>
                    <a:lnTo>
                      <a:pt x="4767" y="686"/>
                    </a:lnTo>
                    <a:lnTo>
                      <a:pt x="4762" y="708"/>
                    </a:lnTo>
                    <a:lnTo>
                      <a:pt x="4753" y="730"/>
                    </a:lnTo>
                    <a:lnTo>
                      <a:pt x="4741" y="750"/>
                    </a:lnTo>
                    <a:lnTo>
                      <a:pt x="4728" y="771"/>
                    </a:lnTo>
                    <a:lnTo>
                      <a:pt x="4712" y="788"/>
                    </a:lnTo>
                    <a:lnTo>
                      <a:pt x="4694" y="805"/>
                    </a:lnTo>
                    <a:lnTo>
                      <a:pt x="4675" y="818"/>
                    </a:lnTo>
                    <a:lnTo>
                      <a:pt x="4653" y="830"/>
                    </a:lnTo>
                    <a:lnTo>
                      <a:pt x="4629" y="840"/>
                    </a:lnTo>
                    <a:lnTo>
                      <a:pt x="4604" y="847"/>
                    </a:lnTo>
                    <a:lnTo>
                      <a:pt x="4577" y="852"/>
                    </a:lnTo>
                    <a:lnTo>
                      <a:pt x="4550" y="854"/>
                    </a:lnTo>
                    <a:lnTo>
                      <a:pt x="1412" y="854"/>
                    </a:lnTo>
                    <a:lnTo>
                      <a:pt x="1395" y="852"/>
                    </a:lnTo>
                    <a:lnTo>
                      <a:pt x="1378" y="851"/>
                    </a:lnTo>
                    <a:lnTo>
                      <a:pt x="1363" y="847"/>
                    </a:lnTo>
                    <a:lnTo>
                      <a:pt x="1348" y="840"/>
                    </a:lnTo>
                    <a:lnTo>
                      <a:pt x="1333" y="834"/>
                    </a:lnTo>
                    <a:lnTo>
                      <a:pt x="1319" y="827"/>
                    </a:lnTo>
                    <a:lnTo>
                      <a:pt x="1307" y="817"/>
                    </a:lnTo>
                    <a:lnTo>
                      <a:pt x="1295" y="807"/>
                    </a:lnTo>
                    <a:lnTo>
                      <a:pt x="1285" y="796"/>
                    </a:lnTo>
                    <a:lnTo>
                      <a:pt x="1277" y="784"/>
                    </a:lnTo>
                    <a:lnTo>
                      <a:pt x="1268" y="771"/>
                    </a:lnTo>
                    <a:lnTo>
                      <a:pt x="1261" y="757"/>
                    </a:lnTo>
                    <a:lnTo>
                      <a:pt x="1256" y="744"/>
                    </a:lnTo>
                    <a:lnTo>
                      <a:pt x="1251" y="728"/>
                    </a:lnTo>
                    <a:lnTo>
                      <a:pt x="1249" y="713"/>
                    </a:lnTo>
                    <a:lnTo>
                      <a:pt x="1248" y="698"/>
                    </a:lnTo>
                    <a:lnTo>
                      <a:pt x="1248" y="683"/>
                    </a:lnTo>
                    <a:lnTo>
                      <a:pt x="1249" y="666"/>
                    </a:lnTo>
                    <a:lnTo>
                      <a:pt x="1255" y="650"/>
                    </a:lnTo>
                    <a:lnTo>
                      <a:pt x="1260" y="635"/>
                    </a:lnTo>
                    <a:lnTo>
                      <a:pt x="1266" y="618"/>
                    </a:lnTo>
                    <a:lnTo>
                      <a:pt x="1275" y="603"/>
                    </a:lnTo>
                    <a:lnTo>
                      <a:pt x="1287" y="587"/>
                    </a:lnTo>
                    <a:lnTo>
                      <a:pt x="1299" y="572"/>
                    </a:lnTo>
                    <a:lnTo>
                      <a:pt x="1314" y="559"/>
                    </a:lnTo>
                    <a:lnTo>
                      <a:pt x="1331" y="543"/>
                    </a:lnTo>
                    <a:lnTo>
                      <a:pt x="1351" y="531"/>
                    </a:lnTo>
                    <a:lnTo>
                      <a:pt x="1372" y="518"/>
                    </a:lnTo>
                    <a:lnTo>
                      <a:pt x="1395" y="508"/>
                    </a:lnTo>
                    <a:lnTo>
                      <a:pt x="1421" y="496"/>
                    </a:lnTo>
                    <a:lnTo>
                      <a:pt x="1450" y="487"/>
                    </a:lnTo>
                    <a:lnTo>
                      <a:pt x="1480" y="479"/>
                    </a:lnTo>
                    <a:lnTo>
                      <a:pt x="1519" y="470"/>
                    </a:lnTo>
                    <a:lnTo>
                      <a:pt x="1560" y="462"/>
                    </a:lnTo>
                    <a:lnTo>
                      <a:pt x="1603" y="457"/>
                    </a:lnTo>
                    <a:lnTo>
                      <a:pt x="1647" y="452"/>
                    </a:lnTo>
                    <a:lnTo>
                      <a:pt x="1694" y="447"/>
                    </a:lnTo>
                    <a:lnTo>
                      <a:pt x="1743" y="445"/>
                    </a:lnTo>
                    <a:lnTo>
                      <a:pt x="1793" y="443"/>
                    </a:lnTo>
                    <a:lnTo>
                      <a:pt x="1845" y="443"/>
                    </a:lnTo>
                    <a:lnTo>
                      <a:pt x="1917" y="443"/>
                    </a:lnTo>
                    <a:lnTo>
                      <a:pt x="1984" y="448"/>
                    </a:lnTo>
                    <a:lnTo>
                      <a:pt x="2049" y="455"/>
                    </a:lnTo>
                    <a:lnTo>
                      <a:pt x="2110" y="465"/>
                    </a:lnTo>
                    <a:lnTo>
                      <a:pt x="2151" y="448"/>
                    </a:lnTo>
                    <a:lnTo>
                      <a:pt x="2198" y="433"/>
                    </a:lnTo>
                    <a:lnTo>
                      <a:pt x="2248" y="419"/>
                    </a:lnTo>
                    <a:lnTo>
                      <a:pt x="2302" y="408"/>
                    </a:lnTo>
                    <a:lnTo>
                      <a:pt x="2360" y="399"/>
                    </a:lnTo>
                    <a:lnTo>
                      <a:pt x="2421" y="392"/>
                    </a:lnTo>
                    <a:lnTo>
                      <a:pt x="2484" y="389"/>
                    </a:lnTo>
                    <a:lnTo>
                      <a:pt x="2548" y="387"/>
                    </a:lnTo>
                    <a:close/>
                    <a:moveTo>
                      <a:pt x="2015" y="3975"/>
                    </a:moveTo>
                    <a:lnTo>
                      <a:pt x="2015" y="3713"/>
                    </a:lnTo>
                    <a:lnTo>
                      <a:pt x="2151" y="3713"/>
                    </a:lnTo>
                    <a:lnTo>
                      <a:pt x="2151" y="3975"/>
                    </a:lnTo>
                    <a:lnTo>
                      <a:pt x="2015" y="3975"/>
                    </a:lnTo>
                    <a:close/>
                    <a:moveTo>
                      <a:pt x="1659" y="3975"/>
                    </a:moveTo>
                    <a:lnTo>
                      <a:pt x="1659" y="3713"/>
                    </a:lnTo>
                    <a:lnTo>
                      <a:pt x="1794" y="3713"/>
                    </a:lnTo>
                    <a:lnTo>
                      <a:pt x="1794" y="3975"/>
                    </a:lnTo>
                    <a:lnTo>
                      <a:pt x="1659" y="3975"/>
                    </a:lnTo>
                    <a:close/>
                  </a:path>
                </a:pathLst>
              </a:custGeom>
              <a:solidFill>
                <a:srgbClr val="646464"/>
              </a:solidFill>
              <a:ln w="9525">
                <a:noFill/>
                <a:round/>
                <a:headEnd/>
                <a:tailEnd/>
              </a:ln>
            </p:spPr>
            <p:txBody>
              <a:bodyPr/>
              <a:lstStyle/>
              <a:p>
                <a:pPr defTabSz="791108">
                  <a:defRPr/>
                </a:pPr>
                <a:endParaRPr lang="de-DE" sz="1557" kern="0" dirty="0">
                  <a:solidFill>
                    <a:srgbClr val="646464"/>
                  </a:solidFill>
                  <a:latin typeface="+mj-lt"/>
                </a:endParaRPr>
              </a:p>
            </p:txBody>
          </p:sp>
          <p:sp>
            <p:nvSpPr>
              <p:cNvPr id="236" name="Freeform 55"/>
              <p:cNvSpPr>
                <a:spLocks noChangeAspect="1" noEditPoints="1"/>
              </p:cNvSpPr>
              <p:nvPr/>
            </p:nvSpPr>
            <p:spPr bwMode="auto">
              <a:xfrm>
                <a:off x="2105546" y="5508029"/>
                <a:ext cx="366504" cy="207506"/>
              </a:xfrm>
              <a:custGeom>
                <a:avLst/>
                <a:gdLst>
                  <a:gd name="T0" fmla="*/ 2147483647 w 6736"/>
                  <a:gd name="T1" fmla="*/ 2147483647 h 3805"/>
                  <a:gd name="T2" fmla="*/ 2147483647 w 6736"/>
                  <a:gd name="T3" fmla="*/ 2147483647 h 3805"/>
                  <a:gd name="T4" fmla="*/ 2147483647 w 6736"/>
                  <a:gd name="T5" fmla="*/ 2147483647 h 3805"/>
                  <a:gd name="T6" fmla="*/ 2147483647 w 6736"/>
                  <a:gd name="T7" fmla="*/ 2147483647 h 3805"/>
                  <a:gd name="T8" fmla="*/ 2147483647 w 6736"/>
                  <a:gd name="T9" fmla="*/ 2147483647 h 3805"/>
                  <a:gd name="T10" fmla="*/ 2147483647 w 6736"/>
                  <a:gd name="T11" fmla="*/ 2147483647 h 3805"/>
                  <a:gd name="T12" fmla="*/ 2147483647 w 6736"/>
                  <a:gd name="T13" fmla="*/ 2147483647 h 3805"/>
                  <a:gd name="T14" fmla="*/ 2147483647 w 6736"/>
                  <a:gd name="T15" fmla="*/ 2147483647 h 3805"/>
                  <a:gd name="T16" fmla="*/ 2147483647 w 6736"/>
                  <a:gd name="T17" fmla="*/ 2147483647 h 3805"/>
                  <a:gd name="T18" fmla="*/ 2147483647 w 6736"/>
                  <a:gd name="T19" fmla="*/ 2147483647 h 3805"/>
                  <a:gd name="T20" fmla="*/ 2147483647 w 6736"/>
                  <a:gd name="T21" fmla="*/ 2147483647 h 3805"/>
                  <a:gd name="T22" fmla="*/ 2147483647 w 6736"/>
                  <a:gd name="T23" fmla="*/ 2147483647 h 3805"/>
                  <a:gd name="T24" fmla="*/ 2147483647 w 6736"/>
                  <a:gd name="T25" fmla="*/ 2147483647 h 3805"/>
                  <a:gd name="T26" fmla="*/ 2147483647 w 6736"/>
                  <a:gd name="T27" fmla="*/ 2147483647 h 3805"/>
                  <a:gd name="T28" fmla="*/ 2147483647 w 6736"/>
                  <a:gd name="T29" fmla="*/ 2147483647 h 3805"/>
                  <a:gd name="T30" fmla="*/ 2147483647 w 6736"/>
                  <a:gd name="T31" fmla="*/ 2147483647 h 3805"/>
                  <a:gd name="T32" fmla="*/ 2147483647 w 6736"/>
                  <a:gd name="T33" fmla="*/ 2147483647 h 3805"/>
                  <a:gd name="T34" fmla="*/ 2147483647 w 6736"/>
                  <a:gd name="T35" fmla="*/ 2147483647 h 3805"/>
                  <a:gd name="T36" fmla="*/ 2147483647 w 6736"/>
                  <a:gd name="T37" fmla="*/ 2147483647 h 3805"/>
                  <a:gd name="T38" fmla="*/ 2147483647 w 6736"/>
                  <a:gd name="T39" fmla="*/ 2147483647 h 3805"/>
                  <a:gd name="T40" fmla="*/ 2147483647 w 6736"/>
                  <a:gd name="T41" fmla="*/ 2147483647 h 3805"/>
                  <a:gd name="T42" fmla="*/ 2147483647 w 6736"/>
                  <a:gd name="T43" fmla="*/ 2147483647 h 3805"/>
                  <a:gd name="T44" fmla="*/ 2147483647 w 6736"/>
                  <a:gd name="T45" fmla="*/ 2147483647 h 3805"/>
                  <a:gd name="T46" fmla="*/ 2147483647 w 6736"/>
                  <a:gd name="T47" fmla="*/ 2147483647 h 3805"/>
                  <a:gd name="T48" fmla="*/ 2147483647 w 6736"/>
                  <a:gd name="T49" fmla="*/ 2147483647 h 3805"/>
                  <a:gd name="T50" fmla="*/ 2147483647 w 6736"/>
                  <a:gd name="T51" fmla="*/ 2147483647 h 3805"/>
                  <a:gd name="T52" fmla="*/ 2147483647 w 6736"/>
                  <a:gd name="T53" fmla="*/ 2147483647 h 3805"/>
                  <a:gd name="T54" fmla="*/ 2147483647 w 6736"/>
                  <a:gd name="T55" fmla="*/ 2147483647 h 3805"/>
                  <a:gd name="T56" fmla="*/ 2147483647 w 6736"/>
                  <a:gd name="T57" fmla="*/ 2147483647 h 3805"/>
                  <a:gd name="T58" fmla="*/ 2147483647 w 6736"/>
                  <a:gd name="T59" fmla="*/ 2147483647 h 3805"/>
                  <a:gd name="T60" fmla="*/ 2147483647 w 6736"/>
                  <a:gd name="T61" fmla="*/ 2147483647 h 3805"/>
                  <a:gd name="T62" fmla="*/ 2147483647 w 6736"/>
                  <a:gd name="T63" fmla="*/ 2147483647 h 3805"/>
                  <a:gd name="T64" fmla="*/ 2147483647 w 6736"/>
                  <a:gd name="T65" fmla="*/ 2147483647 h 3805"/>
                  <a:gd name="T66" fmla="*/ 2147483647 w 6736"/>
                  <a:gd name="T67" fmla="*/ 2147483647 h 3805"/>
                  <a:gd name="T68" fmla="*/ 2147483647 w 6736"/>
                  <a:gd name="T69" fmla="*/ 2147483647 h 3805"/>
                  <a:gd name="T70" fmla="*/ 2147483647 w 6736"/>
                  <a:gd name="T71" fmla="*/ 2147483647 h 3805"/>
                  <a:gd name="T72" fmla="*/ 2147483647 w 6736"/>
                  <a:gd name="T73" fmla="*/ 2147483647 h 3805"/>
                  <a:gd name="T74" fmla="*/ 2147483647 w 6736"/>
                  <a:gd name="T75" fmla="*/ 2147483647 h 3805"/>
                  <a:gd name="T76" fmla="*/ 2147483647 w 6736"/>
                  <a:gd name="T77" fmla="*/ 2147483647 h 3805"/>
                  <a:gd name="T78" fmla="*/ 2147483647 w 6736"/>
                  <a:gd name="T79" fmla="*/ 2147483647 h 3805"/>
                  <a:gd name="T80" fmla="*/ 2147483647 w 6736"/>
                  <a:gd name="T81" fmla="*/ 2147483647 h 3805"/>
                  <a:gd name="T82" fmla="*/ 2147483647 w 6736"/>
                  <a:gd name="T83" fmla="*/ 2147483647 h 3805"/>
                  <a:gd name="T84" fmla="*/ 2147483647 w 6736"/>
                  <a:gd name="T85" fmla="*/ 2147483647 h 3805"/>
                  <a:gd name="T86" fmla="*/ 2147483647 w 6736"/>
                  <a:gd name="T87" fmla="*/ 2147483647 h 3805"/>
                  <a:gd name="T88" fmla="*/ 2147483647 w 6736"/>
                  <a:gd name="T89" fmla="*/ 2147483647 h 3805"/>
                  <a:gd name="T90" fmla="*/ 2147483647 w 6736"/>
                  <a:gd name="T91" fmla="*/ 2147483647 h 3805"/>
                  <a:gd name="T92" fmla="*/ 2147483647 w 6736"/>
                  <a:gd name="T93" fmla="*/ 2147483647 h 3805"/>
                  <a:gd name="T94" fmla="*/ 2147483647 w 6736"/>
                  <a:gd name="T95" fmla="*/ 2147483647 h 3805"/>
                  <a:gd name="T96" fmla="*/ 2147483647 w 6736"/>
                  <a:gd name="T97" fmla="*/ 2147483647 h 3805"/>
                  <a:gd name="T98" fmla="*/ 2147483647 w 6736"/>
                  <a:gd name="T99" fmla="*/ 2147483647 h 3805"/>
                  <a:gd name="T100" fmla="*/ 2147483647 w 6736"/>
                  <a:gd name="T101" fmla="*/ 2147483647 h 3805"/>
                  <a:gd name="T102" fmla="*/ 2147483647 w 6736"/>
                  <a:gd name="T103" fmla="*/ 2147483647 h 3805"/>
                  <a:gd name="T104" fmla="*/ 2147483647 w 6736"/>
                  <a:gd name="T105" fmla="*/ 2147483647 h 3805"/>
                  <a:gd name="T106" fmla="*/ 2147483647 w 6736"/>
                  <a:gd name="T107" fmla="*/ 2147483647 h 3805"/>
                  <a:gd name="T108" fmla="*/ 2147483647 w 6736"/>
                  <a:gd name="T109" fmla="*/ 2147483647 h 3805"/>
                  <a:gd name="T110" fmla="*/ 2147483647 w 6736"/>
                  <a:gd name="T111" fmla="*/ 2147483647 h 3805"/>
                  <a:gd name="T112" fmla="*/ 2147483647 w 6736"/>
                  <a:gd name="T113" fmla="*/ 2147483647 h 3805"/>
                  <a:gd name="T114" fmla="*/ 2147483647 w 6736"/>
                  <a:gd name="T115" fmla="*/ 2147483647 h 3805"/>
                  <a:gd name="T116" fmla="*/ 2147483647 w 6736"/>
                  <a:gd name="T117" fmla="*/ 2147483647 h 3805"/>
                  <a:gd name="T118" fmla="*/ 2147483647 w 6736"/>
                  <a:gd name="T119" fmla="*/ 2147483647 h 3805"/>
                  <a:gd name="T120" fmla="*/ 2147483647 w 6736"/>
                  <a:gd name="T121" fmla="*/ 2147483647 h 3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736"/>
                  <a:gd name="T184" fmla="*/ 0 h 3805"/>
                  <a:gd name="T185" fmla="*/ 6736 w 6736"/>
                  <a:gd name="T186" fmla="*/ 3805 h 3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736" h="3805">
                    <a:moveTo>
                      <a:pt x="1869" y="521"/>
                    </a:moveTo>
                    <a:lnTo>
                      <a:pt x="1869" y="550"/>
                    </a:lnTo>
                    <a:lnTo>
                      <a:pt x="1871" y="578"/>
                    </a:lnTo>
                    <a:lnTo>
                      <a:pt x="1874" y="605"/>
                    </a:lnTo>
                    <a:lnTo>
                      <a:pt x="1880" y="632"/>
                    </a:lnTo>
                    <a:lnTo>
                      <a:pt x="1889" y="657"/>
                    </a:lnTo>
                    <a:lnTo>
                      <a:pt x="1898" y="680"/>
                    </a:lnTo>
                    <a:lnTo>
                      <a:pt x="1910" y="701"/>
                    </a:lnTo>
                    <a:lnTo>
                      <a:pt x="1924" y="723"/>
                    </a:lnTo>
                    <a:lnTo>
                      <a:pt x="1939" y="742"/>
                    </a:lnTo>
                    <a:lnTo>
                      <a:pt x="1956" y="758"/>
                    </a:lnTo>
                    <a:lnTo>
                      <a:pt x="1974" y="774"/>
                    </a:lnTo>
                    <a:lnTo>
                      <a:pt x="1994" y="787"/>
                    </a:lnTo>
                    <a:lnTo>
                      <a:pt x="2013" y="799"/>
                    </a:lnTo>
                    <a:lnTo>
                      <a:pt x="2035" y="806"/>
                    </a:lnTo>
                    <a:lnTo>
                      <a:pt x="2058" y="813"/>
                    </a:lnTo>
                    <a:lnTo>
                      <a:pt x="2081" y="817"/>
                    </a:lnTo>
                    <a:lnTo>
                      <a:pt x="2104" y="819"/>
                    </a:lnTo>
                    <a:lnTo>
                      <a:pt x="2127" y="817"/>
                    </a:lnTo>
                    <a:lnTo>
                      <a:pt x="2149" y="813"/>
                    </a:lnTo>
                    <a:lnTo>
                      <a:pt x="2170" y="808"/>
                    </a:lnTo>
                    <a:lnTo>
                      <a:pt x="2191" y="799"/>
                    </a:lnTo>
                    <a:lnTo>
                      <a:pt x="2213" y="788"/>
                    </a:lnTo>
                    <a:lnTo>
                      <a:pt x="2230" y="776"/>
                    </a:lnTo>
                    <a:lnTo>
                      <a:pt x="2248" y="762"/>
                    </a:lnTo>
                    <a:lnTo>
                      <a:pt x="2266" y="746"/>
                    </a:lnTo>
                    <a:lnTo>
                      <a:pt x="2166" y="521"/>
                    </a:lnTo>
                    <a:lnTo>
                      <a:pt x="2410" y="521"/>
                    </a:lnTo>
                    <a:lnTo>
                      <a:pt x="2410" y="550"/>
                    </a:lnTo>
                    <a:lnTo>
                      <a:pt x="2409" y="584"/>
                    </a:lnTo>
                    <a:lnTo>
                      <a:pt x="2403" y="618"/>
                    </a:lnTo>
                    <a:lnTo>
                      <a:pt x="2396" y="650"/>
                    </a:lnTo>
                    <a:lnTo>
                      <a:pt x="2387" y="680"/>
                    </a:lnTo>
                    <a:lnTo>
                      <a:pt x="2375" y="710"/>
                    </a:lnTo>
                    <a:lnTo>
                      <a:pt x="2359" y="739"/>
                    </a:lnTo>
                    <a:lnTo>
                      <a:pt x="2341" y="765"/>
                    </a:lnTo>
                    <a:lnTo>
                      <a:pt x="2321" y="788"/>
                    </a:lnTo>
                    <a:lnTo>
                      <a:pt x="2300" y="812"/>
                    </a:lnTo>
                    <a:lnTo>
                      <a:pt x="2277" y="831"/>
                    </a:lnTo>
                    <a:lnTo>
                      <a:pt x="2252" y="849"/>
                    </a:lnTo>
                    <a:lnTo>
                      <a:pt x="2225" y="863"/>
                    </a:lnTo>
                    <a:lnTo>
                      <a:pt x="2197" y="874"/>
                    </a:lnTo>
                    <a:lnTo>
                      <a:pt x="2166" y="883"/>
                    </a:lnTo>
                    <a:lnTo>
                      <a:pt x="2136" y="888"/>
                    </a:lnTo>
                    <a:lnTo>
                      <a:pt x="2104" y="890"/>
                    </a:lnTo>
                    <a:lnTo>
                      <a:pt x="2072" y="888"/>
                    </a:lnTo>
                    <a:lnTo>
                      <a:pt x="2042" y="883"/>
                    </a:lnTo>
                    <a:lnTo>
                      <a:pt x="2012" y="874"/>
                    </a:lnTo>
                    <a:lnTo>
                      <a:pt x="1983" y="863"/>
                    </a:lnTo>
                    <a:lnTo>
                      <a:pt x="1956" y="849"/>
                    </a:lnTo>
                    <a:lnTo>
                      <a:pt x="1931" y="831"/>
                    </a:lnTo>
                    <a:lnTo>
                      <a:pt x="1908" y="812"/>
                    </a:lnTo>
                    <a:lnTo>
                      <a:pt x="1887" y="788"/>
                    </a:lnTo>
                    <a:lnTo>
                      <a:pt x="1867" y="765"/>
                    </a:lnTo>
                    <a:lnTo>
                      <a:pt x="1850" y="739"/>
                    </a:lnTo>
                    <a:lnTo>
                      <a:pt x="1834" y="710"/>
                    </a:lnTo>
                    <a:lnTo>
                      <a:pt x="1821" y="680"/>
                    </a:lnTo>
                    <a:lnTo>
                      <a:pt x="1812" y="650"/>
                    </a:lnTo>
                    <a:lnTo>
                      <a:pt x="1803" y="618"/>
                    </a:lnTo>
                    <a:lnTo>
                      <a:pt x="1800" y="584"/>
                    </a:lnTo>
                    <a:lnTo>
                      <a:pt x="1798" y="550"/>
                    </a:lnTo>
                    <a:lnTo>
                      <a:pt x="1798" y="521"/>
                    </a:lnTo>
                    <a:lnTo>
                      <a:pt x="1869" y="521"/>
                    </a:lnTo>
                    <a:close/>
                    <a:moveTo>
                      <a:pt x="2732" y="1420"/>
                    </a:moveTo>
                    <a:lnTo>
                      <a:pt x="2732" y="1420"/>
                    </a:lnTo>
                    <a:lnTo>
                      <a:pt x="2731" y="1410"/>
                    </a:lnTo>
                    <a:lnTo>
                      <a:pt x="2729" y="1399"/>
                    </a:lnTo>
                    <a:lnTo>
                      <a:pt x="2725" y="1388"/>
                    </a:lnTo>
                    <a:lnTo>
                      <a:pt x="2720" y="1377"/>
                    </a:lnTo>
                    <a:lnTo>
                      <a:pt x="2704" y="1354"/>
                    </a:lnTo>
                    <a:lnTo>
                      <a:pt x="2684" y="1329"/>
                    </a:lnTo>
                    <a:lnTo>
                      <a:pt x="2660" y="1306"/>
                    </a:lnTo>
                    <a:lnTo>
                      <a:pt x="2631" y="1283"/>
                    </a:lnTo>
                    <a:lnTo>
                      <a:pt x="2601" y="1262"/>
                    </a:lnTo>
                    <a:lnTo>
                      <a:pt x="2565" y="1240"/>
                    </a:lnTo>
                    <a:lnTo>
                      <a:pt x="2465" y="1185"/>
                    </a:lnTo>
                    <a:lnTo>
                      <a:pt x="2465" y="1310"/>
                    </a:lnTo>
                    <a:lnTo>
                      <a:pt x="2465" y="1853"/>
                    </a:lnTo>
                    <a:lnTo>
                      <a:pt x="1905" y="1694"/>
                    </a:lnTo>
                    <a:lnTo>
                      <a:pt x="1905" y="2093"/>
                    </a:lnTo>
                    <a:lnTo>
                      <a:pt x="2261" y="2283"/>
                    </a:lnTo>
                    <a:lnTo>
                      <a:pt x="2303" y="2305"/>
                    </a:lnTo>
                    <a:lnTo>
                      <a:pt x="2346" y="2323"/>
                    </a:lnTo>
                    <a:lnTo>
                      <a:pt x="2389" y="2339"/>
                    </a:lnTo>
                    <a:lnTo>
                      <a:pt x="2430" y="2351"/>
                    </a:lnTo>
                    <a:lnTo>
                      <a:pt x="2471" y="2360"/>
                    </a:lnTo>
                    <a:lnTo>
                      <a:pt x="2490" y="2363"/>
                    </a:lnTo>
                    <a:lnTo>
                      <a:pt x="2510" y="2365"/>
                    </a:lnTo>
                    <a:lnTo>
                      <a:pt x="2528" y="2365"/>
                    </a:lnTo>
                    <a:lnTo>
                      <a:pt x="2547" y="2363"/>
                    </a:lnTo>
                    <a:lnTo>
                      <a:pt x="2563" y="2362"/>
                    </a:lnTo>
                    <a:lnTo>
                      <a:pt x="2581" y="2358"/>
                    </a:lnTo>
                    <a:lnTo>
                      <a:pt x="2597" y="2353"/>
                    </a:lnTo>
                    <a:lnTo>
                      <a:pt x="2613" y="2346"/>
                    </a:lnTo>
                    <a:lnTo>
                      <a:pt x="2629" y="2339"/>
                    </a:lnTo>
                    <a:lnTo>
                      <a:pt x="2643" y="2328"/>
                    </a:lnTo>
                    <a:lnTo>
                      <a:pt x="2656" y="2317"/>
                    </a:lnTo>
                    <a:lnTo>
                      <a:pt x="2668" y="2303"/>
                    </a:lnTo>
                    <a:lnTo>
                      <a:pt x="2681" y="2289"/>
                    </a:lnTo>
                    <a:lnTo>
                      <a:pt x="2690" y="2273"/>
                    </a:lnTo>
                    <a:lnTo>
                      <a:pt x="2700" y="2253"/>
                    </a:lnTo>
                    <a:lnTo>
                      <a:pt x="2708" y="2232"/>
                    </a:lnTo>
                    <a:lnTo>
                      <a:pt x="2715" y="2210"/>
                    </a:lnTo>
                    <a:lnTo>
                      <a:pt x="2722" y="2185"/>
                    </a:lnTo>
                    <a:lnTo>
                      <a:pt x="2725" y="2159"/>
                    </a:lnTo>
                    <a:lnTo>
                      <a:pt x="2729" y="2129"/>
                    </a:lnTo>
                    <a:lnTo>
                      <a:pt x="2732" y="2098"/>
                    </a:lnTo>
                    <a:lnTo>
                      <a:pt x="2732" y="2064"/>
                    </a:lnTo>
                    <a:lnTo>
                      <a:pt x="2732" y="1420"/>
                    </a:lnTo>
                    <a:close/>
                    <a:moveTo>
                      <a:pt x="867" y="1652"/>
                    </a:moveTo>
                    <a:lnTo>
                      <a:pt x="1121" y="1652"/>
                    </a:lnTo>
                    <a:lnTo>
                      <a:pt x="1121" y="1639"/>
                    </a:lnTo>
                    <a:lnTo>
                      <a:pt x="1118" y="1627"/>
                    </a:lnTo>
                    <a:lnTo>
                      <a:pt x="1114" y="1614"/>
                    </a:lnTo>
                    <a:lnTo>
                      <a:pt x="1111" y="1604"/>
                    </a:lnTo>
                    <a:lnTo>
                      <a:pt x="1105" y="1593"/>
                    </a:lnTo>
                    <a:lnTo>
                      <a:pt x="1098" y="1582"/>
                    </a:lnTo>
                    <a:lnTo>
                      <a:pt x="1091" y="1571"/>
                    </a:lnTo>
                    <a:lnTo>
                      <a:pt x="1082" y="1563"/>
                    </a:lnTo>
                    <a:lnTo>
                      <a:pt x="1073" y="1555"/>
                    </a:lnTo>
                    <a:lnTo>
                      <a:pt x="1065" y="1548"/>
                    </a:lnTo>
                    <a:lnTo>
                      <a:pt x="1054" y="1541"/>
                    </a:lnTo>
                    <a:lnTo>
                      <a:pt x="1043" y="1536"/>
                    </a:lnTo>
                    <a:lnTo>
                      <a:pt x="1031" y="1532"/>
                    </a:lnTo>
                    <a:lnTo>
                      <a:pt x="1020" y="1529"/>
                    </a:lnTo>
                    <a:lnTo>
                      <a:pt x="1008" y="1527"/>
                    </a:lnTo>
                    <a:lnTo>
                      <a:pt x="993" y="1527"/>
                    </a:lnTo>
                    <a:lnTo>
                      <a:pt x="981" y="1527"/>
                    </a:lnTo>
                    <a:lnTo>
                      <a:pt x="968" y="1529"/>
                    </a:lnTo>
                    <a:lnTo>
                      <a:pt x="956" y="1532"/>
                    </a:lnTo>
                    <a:lnTo>
                      <a:pt x="945" y="1536"/>
                    </a:lnTo>
                    <a:lnTo>
                      <a:pt x="935" y="1541"/>
                    </a:lnTo>
                    <a:lnTo>
                      <a:pt x="924" y="1548"/>
                    </a:lnTo>
                    <a:lnTo>
                      <a:pt x="913" y="1555"/>
                    </a:lnTo>
                    <a:lnTo>
                      <a:pt x="904" y="1563"/>
                    </a:lnTo>
                    <a:lnTo>
                      <a:pt x="897" y="1571"/>
                    </a:lnTo>
                    <a:lnTo>
                      <a:pt x="888" y="1582"/>
                    </a:lnTo>
                    <a:lnTo>
                      <a:pt x="883" y="1593"/>
                    </a:lnTo>
                    <a:lnTo>
                      <a:pt x="878" y="1604"/>
                    </a:lnTo>
                    <a:lnTo>
                      <a:pt x="872" y="1614"/>
                    </a:lnTo>
                    <a:lnTo>
                      <a:pt x="869" y="1627"/>
                    </a:lnTo>
                    <a:lnTo>
                      <a:pt x="867" y="1639"/>
                    </a:lnTo>
                    <a:lnTo>
                      <a:pt x="867" y="1652"/>
                    </a:lnTo>
                    <a:close/>
                    <a:moveTo>
                      <a:pt x="725" y="2500"/>
                    </a:moveTo>
                    <a:lnTo>
                      <a:pt x="725" y="1655"/>
                    </a:lnTo>
                    <a:lnTo>
                      <a:pt x="725" y="1652"/>
                    </a:lnTo>
                    <a:lnTo>
                      <a:pt x="725" y="1625"/>
                    </a:lnTo>
                    <a:lnTo>
                      <a:pt x="730" y="1598"/>
                    </a:lnTo>
                    <a:lnTo>
                      <a:pt x="737" y="1571"/>
                    </a:lnTo>
                    <a:lnTo>
                      <a:pt x="746" y="1548"/>
                    </a:lnTo>
                    <a:lnTo>
                      <a:pt x="757" y="1523"/>
                    </a:lnTo>
                    <a:lnTo>
                      <a:pt x="771" y="1502"/>
                    </a:lnTo>
                    <a:lnTo>
                      <a:pt x="787" y="1481"/>
                    </a:lnTo>
                    <a:lnTo>
                      <a:pt x="805" y="1463"/>
                    </a:lnTo>
                    <a:lnTo>
                      <a:pt x="822" y="1445"/>
                    </a:lnTo>
                    <a:lnTo>
                      <a:pt x="844" y="1429"/>
                    </a:lnTo>
                    <a:lnTo>
                      <a:pt x="865" y="1417"/>
                    </a:lnTo>
                    <a:lnTo>
                      <a:pt x="890" y="1406"/>
                    </a:lnTo>
                    <a:lnTo>
                      <a:pt x="913" y="1397"/>
                    </a:lnTo>
                    <a:lnTo>
                      <a:pt x="940" y="1390"/>
                    </a:lnTo>
                    <a:lnTo>
                      <a:pt x="967" y="1386"/>
                    </a:lnTo>
                    <a:lnTo>
                      <a:pt x="993" y="1385"/>
                    </a:lnTo>
                    <a:lnTo>
                      <a:pt x="1022" y="1386"/>
                    </a:lnTo>
                    <a:lnTo>
                      <a:pt x="1048" y="1390"/>
                    </a:lnTo>
                    <a:lnTo>
                      <a:pt x="1073" y="1397"/>
                    </a:lnTo>
                    <a:lnTo>
                      <a:pt x="1098" y="1406"/>
                    </a:lnTo>
                    <a:lnTo>
                      <a:pt x="1121" y="1417"/>
                    </a:lnTo>
                    <a:lnTo>
                      <a:pt x="1145" y="1429"/>
                    </a:lnTo>
                    <a:lnTo>
                      <a:pt x="1164" y="1445"/>
                    </a:lnTo>
                    <a:lnTo>
                      <a:pt x="1184" y="1463"/>
                    </a:lnTo>
                    <a:lnTo>
                      <a:pt x="1202" y="1481"/>
                    </a:lnTo>
                    <a:lnTo>
                      <a:pt x="1218" y="1502"/>
                    </a:lnTo>
                    <a:lnTo>
                      <a:pt x="1230" y="1523"/>
                    </a:lnTo>
                    <a:lnTo>
                      <a:pt x="1243" y="1548"/>
                    </a:lnTo>
                    <a:lnTo>
                      <a:pt x="1251" y="1571"/>
                    </a:lnTo>
                    <a:lnTo>
                      <a:pt x="1259" y="1598"/>
                    </a:lnTo>
                    <a:lnTo>
                      <a:pt x="1262" y="1625"/>
                    </a:lnTo>
                    <a:lnTo>
                      <a:pt x="1264" y="1652"/>
                    </a:lnTo>
                    <a:lnTo>
                      <a:pt x="1513" y="1652"/>
                    </a:lnTo>
                    <a:lnTo>
                      <a:pt x="1712" y="1310"/>
                    </a:lnTo>
                    <a:lnTo>
                      <a:pt x="1712" y="1167"/>
                    </a:lnTo>
                    <a:lnTo>
                      <a:pt x="1565" y="1255"/>
                    </a:lnTo>
                    <a:lnTo>
                      <a:pt x="1536" y="1274"/>
                    </a:lnTo>
                    <a:lnTo>
                      <a:pt x="1508" y="1296"/>
                    </a:lnTo>
                    <a:lnTo>
                      <a:pt x="1485" y="1317"/>
                    </a:lnTo>
                    <a:lnTo>
                      <a:pt x="1463" y="1340"/>
                    </a:lnTo>
                    <a:lnTo>
                      <a:pt x="1445" y="1361"/>
                    </a:lnTo>
                    <a:lnTo>
                      <a:pt x="1431" y="1383"/>
                    </a:lnTo>
                    <a:lnTo>
                      <a:pt x="1426" y="1394"/>
                    </a:lnTo>
                    <a:lnTo>
                      <a:pt x="1422" y="1402"/>
                    </a:lnTo>
                    <a:lnTo>
                      <a:pt x="1419" y="1413"/>
                    </a:lnTo>
                    <a:lnTo>
                      <a:pt x="1419" y="1424"/>
                    </a:lnTo>
                    <a:lnTo>
                      <a:pt x="1413" y="1500"/>
                    </a:lnTo>
                    <a:lnTo>
                      <a:pt x="1271" y="1500"/>
                    </a:lnTo>
                    <a:lnTo>
                      <a:pt x="1276" y="1415"/>
                    </a:lnTo>
                    <a:lnTo>
                      <a:pt x="1278" y="1395"/>
                    </a:lnTo>
                    <a:lnTo>
                      <a:pt x="1282" y="1374"/>
                    </a:lnTo>
                    <a:lnTo>
                      <a:pt x="1289" y="1354"/>
                    </a:lnTo>
                    <a:lnTo>
                      <a:pt x="1296" y="1335"/>
                    </a:lnTo>
                    <a:lnTo>
                      <a:pt x="1305" y="1317"/>
                    </a:lnTo>
                    <a:lnTo>
                      <a:pt x="1316" y="1299"/>
                    </a:lnTo>
                    <a:lnTo>
                      <a:pt x="1328" y="1280"/>
                    </a:lnTo>
                    <a:lnTo>
                      <a:pt x="1342" y="1262"/>
                    </a:lnTo>
                    <a:lnTo>
                      <a:pt x="1356" y="1246"/>
                    </a:lnTo>
                    <a:lnTo>
                      <a:pt x="1372" y="1228"/>
                    </a:lnTo>
                    <a:lnTo>
                      <a:pt x="1406" y="1196"/>
                    </a:lnTo>
                    <a:lnTo>
                      <a:pt x="1444" y="1166"/>
                    </a:lnTo>
                    <a:lnTo>
                      <a:pt x="1485" y="1137"/>
                    </a:lnTo>
                    <a:lnTo>
                      <a:pt x="1712" y="1004"/>
                    </a:lnTo>
                    <a:lnTo>
                      <a:pt x="1712" y="941"/>
                    </a:lnTo>
                    <a:lnTo>
                      <a:pt x="1887" y="906"/>
                    </a:lnTo>
                    <a:lnTo>
                      <a:pt x="1887" y="1310"/>
                    </a:lnTo>
                    <a:lnTo>
                      <a:pt x="2291" y="1310"/>
                    </a:lnTo>
                    <a:lnTo>
                      <a:pt x="2291" y="906"/>
                    </a:lnTo>
                    <a:lnTo>
                      <a:pt x="2465" y="941"/>
                    </a:lnTo>
                    <a:lnTo>
                      <a:pt x="2465" y="1018"/>
                    </a:lnTo>
                    <a:lnTo>
                      <a:pt x="2635" y="1114"/>
                    </a:lnTo>
                    <a:lnTo>
                      <a:pt x="2683" y="1144"/>
                    </a:lnTo>
                    <a:lnTo>
                      <a:pt x="2704" y="1160"/>
                    </a:lnTo>
                    <a:lnTo>
                      <a:pt x="2727" y="1176"/>
                    </a:lnTo>
                    <a:lnTo>
                      <a:pt x="2747" y="1194"/>
                    </a:lnTo>
                    <a:lnTo>
                      <a:pt x="2768" y="1212"/>
                    </a:lnTo>
                    <a:lnTo>
                      <a:pt x="2786" y="1230"/>
                    </a:lnTo>
                    <a:lnTo>
                      <a:pt x="2804" y="1249"/>
                    </a:lnTo>
                    <a:lnTo>
                      <a:pt x="2818" y="1269"/>
                    </a:lnTo>
                    <a:lnTo>
                      <a:pt x="2832" y="1290"/>
                    </a:lnTo>
                    <a:lnTo>
                      <a:pt x="2845" y="1310"/>
                    </a:lnTo>
                    <a:lnTo>
                      <a:pt x="2855" y="1331"/>
                    </a:lnTo>
                    <a:lnTo>
                      <a:pt x="2864" y="1353"/>
                    </a:lnTo>
                    <a:lnTo>
                      <a:pt x="2870" y="1376"/>
                    </a:lnTo>
                    <a:lnTo>
                      <a:pt x="2873" y="1397"/>
                    </a:lnTo>
                    <a:lnTo>
                      <a:pt x="2875" y="1420"/>
                    </a:lnTo>
                    <a:lnTo>
                      <a:pt x="2875" y="2064"/>
                    </a:lnTo>
                    <a:lnTo>
                      <a:pt x="2875" y="2100"/>
                    </a:lnTo>
                    <a:lnTo>
                      <a:pt x="2873" y="2132"/>
                    </a:lnTo>
                    <a:lnTo>
                      <a:pt x="2870" y="2164"/>
                    </a:lnTo>
                    <a:lnTo>
                      <a:pt x="2866" y="2193"/>
                    </a:lnTo>
                    <a:lnTo>
                      <a:pt x="2862" y="2221"/>
                    </a:lnTo>
                    <a:lnTo>
                      <a:pt x="2857" y="2246"/>
                    </a:lnTo>
                    <a:lnTo>
                      <a:pt x="2850" y="2271"/>
                    </a:lnTo>
                    <a:lnTo>
                      <a:pt x="2843" y="2294"/>
                    </a:lnTo>
                    <a:lnTo>
                      <a:pt x="2834" y="2315"/>
                    </a:lnTo>
                    <a:lnTo>
                      <a:pt x="2825" y="2335"/>
                    </a:lnTo>
                    <a:lnTo>
                      <a:pt x="2816" y="2353"/>
                    </a:lnTo>
                    <a:lnTo>
                      <a:pt x="2805" y="2371"/>
                    </a:lnTo>
                    <a:lnTo>
                      <a:pt x="2795" y="2385"/>
                    </a:lnTo>
                    <a:lnTo>
                      <a:pt x="2782" y="2399"/>
                    </a:lnTo>
                    <a:lnTo>
                      <a:pt x="2770" y="2413"/>
                    </a:lnTo>
                    <a:lnTo>
                      <a:pt x="2756" y="2424"/>
                    </a:lnTo>
                    <a:lnTo>
                      <a:pt x="2741" y="2436"/>
                    </a:lnTo>
                    <a:lnTo>
                      <a:pt x="2727" y="2445"/>
                    </a:lnTo>
                    <a:lnTo>
                      <a:pt x="2711" y="2454"/>
                    </a:lnTo>
                    <a:lnTo>
                      <a:pt x="2695" y="2461"/>
                    </a:lnTo>
                    <a:lnTo>
                      <a:pt x="2661" y="2476"/>
                    </a:lnTo>
                    <a:lnTo>
                      <a:pt x="2626" y="2484"/>
                    </a:lnTo>
                    <a:lnTo>
                      <a:pt x="2588" y="2492"/>
                    </a:lnTo>
                    <a:lnTo>
                      <a:pt x="2549" y="2497"/>
                    </a:lnTo>
                    <a:lnTo>
                      <a:pt x="2508" y="2499"/>
                    </a:lnTo>
                    <a:lnTo>
                      <a:pt x="2465" y="2500"/>
                    </a:lnTo>
                    <a:lnTo>
                      <a:pt x="725" y="2500"/>
                    </a:lnTo>
                    <a:close/>
                    <a:moveTo>
                      <a:pt x="1572" y="1725"/>
                    </a:moveTo>
                    <a:lnTo>
                      <a:pt x="1572" y="2123"/>
                    </a:lnTo>
                    <a:lnTo>
                      <a:pt x="1593" y="2121"/>
                    </a:lnTo>
                    <a:lnTo>
                      <a:pt x="1613" y="2118"/>
                    </a:lnTo>
                    <a:lnTo>
                      <a:pt x="1631" y="2113"/>
                    </a:lnTo>
                    <a:lnTo>
                      <a:pt x="1648" y="2105"/>
                    </a:lnTo>
                    <a:lnTo>
                      <a:pt x="1666" y="2098"/>
                    </a:lnTo>
                    <a:lnTo>
                      <a:pt x="1682" y="2088"/>
                    </a:lnTo>
                    <a:lnTo>
                      <a:pt x="1696" y="2077"/>
                    </a:lnTo>
                    <a:lnTo>
                      <a:pt x="1711" y="2063"/>
                    </a:lnTo>
                    <a:lnTo>
                      <a:pt x="1723" y="2048"/>
                    </a:lnTo>
                    <a:lnTo>
                      <a:pt x="1734" y="2034"/>
                    </a:lnTo>
                    <a:lnTo>
                      <a:pt x="1745" y="2018"/>
                    </a:lnTo>
                    <a:lnTo>
                      <a:pt x="1752" y="2000"/>
                    </a:lnTo>
                    <a:lnTo>
                      <a:pt x="1759" y="1983"/>
                    </a:lnTo>
                    <a:lnTo>
                      <a:pt x="1764" y="1963"/>
                    </a:lnTo>
                    <a:lnTo>
                      <a:pt x="1766" y="1943"/>
                    </a:lnTo>
                    <a:lnTo>
                      <a:pt x="1768" y="1924"/>
                    </a:lnTo>
                    <a:lnTo>
                      <a:pt x="1766" y="1904"/>
                    </a:lnTo>
                    <a:lnTo>
                      <a:pt x="1764" y="1885"/>
                    </a:lnTo>
                    <a:lnTo>
                      <a:pt x="1759" y="1865"/>
                    </a:lnTo>
                    <a:lnTo>
                      <a:pt x="1752" y="1847"/>
                    </a:lnTo>
                    <a:lnTo>
                      <a:pt x="1745" y="1831"/>
                    </a:lnTo>
                    <a:lnTo>
                      <a:pt x="1734" y="1814"/>
                    </a:lnTo>
                    <a:lnTo>
                      <a:pt x="1723" y="1799"/>
                    </a:lnTo>
                    <a:lnTo>
                      <a:pt x="1711" y="1785"/>
                    </a:lnTo>
                    <a:lnTo>
                      <a:pt x="1696" y="1773"/>
                    </a:lnTo>
                    <a:lnTo>
                      <a:pt x="1682" y="1760"/>
                    </a:lnTo>
                    <a:lnTo>
                      <a:pt x="1666" y="1751"/>
                    </a:lnTo>
                    <a:lnTo>
                      <a:pt x="1648" y="1742"/>
                    </a:lnTo>
                    <a:lnTo>
                      <a:pt x="1631" y="1735"/>
                    </a:lnTo>
                    <a:lnTo>
                      <a:pt x="1613" y="1730"/>
                    </a:lnTo>
                    <a:lnTo>
                      <a:pt x="1593" y="1726"/>
                    </a:lnTo>
                    <a:lnTo>
                      <a:pt x="1572" y="1725"/>
                    </a:lnTo>
                    <a:close/>
                    <a:moveTo>
                      <a:pt x="1429" y="1794"/>
                    </a:moveTo>
                    <a:lnTo>
                      <a:pt x="867" y="1794"/>
                    </a:lnTo>
                    <a:lnTo>
                      <a:pt x="867" y="2358"/>
                    </a:lnTo>
                    <a:lnTo>
                      <a:pt x="1429" y="2358"/>
                    </a:lnTo>
                    <a:lnTo>
                      <a:pt x="1429" y="1794"/>
                    </a:lnTo>
                    <a:close/>
                    <a:moveTo>
                      <a:pt x="3987" y="520"/>
                    </a:moveTo>
                    <a:lnTo>
                      <a:pt x="3987" y="548"/>
                    </a:lnTo>
                    <a:lnTo>
                      <a:pt x="3989" y="577"/>
                    </a:lnTo>
                    <a:lnTo>
                      <a:pt x="3993" y="603"/>
                    </a:lnTo>
                    <a:lnTo>
                      <a:pt x="3998" y="630"/>
                    </a:lnTo>
                    <a:lnTo>
                      <a:pt x="4007" y="655"/>
                    </a:lnTo>
                    <a:lnTo>
                      <a:pt x="4016" y="678"/>
                    </a:lnTo>
                    <a:lnTo>
                      <a:pt x="4028" y="701"/>
                    </a:lnTo>
                    <a:lnTo>
                      <a:pt x="4043" y="721"/>
                    </a:lnTo>
                    <a:lnTo>
                      <a:pt x="4057" y="740"/>
                    </a:lnTo>
                    <a:lnTo>
                      <a:pt x="4075" y="756"/>
                    </a:lnTo>
                    <a:lnTo>
                      <a:pt x="4093" y="772"/>
                    </a:lnTo>
                    <a:lnTo>
                      <a:pt x="4112" y="785"/>
                    </a:lnTo>
                    <a:lnTo>
                      <a:pt x="4132" y="797"/>
                    </a:lnTo>
                    <a:lnTo>
                      <a:pt x="4153" y="806"/>
                    </a:lnTo>
                    <a:lnTo>
                      <a:pt x="4176" y="812"/>
                    </a:lnTo>
                    <a:lnTo>
                      <a:pt x="4199" y="817"/>
                    </a:lnTo>
                    <a:lnTo>
                      <a:pt x="4222" y="817"/>
                    </a:lnTo>
                    <a:lnTo>
                      <a:pt x="4246" y="817"/>
                    </a:lnTo>
                    <a:lnTo>
                      <a:pt x="4269" y="812"/>
                    </a:lnTo>
                    <a:lnTo>
                      <a:pt x="4290" y="806"/>
                    </a:lnTo>
                    <a:lnTo>
                      <a:pt x="4311" y="797"/>
                    </a:lnTo>
                    <a:lnTo>
                      <a:pt x="4333" y="785"/>
                    </a:lnTo>
                    <a:lnTo>
                      <a:pt x="4352" y="772"/>
                    </a:lnTo>
                    <a:lnTo>
                      <a:pt x="4370" y="756"/>
                    </a:lnTo>
                    <a:lnTo>
                      <a:pt x="4386" y="740"/>
                    </a:lnTo>
                    <a:lnTo>
                      <a:pt x="4402" y="721"/>
                    </a:lnTo>
                    <a:lnTo>
                      <a:pt x="4416" y="701"/>
                    </a:lnTo>
                    <a:lnTo>
                      <a:pt x="4427" y="678"/>
                    </a:lnTo>
                    <a:lnTo>
                      <a:pt x="4438" y="655"/>
                    </a:lnTo>
                    <a:lnTo>
                      <a:pt x="4447" y="630"/>
                    </a:lnTo>
                    <a:lnTo>
                      <a:pt x="4452" y="603"/>
                    </a:lnTo>
                    <a:lnTo>
                      <a:pt x="4456" y="577"/>
                    </a:lnTo>
                    <a:lnTo>
                      <a:pt x="4457" y="548"/>
                    </a:lnTo>
                    <a:lnTo>
                      <a:pt x="4457" y="520"/>
                    </a:lnTo>
                    <a:lnTo>
                      <a:pt x="4529" y="520"/>
                    </a:lnTo>
                    <a:lnTo>
                      <a:pt x="4529" y="548"/>
                    </a:lnTo>
                    <a:lnTo>
                      <a:pt x="4527" y="582"/>
                    </a:lnTo>
                    <a:lnTo>
                      <a:pt x="4522" y="616"/>
                    </a:lnTo>
                    <a:lnTo>
                      <a:pt x="4514" y="648"/>
                    </a:lnTo>
                    <a:lnTo>
                      <a:pt x="4506" y="678"/>
                    </a:lnTo>
                    <a:lnTo>
                      <a:pt x="4491" y="708"/>
                    </a:lnTo>
                    <a:lnTo>
                      <a:pt x="4477" y="737"/>
                    </a:lnTo>
                    <a:lnTo>
                      <a:pt x="4459" y="763"/>
                    </a:lnTo>
                    <a:lnTo>
                      <a:pt x="4440" y="787"/>
                    </a:lnTo>
                    <a:lnTo>
                      <a:pt x="4418" y="810"/>
                    </a:lnTo>
                    <a:lnTo>
                      <a:pt x="4395" y="829"/>
                    </a:lnTo>
                    <a:lnTo>
                      <a:pt x="4370" y="847"/>
                    </a:lnTo>
                    <a:lnTo>
                      <a:pt x="4344" y="861"/>
                    </a:lnTo>
                    <a:lnTo>
                      <a:pt x="4315" y="872"/>
                    </a:lnTo>
                    <a:lnTo>
                      <a:pt x="4285" y="881"/>
                    </a:lnTo>
                    <a:lnTo>
                      <a:pt x="4255" y="886"/>
                    </a:lnTo>
                    <a:lnTo>
                      <a:pt x="4222" y="888"/>
                    </a:lnTo>
                    <a:lnTo>
                      <a:pt x="4190" y="886"/>
                    </a:lnTo>
                    <a:lnTo>
                      <a:pt x="4160" y="881"/>
                    </a:lnTo>
                    <a:lnTo>
                      <a:pt x="4130" y="872"/>
                    </a:lnTo>
                    <a:lnTo>
                      <a:pt x="4101" y="861"/>
                    </a:lnTo>
                    <a:lnTo>
                      <a:pt x="4075" y="847"/>
                    </a:lnTo>
                    <a:lnTo>
                      <a:pt x="4050" y="829"/>
                    </a:lnTo>
                    <a:lnTo>
                      <a:pt x="4027" y="810"/>
                    </a:lnTo>
                    <a:lnTo>
                      <a:pt x="4004" y="787"/>
                    </a:lnTo>
                    <a:lnTo>
                      <a:pt x="3984" y="763"/>
                    </a:lnTo>
                    <a:lnTo>
                      <a:pt x="3968" y="737"/>
                    </a:lnTo>
                    <a:lnTo>
                      <a:pt x="3952" y="708"/>
                    </a:lnTo>
                    <a:lnTo>
                      <a:pt x="3939" y="678"/>
                    </a:lnTo>
                    <a:lnTo>
                      <a:pt x="3929" y="648"/>
                    </a:lnTo>
                    <a:lnTo>
                      <a:pt x="3922" y="616"/>
                    </a:lnTo>
                    <a:lnTo>
                      <a:pt x="3918" y="582"/>
                    </a:lnTo>
                    <a:lnTo>
                      <a:pt x="3916" y="548"/>
                    </a:lnTo>
                    <a:lnTo>
                      <a:pt x="3916" y="520"/>
                    </a:lnTo>
                    <a:lnTo>
                      <a:pt x="3987" y="520"/>
                    </a:lnTo>
                    <a:close/>
                    <a:moveTo>
                      <a:pt x="3900" y="450"/>
                    </a:moveTo>
                    <a:lnTo>
                      <a:pt x="3900" y="244"/>
                    </a:lnTo>
                    <a:lnTo>
                      <a:pt x="3902" y="205"/>
                    </a:lnTo>
                    <a:lnTo>
                      <a:pt x="3909" y="169"/>
                    </a:lnTo>
                    <a:lnTo>
                      <a:pt x="3913" y="153"/>
                    </a:lnTo>
                    <a:lnTo>
                      <a:pt x="3918" y="139"/>
                    </a:lnTo>
                    <a:lnTo>
                      <a:pt x="3923" y="125"/>
                    </a:lnTo>
                    <a:lnTo>
                      <a:pt x="3929" y="110"/>
                    </a:lnTo>
                    <a:lnTo>
                      <a:pt x="3936" y="100"/>
                    </a:lnTo>
                    <a:lnTo>
                      <a:pt x="3945" y="87"/>
                    </a:lnTo>
                    <a:lnTo>
                      <a:pt x="3963" y="68"/>
                    </a:lnTo>
                    <a:lnTo>
                      <a:pt x="3982" y="52"/>
                    </a:lnTo>
                    <a:lnTo>
                      <a:pt x="4005" y="37"/>
                    </a:lnTo>
                    <a:lnTo>
                      <a:pt x="4028" y="27"/>
                    </a:lnTo>
                    <a:lnTo>
                      <a:pt x="4055" y="18"/>
                    </a:lnTo>
                    <a:lnTo>
                      <a:pt x="4082" y="11"/>
                    </a:lnTo>
                    <a:lnTo>
                      <a:pt x="4109" y="5"/>
                    </a:lnTo>
                    <a:lnTo>
                      <a:pt x="4139" y="4"/>
                    </a:lnTo>
                    <a:lnTo>
                      <a:pt x="4167" y="0"/>
                    </a:lnTo>
                    <a:lnTo>
                      <a:pt x="4228" y="0"/>
                    </a:lnTo>
                    <a:lnTo>
                      <a:pt x="4287" y="0"/>
                    </a:lnTo>
                    <a:lnTo>
                      <a:pt x="4317" y="4"/>
                    </a:lnTo>
                    <a:lnTo>
                      <a:pt x="4345" y="5"/>
                    </a:lnTo>
                    <a:lnTo>
                      <a:pt x="4374" y="11"/>
                    </a:lnTo>
                    <a:lnTo>
                      <a:pt x="4400" y="18"/>
                    </a:lnTo>
                    <a:lnTo>
                      <a:pt x="4425" y="27"/>
                    </a:lnTo>
                    <a:lnTo>
                      <a:pt x="4450" y="37"/>
                    </a:lnTo>
                    <a:lnTo>
                      <a:pt x="4472" y="52"/>
                    </a:lnTo>
                    <a:lnTo>
                      <a:pt x="4491" y="68"/>
                    </a:lnTo>
                    <a:lnTo>
                      <a:pt x="4509" y="87"/>
                    </a:lnTo>
                    <a:lnTo>
                      <a:pt x="4518" y="100"/>
                    </a:lnTo>
                    <a:lnTo>
                      <a:pt x="4525" y="110"/>
                    </a:lnTo>
                    <a:lnTo>
                      <a:pt x="4532" y="125"/>
                    </a:lnTo>
                    <a:lnTo>
                      <a:pt x="4538" y="139"/>
                    </a:lnTo>
                    <a:lnTo>
                      <a:pt x="4541" y="153"/>
                    </a:lnTo>
                    <a:lnTo>
                      <a:pt x="4546" y="169"/>
                    </a:lnTo>
                    <a:lnTo>
                      <a:pt x="4552" y="205"/>
                    </a:lnTo>
                    <a:lnTo>
                      <a:pt x="4554" y="244"/>
                    </a:lnTo>
                    <a:lnTo>
                      <a:pt x="4554" y="450"/>
                    </a:lnTo>
                    <a:lnTo>
                      <a:pt x="3900" y="450"/>
                    </a:lnTo>
                    <a:close/>
                    <a:moveTo>
                      <a:pt x="3971" y="379"/>
                    </a:moveTo>
                    <a:lnTo>
                      <a:pt x="4482" y="379"/>
                    </a:lnTo>
                    <a:lnTo>
                      <a:pt x="4482" y="244"/>
                    </a:lnTo>
                    <a:lnTo>
                      <a:pt x="4481" y="217"/>
                    </a:lnTo>
                    <a:lnTo>
                      <a:pt x="4479" y="192"/>
                    </a:lnTo>
                    <a:lnTo>
                      <a:pt x="4473" y="171"/>
                    </a:lnTo>
                    <a:lnTo>
                      <a:pt x="4465" y="153"/>
                    </a:lnTo>
                    <a:lnTo>
                      <a:pt x="4456" y="137"/>
                    </a:lnTo>
                    <a:lnTo>
                      <a:pt x="4445" y="123"/>
                    </a:lnTo>
                    <a:lnTo>
                      <a:pt x="4431" y="110"/>
                    </a:lnTo>
                    <a:lnTo>
                      <a:pt x="4416" y="100"/>
                    </a:lnTo>
                    <a:lnTo>
                      <a:pt x="4399" y="93"/>
                    </a:lnTo>
                    <a:lnTo>
                      <a:pt x="4379" y="85"/>
                    </a:lnTo>
                    <a:lnTo>
                      <a:pt x="4358" y="80"/>
                    </a:lnTo>
                    <a:lnTo>
                      <a:pt x="4336" y="77"/>
                    </a:lnTo>
                    <a:lnTo>
                      <a:pt x="4311" y="73"/>
                    </a:lnTo>
                    <a:lnTo>
                      <a:pt x="4285" y="71"/>
                    </a:lnTo>
                    <a:lnTo>
                      <a:pt x="4228" y="71"/>
                    </a:lnTo>
                    <a:lnTo>
                      <a:pt x="4169" y="71"/>
                    </a:lnTo>
                    <a:lnTo>
                      <a:pt x="4144" y="73"/>
                    </a:lnTo>
                    <a:lnTo>
                      <a:pt x="4119" y="77"/>
                    </a:lnTo>
                    <a:lnTo>
                      <a:pt x="4096" y="80"/>
                    </a:lnTo>
                    <a:lnTo>
                      <a:pt x="4075" y="85"/>
                    </a:lnTo>
                    <a:lnTo>
                      <a:pt x="4055" y="93"/>
                    </a:lnTo>
                    <a:lnTo>
                      <a:pt x="4039" y="100"/>
                    </a:lnTo>
                    <a:lnTo>
                      <a:pt x="4023" y="110"/>
                    </a:lnTo>
                    <a:lnTo>
                      <a:pt x="4011" y="123"/>
                    </a:lnTo>
                    <a:lnTo>
                      <a:pt x="3998" y="137"/>
                    </a:lnTo>
                    <a:lnTo>
                      <a:pt x="3989" y="153"/>
                    </a:lnTo>
                    <a:lnTo>
                      <a:pt x="3982" y="171"/>
                    </a:lnTo>
                    <a:lnTo>
                      <a:pt x="3977" y="192"/>
                    </a:lnTo>
                    <a:lnTo>
                      <a:pt x="3973" y="217"/>
                    </a:lnTo>
                    <a:lnTo>
                      <a:pt x="3971" y="244"/>
                    </a:lnTo>
                    <a:lnTo>
                      <a:pt x="3971" y="379"/>
                    </a:lnTo>
                    <a:close/>
                    <a:moveTo>
                      <a:pt x="4219" y="3276"/>
                    </a:moveTo>
                    <a:lnTo>
                      <a:pt x="5864" y="3276"/>
                    </a:lnTo>
                    <a:lnTo>
                      <a:pt x="5358" y="3805"/>
                    </a:lnTo>
                    <a:lnTo>
                      <a:pt x="5255" y="3707"/>
                    </a:lnTo>
                    <a:lnTo>
                      <a:pt x="5531" y="3419"/>
                    </a:lnTo>
                    <a:lnTo>
                      <a:pt x="4219" y="3419"/>
                    </a:lnTo>
                    <a:lnTo>
                      <a:pt x="4219" y="3276"/>
                    </a:lnTo>
                    <a:close/>
                    <a:moveTo>
                      <a:pt x="2280" y="3276"/>
                    </a:moveTo>
                    <a:lnTo>
                      <a:pt x="3758" y="3276"/>
                    </a:lnTo>
                    <a:lnTo>
                      <a:pt x="3758" y="3419"/>
                    </a:lnTo>
                    <a:lnTo>
                      <a:pt x="2280" y="3419"/>
                    </a:lnTo>
                    <a:lnTo>
                      <a:pt x="2280" y="3276"/>
                    </a:lnTo>
                    <a:close/>
                    <a:moveTo>
                      <a:pt x="0" y="2162"/>
                    </a:moveTo>
                    <a:lnTo>
                      <a:pt x="1105" y="3276"/>
                    </a:lnTo>
                    <a:lnTo>
                      <a:pt x="1818" y="3276"/>
                    </a:lnTo>
                    <a:lnTo>
                      <a:pt x="1818" y="3419"/>
                    </a:lnTo>
                    <a:lnTo>
                      <a:pt x="1045" y="3419"/>
                    </a:lnTo>
                    <a:lnTo>
                      <a:pt x="0" y="2365"/>
                    </a:lnTo>
                    <a:lnTo>
                      <a:pt x="0" y="2162"/>
                    </a:lnTo>
                    <a:close/>
                    <a:moveTo>
                      <a:pt x="2353" y="379"/>
                    </a:moveTo>
                    <a:lnTo>
                      <a:pt x="2353" y="246"/>
                    </a:lnTo>
                    <a:lnTo>
                      <a:pt x="2353" y="217"/>
                    </a:lnTo>
                    <a:lnTo>
                      <a:pt x="2350" y="194"/>
                    </a:lnTo>
                    <a:lnTo>
                      <a:pt x="2344" y="173"/>
                    </a:lnTo>
                    <a:lnTo>
                      <a:pt x="2337" y="153"/>
                    </a:lnTo>
                    <a:lnTo>
                      <a:pt x="2328" y="137"/>
                    </a:lnTo>
                    <a:lnTo>
                      <a:pt x="2316" y="123"/>
                    </a:lnTo>
                    <a:lnTo>
                      <a:pt x="2303" y="112"/>
                    </a:lnTo>
                    <a:lnTo>
                      <a:pt x="2287" y="101"/>
                    </a:lnTo>
                    <a:lnTo>
                      <a:pt x="2270" y="93"/>
                    </a:lnTo>
                    <a:lnTo>
                      <a:pt x="2252" y="87"/>
                    </a:lnTo>
                    <a:lnTo>
                      <a:pt x="2230" y="82"/>
                    </a:lnTo>
                    <a:lnTo>
                      <a:pt x="2207" y="78"/>
                    </a:lnTo>
                    <a:lnTo>
                      <a:pt x="2182" y="75"/>
                    </a:lnTo>
                    <a:lnTo>
                      <a:pt x="2156" y="73"/>
                    </a:lnTo>
                    <a:lnTo>
                      <a:pt x="2099" y="71"/>
                    </a:lnTo>
                    <a:lnTo>
                      <a:pt x="2042" y="73"/>
                    </a:lnTo>
                    <a:lnTo>
                      <a:pt x="2015" y="75"/>
                    </a:lnTo>
                    <a:lnTo>
                      <a:pt x="1990" y="78"/>
                    </a:lnTo>
                    <a:lnTo>
                      <a:pt x="1967" y="82"/>
                    </a:lnTo>
                    <a:lnTo>
                      <a:pt x="1947" y="87"/>
                    </a:lnTo>
                    <a:lnTo>
                      <a:pt x="1928" y="93"/>
                    </a:lnTo>
                    <a:lnTo>
                      <a:pt x="1910" y="101"/>
                    </a:lnTo>
                    <a:lnTo>
                      <a:pt x="1896" y="112"/>
                    </a:lnTo>
                    <a:lnTo>
                      <a:pt x="1882" y="123"/>
                    </a:lnTo>
                    <a:lnTo>
                      <a:pt x="1871" y="137"/>
                    </a:lnTo>
                    <a:lnTo>
                      <a:pt x="1860" y="153"/>
                    </a:lnTo>
                    <a:lnTo>
                      <a:pt x="1853" y="173"/>
                    </a:lnTo>
                    <a:lnTo>
                      <a:pt x="1848" y="194"/>
                    </a:lnTo>
                    <a:lnTo>
                      <a:pt x="1844" y="217"/>
                    </a:lnTo>
                    <a:lnTo>
                      <a:pt x="1844" y="246"/>
                    </a:lnTo>
                    <a:lnTo>
                      <a:pt x="1844" y="379"/>
                    </a:lnTo>
                    <a:lnTo>
                      <a:pt x="2353" y="379"/>
                    </a:lnTo>
                    <a:close/>
                    <a:moveTo>
                      <a:pt x="2425" y="450"/>
                    </a:moveTo>
                    <a:lnTo>
                      <a:pt x="2245" y="450"/>
                    </a:lnTo>
                    <a:lnTo>
                      <a:pt x="1773" y="450"/>
                    </a:lnTo>
                    <a:lnTo>
                      <a:pt x="1629" y="450"/>
                    </a:lnTo>
                    <a:lnTo>
                      <a:pt x="1629" y="379"/>
                    </a:lnTo>
                    <a:lnTo>
                      <a:pt x="1773" y="379"/>
                    </a:lnTo>
                    <a:lnTo>
                      <a:pt x="1773" y="246"/>
                    </a:lnTo>
                    <a:lnTo>
                      <a:pt x="1775" y="205"/>
                    </a:lnTo>
                    <a:lnTo>
                      <a:pt x="1780" y="171"/>
                    </a:lnTo>
                    <a:lnTo>
                      <a:pt x="1784" y="155"/>
                    </a:lnTo>
                    <a:lnTo>
                      <a:pt x="1789" y="139"/>
                    </a:lnTo>
                    <a:lnTo>
                      <a:pt x="1794" y="125"/>
                    </a:lnTo>
                    <a:lnTo>
                      <a:pt x="1801" y="112"/>
                    </a:lnTo>
                    <a:lnTo>
                      <a:pt x="1809" y="100"/>
                    </a:lnTo>
                    <a:lnTo>
                      <a:pt x="1816" y="89"/>
                    </a:lnTo>
                    <a:lnTo>
                      <a:pt x="1834" y="69"/>
                    </a:lnTo>
                    <a:lnTo>
                      <a:pt x="1855" y="53"/>
                    </a:lnTo>
                    <a:lnTo>
                      <a:pt x="1876" y="39"/>
                    </a:lnTo>
                    <a:lnTo>
                      <a:pt x="1899" y="28"/>
                    </a:lnTo>
                    <a:lnTo>
                      <a:pt x="1926" y="20"/>
                    </a:lnTo>
                    <a:lnTo>
                      <a:pt x="1953" y="12"/>
                    </a:lnTo>
                    <a:lnTo>
                      <a:pt x="1981" y="7"/>
                    </a:lnTo>
                    <a:lnTo>
                      <a:pt x="2010" y="4"/>
                    </a:lnTo>
                    <a:lnTo>
                      <a:pt x="2040" y="2"/>
                    </a:lnTo>
                    <a:lnTo>
                      <a:pt x="2099" y="0"/>
                    </a:lnTo>
                    <a:lnTo>
                      <a:pt x="2159" y="2"/>
                    </a:lnTo>
                    <a:lnTo>
                      <a:pt x="2188" y="4"/>
                    </a:lnTo>
                    <a:lnTo>
                      <a:pt x="2216" y="7"/>
                    </a:lnTo>
                    <a:lnTo>
                      <a:pt x="2245" y="12"/>
                    </a:lnTo>
                    <a:lnTo>
                      <a:pt x="2271" y="20"/>
                    </a:lnTo>
                    <a:lnTo>
                      <a:pt x="2298" y="28"/>
                    </a:lnTo>
                    <a:lnTo>
                      <a:pt x="2321" y="39"/>
                    </a:lnTo>
                    <a:lnTo>
                      <a:pt x="2344" y="53"/>
                    </a:lnTo>
                    <a:lnTo>
                      <a:pt x="2364" y="69"/>
                    </a:lnTo>
                    <a:lnTo>
                      <a:pt x="2382" y="89"/>
                    </a:lnTo>
                    <a:lnTo>
                      <a:pt x="2389" y="100"/>
                    </a:lnTo>
                    <a:lnTo>
                      <a:pt x="2396" y="112"/>
                    </a:lnTo>
                    <a:lnTo>
                      <a:pt x="2403" y="126"/>
                    </a:lnTo>
                    <a:lnTo>
                      <a:pt x="2409" y="139"/>
                    </a:lnTo>
                    <a:lnTo>
                      <a:pt x="2414" y="155"/>
                    </a:lnTo>
                    <a:lnTo>
                      <a:pt x="2417" y="171"/>
                    </a:lnTo>
                    <a:lnTo>
                      <a:pt x="2423" y="205"/>
                    </a:lnTo>
                    <a:lnTo>
                      <a:pt x="2425" y="246"/>
                    </a:lnTo>
                    <a:lnTo>
                      <a:pt x="2425" y="450"/>
                    </a:lnTo>
                    <a:close/>
                    <a:moveTo>
                      <a:pt x="5615" y="1634"/>
                    </a:moveTo>
                    <a:lnTo>
                      <a:pt x="5622" y="1445"/>
                    </a:lnTo>
                    <a:lnTo>
                      <a:pt x="5606" y="1440"/>
                    </a:lnTo>
                    <a:lnTo>
                      <a:pt x="5590" y="1429"/>
                    </a:lnTo>
                    <a:lnTo>
                      <a:pt x="5575" y="1418"/>
                    </a:lnTo>
                    <a:lnTo>
                      <a:pt x="5563" y="1406"/>
                    </a:lnTo>
                    <a:lnTo>
                      <a:pt x="5554" y="1390"/>
                    </a:lnTo>
                    <a:lnTo>
                      <a:pt x="5547" y="1374"/>
                    </a:lnTo>
                    <a:lnTo>
                      <a:pt x="5542" y="1356"/>
                    </a:lnTo>
                    <a:lnTo>
                      <a:pt x="5542" y="1337"/>
                    </a:lnTo>
                    <a:lnTo>
                      <a:pt x="5542" y="1324"/>
                    </a:lnTo>
                    <a:lnTo>
                      <a:pt x="5543" y="1313"/>
                    </a:lnTo>
                    <a:lnTo>
                      <a:pt x="5545" y="1303"/>
                    </a:lnTo>
                    <a:lnTo>
                      <a:pt x="5550" y="1292"/>
                    </a:lnTo>
                    <a:lnTo>
                      <a:pt x="5554" y="1281"/>
                    </a:lnTo>
                    <a:lnTo>
                      <a:pt x="5559" y="1272"/>
                    </a:lnTo>
                    <a:lnTo>
                      <a:pt x="5574" y="1256"/>
                    </a:lnTo>
                    <a:lnTo>
                      <a:pt x="5591" y="1242"/>
                    </a:lnTo>
                    <a:lnTo>
                      <a:pt x="5600" y="1237"/>
                    </a:lnTo>
                    <a:lnTo>
                      <a:pt x="5611" y="1232"/>
                    </a:lnTo>
                    <a:lnTo>
                      <a:pt x="5620" y="1228"/>
                    </a:lnTo>
                    <a:lnTo>
                      <a:pt x="5632" y="1224"/>
                    </a:lnTo>
                    <a:lnTo>
                      <a:pt x="5643" y="1223"/>
                    </a:lnTo>
                    <a:lnTo>
                      <a:pt x="5655" y="1223"/>
                    </a:lnTo>
                    <a:lnTo>
                      <a:pt x="5666" y="1223"/>
                    </a:lnTo>
                    <a:lnTo>
                      <a:pt x="5677" y="1224"/>
                    </a:lnTo>
                    <a:lnTo>
                      <a:pt x="5689" y="1228"/>
                    </a:lnTo>
                    <a:lnTo>
                      <a:pt x="5698" y="1232"/>
                    </a:lnTo>
                    <a:lnTo>
                      <a:pt x="5709" y="1237"/>
                    </a:lnTo>
                    <a:lnTo>
                      <a:pt x="5718" y="1242"/>
                    </a:lnTo>
                    <a:lnTo>
                      <a:pt x="5736" y="1256"/>
                    </a:lnTo>
                    <a:lnTo>
                      <a:pt x="5750" y="1272"/>
                    </a:lnTo>
                    <a:lnTo>
                      <a:pt x="5755" y="1281"/>
                    </a:lnTo>
                    <a:lnTo>
                      <a:pt x="5759" y="1292"/>
                    </a:lnTo>
                    <a:lnTo>
                      <a:pt x="5764" y="1303"/>
                    </a:lnTo>
                    <a:lnTo>
                      <a:pt x="5766" y="1313"/>
                    </a:lnTo>
                    <a:lnTo>
                      <a:pt x="5768" y="1324"/>
                    </a:lnTo>
                    <a:lnTo>
                      <a:pt x="5769" y="1337"/>
                    </a:lnTo>
                    <a:lnTo>
                      <a:pt x="5768" y="1354"/>
                    </a:lnTo>
                    <a:lnTo>
                      <a:pt x="5764" y="1370"/>
                    </a:lnTo>
                    <a:lnTo>
                      <a:pt x="5757" y="1386"/>
                    </a:lnTo>
                    <a:lnTo>
                      <a:pt x="5748" y="1401"/>
                    </a:lnTo>
                    <a:lnTo>
                      <a:pt x="5737" y="1415"/>
                    </a:lnTo>
                    <a:lnTo>
                      <a:pt x="5725" y="1426"/>
                    </a:lnTo>
                    <a:lnTo>
                      <a:pt x="5712" y="1434"/>
                    </a:lnTo>
                    <a:lnTo>
                      <a:pt x="5696" y="1442"/>
                    </a:lnTo>
                    <a:lnTo>
                      <a:pt x="5709" y="1634"/>
                    </a:lnTo>
                    <a:lnTo>
                      <a:pt x="5901" y="1634"/>
                    </a:lnTo>
                    <a:lnTo>
                      <a:pt x="5842" y="1940"/>
                    </a:lnTo>
                    <a:lnTo>
                      <a:pt x="5835" y="1967"/>
                    </a:lnTo>
                    <a:lnTo>
                      <a:pt x="5826" y="1993"/>
                    </a:lnTo>
                    <a:lnTo>
                      <a:pt x="5814" y="2018"/>
                    </a:lnTo>
                    <a:lnTo>
                      <a:pt x="5798" y="2043"/>
                    </a:lnTo>
                    <a:lnTo>
                      <a:pt x="5780" y="2064"/>
                    </a:lnTo>
                    <a:lnTo>
                      <a:pt x="5760" y="2086"/>
                    </a:lnTo>
                    <a:lnTo>
                      <a:pt x="5741" y="2104"/>
                    </a:lnTo>
                    <a:lnTo>
                      <a:pt x="5718" y="2118"/>
                    </a:lnTo>
                    <a:lnTo>
                      <a:pt x="5718" y="2500"/>
                    </a:lnTo>
                    <a:lnTo>
                      <a:pt x="5609" y="2500"/>
                    </a:lnTo>
                    <a:lnTo>
                      <a:pt x="5609" y="2139"/>
                    </a:lnTo>
                    <a:lnTo>
                      <a:pt x="5485" y="2145"/>
                    </a:lnTo>
                    <a:lnTo>
                      <a:pt x="5485" y="2210"/>
                    </a:lnTo>
                    <a:lnTo>
                      <a:pt x="5191" y="2210"/>
                    </a:lnTo>
                    <a:lnTo>
                      <a:pt x="5173" y="2210"/>
                    </a:lnTo>
                    <a:lnTo>
                      <a:pt x="5153" y="2207"/>
                    </a:lnTo>
                    <a:lnTo>
                      <a:pt x="5111" y="2200"/>
                    </a:lnTo>
                    <a:lnTo>
                      <a:pt x="5068" y="2187"/>
                    </a:lnTo>
                    <a:lnTo>
                      <a:pt x="5022" y="2171"/>
                    </a:lnTo>
                    <a:lnTo>
                      <a:pt x="4977" y="2153"/>
                    </a:lnTo>
                    <a:lnTo>
                      <a:pt x="4935" y="2134"/>
                    </a:lnTo>
                    <a:lnTo>
                      <a:pt x="4858" y="2098"/>
                    </a:lnTo>
                    <a:lnTo>
                      <a:pt x="4858" y="2500"/>
                    </a:lnTo>
                    <a:lnTo>
                      <a:pt x="4361" y="2500"/>
                    </a:lnTo>
                    <a:lnTo>
                      <a:pt x="4361" y="1660"/>
                    </a:lnTo>
                    <a:lnTo>
                      <a:pt x="3747" y="1660"/>
                    </a:lnTo>
                    <a:lnTo>
                      <a:pt x="3858" y="1370"/>
                    </a:lnTo>
                    <a:lnTo>
                      <a:pt x="3858" y="1167"/>
                    </a:lnTo>
                    <a:lnTo>
                      <a:pt x="3751" y="1224"/>
                    </a:lnTo>
                    <a:lnTo>
                      <a:pt x="3719" y="1242"/>
                    </a:lnTo>
                    <a:lnTo>
                      <a:pt x="3692" y="1258"/>
                    </a:lnTo>
                    <a:lnTo>
                      <a:pt x="3669" y="1276"/>
                    </a:lnTo>
                    <a:lnTo>
                      <a:pt x="3649" y="1294"/>
                    </a:lnTo>
                    <a:lnTo>
                      <a:pt x="3635" y="1312"/>
                    </a:lnTo>
                    <a:lnTo>
                      <a:pt x="3623" y="1331"/>
                    </a:lnTo>
                    <a:lnTo>
                      <a:pt x="3619" y="1342"/>
                    </a:lnTo>
                    <a:lnTo>
                      <a:pt x="3615" y="1354"/>
                    </a:lnTo>
                    <a:lnTo>
                      <a:pt x="3614" y="1365"/>
                    </a:lnTo>
                    <a:lnTo>
                      <a:pt x="3612" y="1377"/>
                    </a:lnTo>
                    <a:lnTo>
                      <a:pt x="3594" y="1660"/>
                    </a:lnTo>
                    <a:lnTo>
                      <a:pt x="3452" y="1660"/>
                    </a:lnTo>
                    <a:lnTo>
                      <a:pt x="3469" y="1369"/>
                    </a:lnTo>
                    <a:lnTo>
                      <a:pt x="3473" y="1344"/>
                    </a:lnTo>
                    <a:lnTo>
                      <a:pt x="3477" y="1319"/>
                    </a:lnTo>
                    <a:lnTo>
                      <a:pt x="3484" y="1296"/>
                    </a:lnTo>
                    <a:lnTo>
                      <a:pt x="3491" y="1276"/>
                    </a:lnTo>
                    <a:lnTo>
                      <a:pt x="3502" y="1255"/>
                    </a:lnTo>
                    <a:lnTo>
                      <a:pt x="3512" y="1237"/>
                    </a:lnTo>
                    <a:lnTo>
                      <a:pt x="3525" y="1219"/>
                    </a:lnTo>
                    <a:lnTo>
                      <a:pt x="3539" y="1203"/>
                    </a:lnTo>
                    <a:lnTo>
                      <a:pt x="3555" y="1187"/>
                    </a:lnTo>
                    <a:lnTo>
                      <a:pt x="3573" y="1173"/>
                    </a:lnTo>
                    <a:lnTo>
                      <a:pt x="3591" y="1159"/>
                    </a:lnTo>
                    <a:lnTo>
                      <a:pt x="3610" y="1146"/>
                    </a:lnTo>
                    <a:lnTo>
                      <a:pt x="3653" y="1119"/>
                    </a:lnTo>
                    <a:lnTo>
                      <a:pt x="3699" y="1095"/>
                    </a:lnTo>
                    <a:lnTo>
                      <a:pt x="3858" y="1014"/>
                    </a:lnTo>
                    <a:lnTo>
                      <a:pt x="3858" y="941"/>
                    </a:lnTo>
                    <a:lnTo>
                      <a:pt x="4032" y="906"/>
                    </a:lnTo>
                    <a:lnTo>
                      <a:pt x="4032" y="1310"/>
                    </a:lnTo>
                    <a:lnTo>
                      <a:pt x="4436" y="1310"/>
                    </a:lnTo>
                    <a:lnTo>
                      <a:pt x="4436" y="906"/>
                    </a:lnTo>
                    <a:lnTo>
                      <a:pt x="4611" y="941"/>
                    </a:lnTo>
                    <a:lnTo>
                      <a:pt x="4611" y="1002"/>
                    </a:lnTo>
                    <a:lnTo>
                      <a:pt x="4792" y="1071"/>
                    </a:lnTo>
                    <a:lnTo>
                      <a:pt x="4835" y="1089"/>
                    </a:lnTo>
                    <a:lnTo>
                      <a:pt x="4876" y="1109"/>
                    </a:lnTo>
                    <a:lnTo>
                      <a:pt x="4915" y="1132"/>
                    </a:lnTo>
                    <a:lnTo>
                      <a:pt x="4951" y="1155"/>
                    </a:lnTo>
                    <a:lnTo>
                      <a:pt x="4984" y="1182"/>
                    </a:lnTo>
                    <a:lnTo>
                      <a:pt x="5015" y="1210"/>
                    </a:lnTo>
                    <a:lnTo>
                      <a:pt x="5040" y="1239"/>
                    </a:lnTo>
                    <a:lnTo>
                      <a:pt x="5052" y="1255"/>
                    </a:lnTo>
                    <a:lnTo>
                      <a:pt x="5061" y="1271"/>
                    </a:lnTo>
                    <a:lnTo>
                      <a:pt x="5258" y="1596"/>
                    </a:lnTo>
                    <a:lnTo>
                      <a:pt x="5267" y="1609"/>
                    </a:lnTo>
                    <a:lnTo>
                      <a:pt x="5276" y="1618"/>
                    </a:lnTo>
                    <a:lnTo>
                      <a:pt x="5285" y="1625"/>
                    </a:lnTo>
                    <a:lnTo>
                      <a:pt x="5294" y="1630"/>
                    </a:lnTo>
                    <a:lnTo>
                      <a:pt x="5307" y="1632"/>
                    </a:lnTo>
                    <a:lnTo>
                      <a:pt x="5319" y="1634"/>
                    </a:lnTo>
                    <a:lnTo>
                      <a:pt x="5349" y="1634"/>
                    </a:lnTo>
                    <a:lnTo>
                      <a:pt x="5615" y="1634"/>
                    </a:lnTo>
                    <a:close/>
                    <a:moveTo>
                      <a:pt x="5609" y="1765"/>
                    </a:moveTo>
                    <a:lnTo>
                      <a:pt x="5611" y="1705"/>
                    </a:lnTo>
                    <a:lnTo>
                      <a:pt x="5485" y="1705"/>
                    </a:lnTo>
                    <a:lnTo>
                      <a:pt x="5485" y="1776"/>
                    </a:lnTo>
                    <a:lnTo>
                      <a:pt x="5349" y="1776"/>
                    </a:lnTo>
                    <a:lnTo>
                      <a:pt x="5323" y="1776"/>
                    </a:lnTo>
                    <a:lnTo>
                      <a:pt x="5299" y="1774"/>
                    </a:lnTo>
                    <a:lnTo>
                      <a:pt x="5278" y="1771"/>
                    </a:lnTo>
                    <a:lnTo>
                      <a:pt x="5258" y="1767"/>
                    </a:lnTo>
                    <a:lnTo>
                      <a:pt x="5241" y="1762"/>
                    </a:lnTo>
                    <a:lnTo>
                      <a:pt x="5225" y="1755"/>
                    </a:lnTo>
                    <a:lnTo>
                      <a:pt x="5210" y="1746"/>
                    </a:lnTo>
                    <a:lnTo>
                      <a:pt x="5196" y="1737"/>
                    </a:lnTo>
                    <a:lnTo>
                      <a:pt x="5184" y="1726"/>
                    </a:lnTo>
                    <a:lnTo>
                      <a:pt x="5171" y="1716"/>
                    </a:lnTo>
                    <a:lnTo>
                      <a:pt x="5161" y="1701"/>
                    </a:lnTo>
                    <a:lnTo>
                      <a:pt x="5150" y="1687"/>
                    </a:lnTo>
                    <a:lnTo>
                      <a:pt x="5129" y="1655"/>
                    </a:lnTo>
                    <a:lnTo>
                      <a:pt x="5105" y="1618"/>
                    </a:lnTo>
                    <a:lnTo>
                      <a:pt x="4972" y="1401"/>
                    </a:lnTo>
                    <a:lnTo>
                      <a:pt x="4947" y="1361"/>
                    </a:lnTo>
                    <a:lnTo>
                      <a:pt x="4924" y="1329"/>
                    </a:lnTo>
                    <a:lnTo>
                      <a:pt x="4901" y="1303"/>
                    </a:lnTo>
                    <a:lnTo>
                      <a:pt x="4878" y="1280"/>
                    </a:lnTo>
                    <a:lnTo>
                      <a:pt x="4853" y="1260"/>
                    </a:lnTo>
                    <a:lnTo>
                      <a:pt x="4824" y="1242"/>
                    </a:lnTo>
                    <a:lnTo>
                      <a:pt x="4794" y="1226"/>
                    </a:lnTo>
                    <a:lnTo>
                      <a:pt x="4758" y="1210"/>
                    </a:lnTo>
                    <a:lnTo>
                      <a:pt x="4611" y="1153"/>
                    </a:lnTo>
                    <a:lnTo>
                      <a:pt x="4611" y="1377"/>
                    </a:lnTo>
                    <a:lnTo>
                      <a:pt x="4796" y="1903"/>
                    </a:lnTo>
                    <a:lnTo>
                      <a:pt x="4888" y="1952"/>
                    </a:lnTo>
                    <a:lnTo>
                      <a:pt x="4933" y="1975"/>
                    </a:lnTo>
                    <a:lnTo>
                      <a:pt x="4970" y="1993"/>
                    </a:lnTo>
                    <a:lnTo>
                      <a:pt x="5038" y="2024"/>
                    </a:lnTo>
                    <a:lnTo>
                      <a:pt x="5098" y="2047"/>
                    </a:lnTo>
                    <a:lnTo>
                      <a:pt x="5127" y="2056"/>
                    </a:lnTo>
                    <a:lnTo>
                      <a:pt x="5152" y="2063"/>
                    </a:lnTo>
                    <a:lnTo>
                      <a:pt x="5173" y="2066"/>
                    </a:lnTo>
                    <a:lnTo>
                      <a:pt x="5191" y="2068"/>
                    </a:lnTo>
                    <a:lnTo>
                      <a:pt x="5565" y="2066"/>
                    </a:lnTo>
                    <a:lnTo>
                      <a:pt x="5588" y="2066"/>
                    </a:lnTo>
                    <a:lnTo>
                      <a:pt x="5609" y="2063"/>
                    </a:lnTo>
                    <a:lnTo>
                      <a:pt x="5631" y="2059"/>
                    </a:lnTo>
                    <a:lnTo>
                      <a:pt x="5648" y="2054"/>
                    </a:lnTo>
                    <a:lnTo>
                      <a:pt x="5666" y="2047"/>
                    </a:lnTo>
                    <a:lnTo>
                      <a:pt x="5682" y="2038"/>
                    </a:lnTo>
                    <a:lnTo>
                      <a:pt x="5696" y="2029"/>
                    </a:lnTo>
                    <a:lnTo>
                      <a:pt x="5709" y="2018"/>
                    </a:lnTo>
                    <a:lnTo>
                      <a:pt x="5721" y="2006"/>
                    </a:lnTo>
                    <a:lnTo>
                      <a:pt x="5732" y="1993"/>
                    </a:lnTo>
                    <a:lnTo>
                      <a:pt x="5741" y="1979"/>
                    </a:lnTo>
                    <a:lnTo>
                      <a:pt x="5748" y="1965"/>
                    </a:lnTo>
                    <a:lnTo>
                      <a:pt x="5755" y="1951"/>
                    </a:lnTo>
                    <a:lnTo>
                      <a:pt x="5760" y="1935"/>
                    </a:lnTo>
                    <a:lnTo>
                      <a:pt x="5764" y="1920"/>
                    </a:lnTo>
                    <a:lnTo>
                      <a:pt x="5768" y="1904"/>
                    </a:lnTo>
                    <a:lnTo>
                      <a:pt x="5803" y="1705"/>
                    </a:lnTo>
                    <a:lnTo>
                      <a:pt x="5714" y="1705"/>
                    </a:lnTo>
                    <a:lnTo>
                      <a:pt x="5718" y="1769"/>
                    </a:lnTo>
                    <a:lnTo>
                      <a:pt x="5718" y="1778"/>
                    </a:lnTo>
                    <a:lnTo>
                      <a:pt x="5714" y="1783"/>
                    </a:lnTo>
                    <a:lnTo>
                      <a:pt x="5709" y="1789"/>
                    </a:lnTo>
                    <a:lnTo>
                      <a:pt x="5702" y="1794"/>
                    </a:lnTo>
                    <a:lnTo>
                      <a:pt x="5695" y="1796"/>
                    </a:lnTo>
                    <a:lnTo>
                      <a:pt x="5684" y="1797"/>
                    </a:lnTo>
                    <a:lnTo>
                      <a:pt x="5664" y="1799"/>
                    </a:lnTo>
                    <a:lnTo>
                      <a:pt x="5643" y="1796"/>
                    </a:lnTo>
                    <a:lnTo>
                      <a:pt x="5634" y="1792"/>
                    </a:lnTo>
                    <a:lnTo>
                      <a:pt x="5625" y="1789"/>
                    </a:lnTo>
                    <a:lnTo>
                      <a:pt x="5618" y="1783"/>
                    </a:lnTo>
                    <a:lnTo>
                      <a:pt x="5613" y="1778"/>
                    </a:lnTo>
                    <a:lnTo>
                      <a:pt x="5609" y="1773"/>
                    </a:lnTo>
                    <a:lnTo>
                      <a:pt x="5609" y="1765"/>
                    </a:lnTo>
                    <a:close/>
                    <a:moveTo>
                      <a:pt x="4069" y="1943"/>
                    </a:moveTo>
                    <a:lnTo>
                      <a:pt x="3505" y="1943"/>
                    </a:lnTo>
                    <a:lnTo>
                      <a:pt x="3505" y="2508"/>
                    </a:lnTo>
                    <a:lnTo>
                      <a:pt x="4069" y="2508"/>
                    </a:lnTo>
                    <a:lnTo>
                      <a:pt x="4069" y="1943"/>
                    </a:lnTo>
                    <a:close/>
                    <a:moveTo>
                      <a:pt x="3363" y="1943"/>
                    </a:moveTo>
                    <a:lnTo>
                      <a:pt x="3363" y="1943"/>
                    </a:lnTo>
                    <a:lnTo>
                      <a:pt x="3350" y="1943"/>
                    </a:lnTo>
                    <a:lnTo>
                      <a:pt x="3338" y="1945"/>
                    </a:lnTo>
                    <a:lnTo>
                      <a:pt x="3325" y="1949"/>
                    </a:lnTo>
                    <a:lnTo>
                      <a:pt x="3313" y="1954"/>
                    </a:lnTo>
                    <a:lnTo>
                      <a:pt x="3302" y="1959"/>
                    </a:lnTo>
                    <a:lnTo>
                      <a:pt x="3291" y="1965"/>
                    </a:lnTo>
                    <a:lnTo>
                      <a:pt x="3283" y="1974"/>
                    </a:lnTo>
                    <a:lnTo>
                      <a:pt x="3274" y="1981"/>
                    </a:lnTo>
                    <a:lnTo>
                      <a:pt x="3267" y="1990"/>
                    </a:lnTo>
                    <a:lnTo>
                      <a:pt x="3258" y="2000"/>
                    </a:lnTo>
                    <a:lnTo>
                      <a:pt x="3252" y="2011"/>
                    </a:lnTo>
                    <a:lnTo>
                      <a:pt x="3247" y="2022"/>
                    </a:lnTo>
                    <a:lnTo>
                      <a:pt x="3243" y="2032"/>
                    </a:lnTo>
                    <a:lnTo>
                      <a:pt x="3240" y="2045"/>
                    </a:lnTo>
                    <a:lnTo>
                      <a:pt x="3238" y="2057"/>
                    </a:lnTo>
                    <a:lnTo>
                      <a:pt x="3238" y="2072"/>
                    </a:lnTo>
                    <a:lnTo>
                      <a:pt x="3238" y="2084"/>
                    </a:lnTo>
                    <a:lnTo>
                      <a:pt x="3240" y="2096"/>
                    </a:lnTo>
                    <a:lnTo>
                      <a:pt x="3243" y="2109"/>
                    </a:lnTo>
                    <a:lnTo>
                      <a:pt x="3247" y="2120"/>
                    </a:lnTo>
                    <a:lnTo>
                      <a:pt x="3252" y="2130"/>
                    </a:lnTo>
                    <a:lnTo>
                      <a:pt x="3259" y="2141"/>
                    </a:lnTo>
                    <a:lnTo>
                      <a:pt x="3267" y="2152"/>
                    </a:lnTo>
                    <a:lnTo>
                      <a:pt x="3274" y="2161"/>
                    </a:lnTo>
                    <a:lnTo>
                      <a:pt x="3283" y="2168"/>
                    </a:lnTo>
                    <a:lnTo>
                      <a:pt x="3293" y="2177"/>
                    </a:lnTo>
                    <a:lnTo>
                      <a:pt x="3302" y="2182"/>
                    </a:lnTo>
                    <a:lnTo>
                      <a:pt x="3313" y="2187"/>
                    </a:lnTo>
                    <a:lnTo>
                      <a:pt x="3325" y="2193"/>
                    </a:lnTo>
                    <a:lnTo>
                      <a:pt x="3338" y="2196"/>
                    </a:lnTo>
                    <a:lnTo>
                      <a:pt x="3350" y="2198"/>
                    </a:lnTo>
                    <a:lnTo>
                      <a:pt x="3363" y="2198"/>
                    </a:lnTo>
                    <a:lnTo>
                      <a:pt x="3363" y="1943"/>
                    </a:lnTo>
                    <a:close/>
                    <a:moveTo>
                      <a:pt x="3363" y="2340"/>
                    </a:moveTo>
                    <a:lnTo>
                      <a:pt x="3363" y="2340"/>
                    </a:lnTo>
                    <a:lnTo>
                      <a:pt x="3336" y="2339"/>
                    </a:lnTo>
                    <a:lnTo>
                      <a:pt x="3309" y="2335"/>
                    </a:lnTo>
                    <a:lnTo>
                      <a:pt x="3283" y="2328"/>
                    </a:lnTo>
                    <a:lnTo>
                      <a:pt x="3258" y="2319"/>
                    </a:lnTo>
                    <a:lnTo>
                      <a:pt x="3234" y="2308"/>
                    </a:lnTo>
                    <a:lnTo>
                      <a:pt x="3213" y="2294"/>
                    </a:lnTo>
                    <a:lnTo>
                      <a:pt x="3192" y="2278"/>
                    </a:lnTo>
                    <a:lnTo>
                      <a:pt x="3174" y="2260"/>
                    </a:lnTo>
                    <a:lnTo>
                      <a:pt x="3156" y="2242"/>
                    </a:lnTo>
                    <a:lnTo>
                      <a:pt x="3140" y="2221"/>
                    </a:lnTo>
                    <a:lnTo>
                      <a:pt x="3128" y="2200"/>
                    </a:lnTo>
                    <a:lnTo>
                      <a:pt x="3115" y="2175"/>
                    </a:lnTo>
                    <a:lnTo>
                      <a:pt x="3106" y="2150"/>
                    </a:lnTo>
                    <a:lnTo>
                      <a:pt x="3101" y="2125"/>
                    </a:lnTo>
                    <a:lnTo>
                      <a:pt x="3096" y="2098"/>
                    </a:lnTo>
                    <a:lnTo>
                      <a:pt x="3096" y="2072"/>
                    </a:lnTo>
                    <a:lnTo>
                      <a:pt x="3096" y="2043"/>
                    </a:lnTo>
                    <a:lnTo>
                      <a:pt x="3101" y="2016"/>
                    </a:lnTo>
                    <a:lnTo>
                      <a:pt x="3106" y="1991"/>
                    </a:lnTo>
                    <a:lnTo>
                      <a:pt x="3115" y="1967"/>
                    </a:lnTo>
                    <a:lnTo>
                      <a:pt x="3128" y="1943"/>
                    </a:lnTo>
                    <a:lnTo>
                      <a:pt x="3140" y="1920"/>
                    </a:lnTo>
                    <a:lnTo>
                      <a:pt x="3156" y="1899"/>
                    </a:lnTo>
                    <a:lnTo>
                      <a:pt x="3174" y="1881"/>
                    </a:lnTo>
                    <a:lnTo>
                      <a:pt x="3192" y="1863"/>
                    </a:lnTo>
                    <a:lnTo>
                      <a:pt x="3213" y="1847"/>
                    </a:lnTo>
                    <a:lnTo>
                      <a:pt x="3234" y="1835"/>
                    </a:lnTo>
                    <a:lnTo>
                      <a:pt x="3258" y="1822"/>
                    </a:lnTo>
                    <a:lnTo>
                      <a:pt x="3283" y="1814"/>
                    </a:lnTo>
                    <a:lnTo>
                      <a:pt x="3309" y="1806"/>
                    </a:lnTo>
                    <a:lnTo>
                      <a:pt x="3336" y="1803"/>
                    </a:lnTo>
                    <a:lnTo>
                      <a:pt x="3363" y="1801"/>
                    </a:lnTo>
                    <a:lnTo>
                      <a:pt x="3364" y="1801"/>
                    </a:lnTo>
                    <a:lnTo>
                      <a:pt x="4212" y="1801"/>
                    </a:lnTo>
                    <a:lnTo>
                      <a:pt x="4212" y="2643"/>
                    </a:lnTo>
                    <a:lnTo>
                      <a:pt x="5695" y="2643"/>
                    </a:lnTo>
                    <a:lnTo>
                      <a:pt x="5734" y="2643"/>
                    </a:lnTo>
                    <a:lnTo>
                      <a:pt x="5771" y="2645"/>
                    </a:lnTo>
                    <a:lnTo>
                      <a:pt x="5810" y="2646"/>
                    </a:lnTo>
                    <a:lnTo>
                      <a:pt x="5849" y="2652"/>
                    </a:lnTo>
                    <a:lnTo>
                      <a:pt x="5887" y="2655"/>
                    </a:lnTo>
                    <a:lnTo>
                      <a:pt x="5924" y="2662"/>
                    </a:lnTo>
                    <a:lnTo>
                      <a:pt x="5999" y="2677"/>
                    </a:lnTo>
                    <a:lnTo>
                      <a:pt x="6070" y="2696"/>
                    </a:lnTo>
                    <a:lnTo>
                      <a:pt x="6141" y="2718"/>
                    </a:lnTo>
                    <a:lnTo>
                      <a:pt x="6211" y="2744"/>
                    </a:lnTo>
                    <a:lnTo>
                      <a:pt x="6279" y="2775"/>
                    </a:lnTo>
                    <a:lnTo>
                      <a:pt x="6344" y="2808"/>
                    </a:lnTo>
                    <a:lnTo>
                      <a:pt x="6407" y="2846"/>
                    </a:lnTo>
                    <a:lnTo>
                      <a:pt x="6467" y="2885"/>
                    </a:lnTo>
                    <a:lnTo>
                      <a:pt x="6526" y="2929"/>
                    </a:lnTo>
                    <a:lnTo>
                      <a:pt x="6583" y="2976"/>
                    </a:lnTo>
                    <a:lnTo>
                      <a:pt x="6636" y="3024"/>
                    </a:lnTo>
                    <a:lnTo>
                      <a:pt x="6688" y="3075"/>
                    </a:lnTo>
                    <a:lnTo>
                      <a:pt x="6736" y="3130"/>
                    </a:lnTo>
                    <a:lnTo>
                      <a:pt x="6533" y="3333"/>
                    </a:lnTo>
                    <a:lnTo>
                      <a:pt x="6494" y="3287"/>
                    </a:lnTo>
                    <a:lnTo>
                      <a:pt x="6455" y="3244"/>
                    </a:lnTo>
                    <a:lnTo>
                      <a:pt x="6412" y="3203"/>
                    </a:lnTo>
                    <a:lnTo>
                      <a:pt x="6368" y="3166"/>
                    </a:lnTo>
                    <a:lnTo>
                      <a:pt x="6319" y="3129"/>
                    </a:lnTo>
                    <a:lnTo>
                      <a:pt x="6271" y="3097"/>
                    </a:lnTo>
                    <a:lnTo>
                      <a:pt x="6220" y="3065"/>
                    </a:lnTo>
                    <a:lnTo>
                      <a:pt x="6168" y="3038"/>
                    </a:lnTo>
                    <a:lnTo>
                      <a:pt x="6113" y="3013"/>
                    </a:lnTo>
                    <a:lnTo>
                      <a:pt x="6058" y="2990"/>
                    </a:lnTo>
                    <a:lnTo>
                      <a:pt x="5999" y="2972"/>
                    </a:lnTo>
                    <a:lnTo>
                      <a:pt x="5940" y="2956"/>
                    </a:lnTo>
                    <a:lnTo>
                      <a:pt x="5882" y="2944"/>
                    </a:lnTo>
                    <a:lnTo>
                      <a:pt x="5819" y="2935"/>
                    </a:lnTo>
                    <a:lnTo>
                      <a:pt x="5757" y="2929"/>
                    </a:lnTo>
                    <a:lnTo>
                      <a:pt x="5695" y="2928"/>
                    </a:lnTo>
                    <a:lnTo>
                      <a:pt x="947" y="2928"/>
                    </a:lnTo>
                    <a:lnTo>
                      <a:pt x="662" y="2643"/>
                    </a:lnTo>
                    <a:lnTo>
                      <a:pt x="3363" y="2643"/>
                    </a:lnTo>
                    <a:lnTo>
                      <a:pt x="3363" y="2340"/>
                    </a:lnTo>
                    <a:close/>
                  </a:path>
                </a:pathLst>
              </a:custGeom>
              <a:solidFill>
                <a:srgbClr val="646464"/>
              </a:solidFill>
              <a:ln w="9525">
                <a:noFill/>
                <a:round/>
                <a:headEnd/>
                <a:tailEnd/>
              </a:ln>
            </p:spPr>
            <p:txBody>
              <a:bodyPr/>
              <a:lstStyle/>
              <a:p>
                <a:pPr defTabSz="791108">
                  <a:defRPr/>
                </a:pPr>
                <a:endParaRPr lang="de-DE" sz="1557" kern="0" dirty="0">
                  <a:solidFill>
                    <a:srgbClr val="646464"/>
                  </a:solidFill>
                  <a:latin typeface="+mj-lt"/>
                </a:endParaRPr>
              </a:p>
            </p:txBody>
          </p:sp>
          <p:sp>
            <p:nvSpPr>
              <p:cNvPr id="237" name="Freeform 59"/>
              <p:cNvSpPr>
                <a:spLocks noChangeAspect="1" noEditPoints="1"/>
              </p:cNvSpPr>
              <p:nvPr/>
            </p:nvSpPr>
            <p:spPr bwMode="auto">
              <a:xfrm>
                <a:off x="2503436" y="5500404"/>
                <a:ext cx="207520" cy="218514"/>
              </a:xfrm>
              <a:custGeom>
                <a:avLst/>
                <a:gdLst>
                  <a:gd name="T0" fmla="*/ 2147483647 w 4531"/>
                  <a:gd name="T1" fmla="*/ 2147483647 h 4763"/>
                  <a:gd name="T2" fmla="*/ 2147483647 w 4531"/>
                  <a:gd name="T3" fmla="*/ 2147483647 h 4763"/>
                  <a:gd name="T4" fmla="*/ 2147483647 w 4531"/>
                  <a:gd name="T5" fmla="*/ 2147483647 h 4763"/>
                  <a:gd name="T6" fmla="*/ 2147483647 w 4531"/>
                  <a:gd name="T7" fmla="*/ 2147483647 h 4763"/>
                  <a:gd name="T8" fmla="*/ 2147483647 w 4531"/>
                  <a:gd name="T9" fmla="*/ 2147483647 h 4763"/>
                  <a:gd name="T10" fmla="*/ 2147483647 w 4531"/>
                  <a:gd name="T11" fmla="*/ 2147483647 h 4763"/>
                  <a:gd name="T12" fmla="*/ 2147483647 w 4531"/>
                  <a:gd name="T13" fmla="*/ 2147483647 h 4763"/>
                  <a:gd name="T14" fmla="*/ 2147483647 w 4531"/>
                  <a:gd name="T15" fmla="*/ 2147483647 h 4763"/>
                  <a:gd name="T16" fmla="*/ 2147483647 w 4531"/>
                  <a:gd name="T17" fmla="*/ 2147483647 h 4763"/>
                  <a:gd name="T18" fmla="*/ 2147483647 w 4531"/>
                  <a:gd name="T19" fmla="*/ 2147483647 h 4763"/>
                  <a:gd name="T20" fmla="*/ 2147483647 w 4531"/>
                  <a:gd name="T21" fmla="*/ 2147483647 h 4763"/>
                  <a:gd name="T22" fmla="*/ 2147483647 w 4531"/>
                  <a:gd name="T23" fmla="*/ 2147483647 h 4763"/>
                  <a:gd name="T24" fmla="*/ 2147483647 w 4531"/>
                  <a:gd name="T25" fmla="*/ 2147483647 h 4763"/>
                  <a:gd name="T26" fmla="*/ 2147483647 w 4531"/>
                  <a:gd name="T27" fmla="*/ 2147483647 h 4763"/>
                  <a:gd name="T28" fmla="*/ 2147483647 w 4531"/>
                  <a:gd name="T29" fmla="*/ 2147483647 h 4763"/>
                  <a:gd name="T30" fmla="*/ 2147483647 w 4531"/>
                  <a:gd name="T31" fmla="*/ 2147483647 h 4763"/>
                  <a:gd name="T32" fmla="*/ 2147483647 w 4531"/>
                  <a:gd name="T33" fmla="*/ 2147483647 h 4763"/>
                  <a:gd name="T34" fmla="*/ 2147483647 w 4531"/>
                  <a:gd name="T35" fmla="*/ 2147483647 h 4763"/>
                  <a:gd name="T36" fmla="*/ 2147483647 w 4531"/>
                  <a:gd name="T37" fmla="*/ 2147483647 h 4763"/>
                  <a:gd name="T38" fmla="*/ 2147483647 w 4531"/>
                  <a:gd name="T39" fmla="*/ 2147483647 h 4763"/>
                  <a:gd name="T40" fmla="*/ 2147483647 w 4531"/>
                  <a:gd name="T41" fmla="*/ 2147483647 h 4763"/>
                  <a:gd name="T42" fmla="*/ 2147483647 w 4531"/>
                  <a:gd name="T43" fmla="*/ 2147483647 h 4763"/>
                  <a:gd name="T44" fmla="*/ 2147483647 w 4531"/>
                  <a:gd name="T45" fmla="*/ 2147483647 h 4763"/>
                  <a:gd name="T46" fmla="*/ 2147483647 w 4531"/>
                  <a:gd name="T47" fmla="*/ 2147483647 h 4763"/>
                  <a:gd name="T48" fmla="*/ 2147483647 w 4531"/>
                  <a:gd name="T49" fmla="*/ 2147483647 h 4763"/>
                  <a:gd name="T50" fmla="*/ 2147483647 w 4531"/>
                  <a:gd name="T51" fmla="*/ 2147483647 h 4763"/>
                  <a:gd name="T52" fmla="*/ 2147483647 w 4531"/>
                  <a:gd name="T53" fmla="*/ 2147483647 h 4763"/>
                  <a:gd name="T54" fmla="*/ 2147483647 w 4531"/>
                  <a:gd name="T55" fmla="*/ 2147483647 h 4763"/>
                  <a:gd name="T56" fmla="*/ 2147483647 w 4531"/>
                  <a:gd name="T57" fmla="*/ 2147483647 h 4763"/>
                  <a:gd name="T58" fmla="*/ 2147483647 w 4531"/>
                  <a:gd name="T59" fmla="*/ 2147483647 h 4763"/>
                  <a:gd name="T60" fmla="*/ 2147483647 w 4531"/>
                  <a:gd name="T61" fmla="*/ 2147483647 h 4763"/>
                  <a:gd name="T62" fmla="*/ 2147483647 w 4531"/>
                  <a:gd name="T63" fmla="*/ 2147483647 h 4763"/>
                  <a:gd name="T64" fmla="*/ 2147483647 w 4531"/>
                  <a:gd name="T65" fmla="*/ 2147483647 h 4763"/>
                  <a:gd name="T66" fmla="*/ 2147483647 w 4531"/>
                  <a:gd name="T67" fmla="*/ 2147483647 h 4763"/>
                  <a:gd name="T68" fmla="*/ 2147483647 w 4531"/>
                  <a:gd name="T69" fmla="*/ 2147483647 h 4763"/>
                  <a:gd name="T70" fmla="*/ 2147483647 w 4531"/>
                  <a:gd name="T71" fmla="*/ 2147483647 h 4763"/>
                  <a:gd name="T72" fmla="*/ 2147483647 w 4531"/>
                  <a:gd name="T73" fmla="*/ 2147483647 h 4763"/>
                  <a:gd name="T74" fmla="*/ 2147483647 w 4531"/>
                  <a:gd name="T75" fmla="*/ 2147483647 h 4763"/>
                  <a:gd name="T76" fmla="*/ 2147483647 w 4531"/>
                  <a:gd name="T77" fmla="*/ 2147483647 h 4763"/>
                  <a:gd name="T78" fmla="*/ 2147483647 w 4531"/>
                  <a:gd name="T79" fmla="*/ 2147483647 h 4763"/>
                  <a:gd name="T80" fmla="*/ 2147483647 w 4531"/>
                  <a:gd name="T81" fmla="*/ 2147483647 h 4763"/>
                  <a:gd name="T82" fmla="*/ 2147483647 w 4531"/>
                  <a:gd name="T83" fmla="*/ 2147483647 h 4763"/>
                  <a:gd name="T84" fmla="*/ 2147483647 w 4531"/>
                  <a:gd name="T85" fmla="*/ 2147483647 h 4763"/>
                  <a:gd name="T86" fmla="*/ 2147483647 w 4531"/>
                  <a:gd name="T87" fmla="*/ 2147483647 h 4763"/>
                  <a:gd name="T88" fmla="*/ 2147483647 w 4531"/>
                  <a:gd name="T89" fmla="*/ 2147483647 h 4763"/>
                  <a:gd name="T90" fmla="*/ 2147483647 w 4531"/>
                  <a:gd name="T91" fmla="*/ 2147483647 h 4763"/>
                  <a:gd name="T92" fmla="*/ 2147483647 w 4531"/>
                  <a:gd name="T93" fmla="*/ 2147483647 h 4763"/>
                  <a:gd name="T94" fmla="*/ 2147483647 w 4531"/>
                  <a:gd name="T95" fmla="*/ 2147483647 h 4763"/>
                  <a:gd name="T96" fmla="*/ 2147483647 w 4531"/>
                  <a:gd name="T97" fmla="*/ 2147483647 h 4763"/>
                  <a:gd name="T98" fmla="*/ 2147483647 w 4531"/>
                  <a:gd name="T99" fmla="*/ 2147483647 h 4763"/>
                  <a:gd name="T100" fmla="*/ 2147483647 w 4531"/>
                  <a:gd name="T101" fmla="*/ 2147483647 h 4763"/>
                  <a:gd name="T102" fmla="*/ 2147483647 w 4531"/>
                  <a:gd name="T103" fmla="*/ 2147483647 h 4763"/>
                  <a:gd name="T104" fmla="*/ 2147483647 w 4531"/>
                  <a:gd name="T105" fmla="*/ 2147483647 h 4763"/>
                  <a:gd name="T106" fmla="*/ 2147483647 w 4531"/>
                  <a:gd name="T107" fmla="*/ 2147483647 h 4763"/>
                  <a:gd name="T108" fmla="*/ 2147483647 w 4531"/>
                  <a:gd name="T109" fmla="*/ 2147483647 h 4763"/>
                  <a:gd name="T110" fmla="*/ 2147483647 w 4531"/>
                  <a:gd name="T111" fmla="*/ 2147483647 h 4763"/>
                  <a:gd name="T112" fmla="*/ 2147483647 w 4531"/>
                  <a:gd name="T113" fmla="*/ 2147483647 h 4763"/>
                  <a:gd name="T114" fmla="*/ 2147483647 w 4531"/>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531"/>
                  <a:gd name="T175" fmla="*/ 0 h 4763"/>
                  <a:gd name="T176" fmla="*/ 4531 w 4531"/>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531" h="4763">
                    <a:moveTo>
                      <a:pt x="3199" y="2585"/>
                    </a:moveTo>
                    <a:lnTo>
                      <a:pt x="3199" y="2585"/>
                    </a:lnTo>
                    <a:lnTo>
                      <a:pt x="3205" y="2537"/>
                    </a:lnTo>
                    <a:lnTo>
                      <a:pt x="3211" y="2490"/>
                    </a:lnTo>
                    <a:lnTo>
                      <a:pt x="3213" y="2444"/>
                    </a:lnTo>
                    <a:lnTo>
                      <a:pt x="3213" y="2399"/>
                    </a:lnTo>
                    <a:lnTo>
                      <a:pt x="3211" y="2353"/>
                    </a:lnTo>
                    <a:lnTo>
                      <a:pt x="3205" y="2308"/>
                    </a:lnTo>
                    <a:lnTo>
                      <a:pt x="3199" y="2264"/>
                    </a:lnTo>
                    <a:lnTo>
                      <a:pt x="3190" y="2220"/>
                    </a:lnTo>
                    <a:lnTo>
                      <a:pt x="3179" y="2177"/>
                    </a:lnTo>
                    <a:lnTo>
                      <a:pt x="3166" y="2134"/>
                    </a:lnTo>
                    <a:lnTo>
                      <a:pt x="3150" y="2092"/>
                    </a:lnTo>
                    <a:lnTo>
                      <a:pt x="3133" y="2051"/>
                    </a:lnTo>
                    <a:lnTo>
                      <a:pt x="3115" y="2012"/>
                    </a:lnTo>
                    <a:lnTo>
                      <a:pt x="3094" y="1973"/>
                    </a:lnTo>
                    <a:lnTo>
                      <a:pt x="3072" y="1935"/>
                    </a:lnTo>
                    <a:lnTo>
                      <a:pt x="3047" y="1898"/>
                    </a:lnTo>
                    <a:lnTo>
                      <a:pt x="3021" y="1863"/>
                    </a:lnTo>
                    <a:lnTo>
                      <a:pt x="2993" y="1829"/>
                    </a:lnTo>
                    <a:lnTo>
                      <a:pt x="2964" y="1796"/>
                    </a:lnTo>
                    <a:lnTo>
                      <a:pt x="2933" y="1765"/>
                    </a:lnTo>
                    <a:lnTo>
                      <a:pt x="2900" y="1734"/>
                    </a:lnTo>
                    <a:lnTo>
                      <a:pt x="2866" y="1707"/>
                    </a:lnTo>
                    <a:lnTo>
                      <a:pt x="2831" y="1679"/>
                    </a:lnTo>
                    <a:lnTo>
                      <a:pt x="2794" y="1654"/>
                    </a:lnTo>
                    <a:lnTo>
                      <a:pt x="2756" y="1631"/>
                    </a:lnTo>
                    <a:lnTo>
                      <a:pt x="2717" y="1610"/>
                    </a:lnTo>
                    <a:lnTo>
                      <a:pt x="2676" y="1589"/>
                    </a:lnTo>
                    <a:lnTo>
                      <a:pt x="2634" y="1572"/>
                    </a:lnTo>
                    <a:lnTo>
                      <a:pt x="2591" y="1556"/>
                    </a:lnTo>
                    <a:lnTo>
                      <a:pt x="2547" y="1542"/>
                    </a:lnTo>
                    <a:lnTo>
                      <a:pt x="2501" y="1531"/>
                    </a:lnTo>
                    <a:lnTo>
                      <a:pt x="2455" y="1521"/>
                    </a:lnTo>
                    <a:lnTo>
                      <a:pt x="2423" y="1516"/>
                    </a:lnTo>
                    <a:lnTo>
                      <a:pt x="2391" y="1512"/>
                    </a:lnTo>
                    <a:lnTo>
                      <a:pt x="2359" y="1509"/>
                    </a:lnTo>
                    <a:lnTo>
                      <a:pt x="2328" y="1508"/>
                    </a:lnTo>
                    <a:lnTo>
                      <a:pt x="2296" y="1506"/>
                    </a:lnTo>
                    <a:lnTo>
                      <a:pt x="2266" y="1506"/>
                    </a:lnTo>
                    <a:lnTo>
                      <a:pt x="2235" y="1508"/>
                    </a:lnTo>
                    <a:lnTo>
                      <a:pt x="2205" y="1510"/>
                    </a:lnTo>
                    <a:lnTo>
                      <a:pt x="2175" y="1514"/>
                    </a:lnTo>
                    <a:lnTo>
                      <a:pt x="2146" y="1518"/>
                    </a:lnTo>
                    <a:lnTo>
                      <a:pt x="2117" y="1523"/>
                    </a:lnTo>
                    <a:lnTo>
                      <a:pt x="2088" y="1529"/>
                    </a:lnTo>
                    <a:lnTo>
                      <a:pt x="2059" y="1537"/>
                    </a:lnTo>
                    <a:lnTo>
                      <a:pt x="2032" y="1544"/>
                    </a:lnTo>
                    <a:lnTo>
                      <a:pt x="2004" y="1554"/>
                    </a:lnTo>
                    <a:lnTo>
                      <a:pt x="1977" y="1563"/>
                    </a:lnTo>
                    <a:lnTo>
                      <a:pt x="1949" y="1573"/>
                    </a:lnTo>
                    <a:lnTo>
                      <a:pt x="1923" y="1585"/>
                    </a:lnTo>
                    <a:lnTo>
                      <a:pt x="1898" y="1597"/>
                    </a:lnTo>
                    <a:lnTo>
                      <a:pt x="1872" y="1610"/>
                    </a:lnTo>
                    <a:lnTo>
                      <a:pt x="1847" y="1623"/>
                    </a:lnTo>
                    <a:lnTo>
                      <a:pt x="1824" y="1637"/>
                    </a:lnTo>
                    <a:lnTo>
                      <a:pt x="1799" y="1653"/>
                    </a:lnTo>
                    <a:lnTo>
                      <a:pt x="1776" y="1669"/>
                    </a:lnTo>
                    <a:lnTo>
                      <a:pt x="1753" y="1685"/>
                    </a:lnTo>
                    <a:lnTo>
                      <a:pt x="1731" y="1702"/>
                    </a:lnTo>
                    <a:lnTo>
                      <a:pt x="1710" y="1720"/>
                    </a:lnTo>
                    <a:lnTo>
                      <a:pt x="1689" y="1738"/>
                    </a:lnTo>
                    <a:lnTo>
                      <a:pt x="1668" y="1758"/>
                    </a:lnTo>
                    <a:lnTo>
                      <a:pt x="1648" y="1778"/>
                    </a:lnTo>
                    <a:lnTo>
                      <a:pt x="1628" y="1797"/>
                    </a:lnTo>
                    <a:lnTo>
                      <a:pt x="1610" y="1818"/>
                    </a:lnTo>
                    <a:lnTo>
                      <a:pt x="1592" y="1840"/>
                    </a:lnTo>
                    <a:lnTo>
                      <a:pt x="1573" y="1861"/>
                    </a:lnTo>
                    <a:lnTo>
                      <a:pt x="1558" y="1885"/>
                    </a:lnTo>
                    <a:lnTo>
                      <a:pt x="1541" y="1907"/>
                    </a:lnTo>
                    <a:lnTo>
                      <a:pt x="1526" y="1931"/>
                    </a:lnTo>
                    <a:lnTo>
                      <a:pt x="1511" y="1954"/>
                    </a:lnTo>
                    <a:lnTo>
                      <a:pt x="1497" y="1979"/>
                    </a:lnTo>
                    <a:lnTo>
                      <a:pt x="1484" y="2004"/>
                    </a:lnTo>
                    <a:lnTo>
                      <a:pt x="1471" y="2029"/>
                    </a:lnTo>
                    <a:lnTo>
                      <a:pt x="1459" y="2054"/>
                    </a:lnTo>
                    <a:lnTo>
                      <a:pt x="1448" y="2080"/>
                    </a:lnTo>
                    <a:lnTo>
                      <a:pt x="1438" y="2106"/>
                    </a:lnTo>
                    <a:lnTo>
                      <a:pt x="1428" y="2133"/>
                    </a:lnTo>
                    <a:lnTo>
                      <a:pt x="1420" y="2160"/>
                    </a:lnTo>
                    <a:lnTo>
                      <a:pt x="1412" y="2186"/>
                    </a:lnTo>
                    <a:lnTo>
                      <a:pt x="1404" y="2214"/>
                    </a:lnTo>
                    <a:lnTo>
                      <a:pt x="1398" y="2241"/>
                    </a:lnTo>
                    <a:lnTo>
                      <a:pt x="1393" y="2270"/>
                    </a:lnTo>
                    <a:lnTo>
                      <a:pt x="1389" y="2298"/>
                    </a:lnTo>
                    <a:lnTo>
                      <a:pt x="1385" y="2326"/>
                    </a:lnTo>
                    <a:lnTo>
                      <a:pt x="1382" y="2354"/>
                    </a:lnTo>
                    <a:lnTo>
                      <a:pt x="1380" y="2383"/>
                    </a:lnTo>
                    <a:lnTo>
                      <a:pt x="1380" y="2412"/>
                    </a:lnTo>
                    <a:lnTo>
                      <a:pt x="1380" y="2440"/>
                    </a:lnTo>
                    <a:lnTo>
                      <a:pt x="1380" y="2469"/>
                    </a:lnTo>
                    <a:lnTo>
                      <a:pt x="1382" y="2498"/>
                    </a:lnTo>
                    <a:lnTo>
                      <a:pt x="1385" y="2527"/>
                    </a:lnTo>
                    <a:lnTo>
                      <a:pt x="1389" y="2557"/>
                    </a:lnTo>
                    <a:lnTo>
                      <a:pt x="1393" y="2586"/>
                    </a:lnTo>
                    <a:lnTo>
                      <a:pt x="1399" y="2615"/>
                    </a:lnTo>
                    <a:lnTo>
                      <a:pt x="1406" y="2645"/>
                    </a:lnTo>
                    <a:lnTo>
                      <a:pt x="1414" y="2674"/>
                    </a:lnTo>
                    <a:lnTo>
                      <a:pt x="3178" y="2674"/>
                    </a:lnTo>
                    <a:lnTo>
                      <a:pt x="3190" y="2629"/>
                    </a:lnTo>
                    <a:lnTo>
                      <a:pt x="3199" y="2585"/>
                    </a:lnTo>
                    <a:close/>
                    <a:moveTo>
                      <a:pt x="1378" y="546"/>
                    </a:moveTo>
                    <a:lnTo>
                      <a:pt x="518" y="825"/>
                    </a:lnTo>
                    <a:lnTo>
                      <a:pt x="161" y="1331"/>
                    </a:lnTo>
                    <a:lnTo>
                      <a:pt x="1022" y="1060"/>
                    </a:lnTo>
                    <a:lnTo>
                      <a:pt x="1053" y="1161"/>
                    </a:lnTo>
                    <a:lnTo>
                      <a:pt x="126" y="1451"/>
                    </a:lnTo>
                    <a:lnTo>
                      <a:pt x="535" y="2674"/>
                    </a:lnTo>
                    <a:lnTo>
                      <a:pt x="1305" y="2674"/>
                    </a:lnTo>
                    <a:lnTo>
                      <a:pt x="1293" y="2623"/>
                    </a:lnTo>
                    <a:lnTo>
                      <a:pt x="1285" y="2573"/>
                    </a:lnTo>
                    <a:lnTo>
                      <a:pt x="1279" y="2522"/>
                    </a:lnTo>
                    <a:lnTo>
                      <a:pt x="1275" y="2472"/>
                    </a:lnTo>
                    <a:lnTo>
                      <a:pt x="1273" y="2421"/>
                    </a:lnTo>
                    <a:lnTo>
                      <a:pt x="1275" y="2371"/>
                    </a:lnTo>
                    <a:lnTo>
                      <a:pt x="1279" y="2321"/>
                    </a:lnTo>
                    <a:lnTo>
                      <a:pt x="1285" y="2271"/>
                    </a:lnTo>
                    <a:lnTo>
                      <a:pt x="1294" y="2223"/>
                    </a:lnTo>
                    <a:lnTo>
                      <a:pt x="1305" y="2175"/>
                    </a:lnTo>
                    <a:lnTo>
                      <a:pt x="1319" y="2126"/>
                    </a:lnTo>
                    <a:lnTo>
                      <a:pt x="1335" y="2079"/>
                    </a:lnTo>
                    <a:lnTo>
                      <a:pt x="1352" y="2033"/>
                    </a:lnTo>
                    <a:lnTo>
                      <a:pt x="1373" y="1987"/>
                    </a:lnTo>
                    <a:lnTo>
                      <a:pt x="1395" y="1943"/>
                    </a:lnTo>
                    <a:lnTo>
                      <a:pt x="1420" y="1899"/>
                    </a:lnTo>
                    <a:lnTo>
                      <a:pt x="1133" y="1045"/>
                    </a:lnTo>
                    <a:lnTo>
                      <a:pt x="1144" y="1022"/>
                    </a:lnTo>
                    <a:lnTo>
                      <a:pt x="1171" y="964"/>
                    </a:lnTo>
                    <a:lnTo>
                      <a:pt x="1255" y="794"/>
                    </a:lnTo>
                    <a:lnTo>
                      <a:pt x="1378" y="546"/>
                    </a:lnTo>
                    <a:close/>
                    <a:moveTo>
                      <a:pt x="3306" y="4552"/>
                    </a:moveTo>
                    <a:lnTo>
                      <a:pt x="4260" y="3598"/>
                    </a:lnTo>
                    <a:lnTo>
                      <a:pt x="4260" y="1792"/>
                    </a:lnTo>
                    <a:lnTo>
                      <a:pt x="3306" y="2747"/>
                    </a:lnTo>
                    <a:lnTo>
                      <a:pt x="3306" y="4552"/>
                    </a:lnTo>
                    <a:close/>
                    <a:moveTo>
                      <a:pt x="507" y="2778"/>
                    </a:moveTo>
                    <a:lnTo>
                      <a:pt x="507" y="4606"/>
                    </a:lnTo>
                    <a:lnTo>
                      <a:pt x="3202" y="4606"/>
                    </a:lnTo>
                    <a:lnTo>
                      <a:pt x="3202" y="2778"/>
                    </a:lnTo>
                    <a:lnTo>
                      <a:pt x="507" y="2778"/>
                    </a:lnTo>
                    <a:close/>
                    <a:moveTo>
                      <a:pt x="4230" y="1560"/>
                    </a:moveTo>
                    <a:lnTo>
                      <a:pt x="4417" y="1560"/>
                    </a:lnTo>
                    <a:lnTo>
                      <a:pt x="4417" y="3643"/>
                    </a:lnTo>
                    <a:lnTo>
                      <a:pt x="3297" y="4763"/>
                    </a:lnTo>
                    <a:lnTo>
                      <a:pt x="350" y="4763"/>
                    </a:lnTo>
                    <a:lnTo>
                      <a:pt x="350" y="2674"/>
                    </a:lnTo>
                    <a:lnTo>
                      <a:pt x="410" y="2629"/>
                    </a:lnTo>
                    <a:lnTo>
                      <a:pt x="2" y="1412"/>
                    </a:lnTo>
                    <a:lnTo>
                      <a:pt x="0" y="1402"/>
                    </a:lnTo>
                    <a:lnTo>
                      <a:pt x="0" y="1390"/>
                    </a:lnTo>
                    <a:lnTo>
                      <a:pt x="3" y="1379"/>
                    </a:lnTo>
                    <a:lnTo>
                      <a:pt x="7" y="1369"/>
                    </a:lnTo>
                    <a:lnTo>
                      <a:pt x="9" y="1366"/>
                    </a:lnTo>
                    <a:lnTo>
                      <a:pt x="442" y="751"/>
                    </a:lnTo>
                    <a:lnTo>
                      <a:pt x="455" y="740"/>
                    </a:lnTo>
                    <a:lnTo>
                      <a:pt x="468" y="731"/>
                    </a:lnTo>
                    <a:lnTo>
                      <a:pt x="1456" y="411"/>
                    </a:lnTo>
                    <a:lnTo>
                      <a:pt x="1465" y="409"/>
                    </a:lnTo>
                    <a:lnTo>
                      <a:pt x="1475" y="409"/>
                    </a:lnTo>
                    <a:lnTo>
                      <a:pt x="1486" y="410"/>
                    </a:lnTo>
                    <a:lnTo>
                      <a:pt x="1495" y="414"/>
                    </a:lnTo>
                    <a:lnTo>
                      <a:pt x="1504" y="419"/>
                    </a:lnTo>
                    <a:lnTo>
                      <a:pt x="1511" y="427"/>
                    </a:lnTo>
                    <a:lnTo>
                      <a:pt x="1517" y="435"/>
                    </a:lnTo>
                    <a:lnTo>
                      <a:pt x="1521" y="444"/>
                    </a:lnTo>
                    <a:lnTo>
                      <a:pt x="1873" y="1495"/>
                    </a:lnTo>
                    <a:lnTo>
                      <a:pt x="1907" y="1479"/>
                    </a:lnTo>
                    <a:lnTo>
                      <a:pt x="1943" y="1466"/>
                    </a:lnTo>
                    <a:lnTo>
                      <a:pt x="1978" y="1453"/>
                    </a:lnTo>
                    <a:lnTo>
                      <a:pt x="2014" y="1442"/>
                    </a:lnTo>
                    <a:lnTo>
                      <a:pt x="2050" y="1432"/>
                    </a:lnTo>
                    <a:lnTo>
                      <a:pt x="2087" y="1424"/>
                    </a:lnTo>
                    <a:lnTo>
                      <a:pt x="2125" y="1417"/>
                    </a:lnTo>
                    <a:lnTo>
                      <a:pt x="2162" y="1411"/>
                    </a:lnTo>
                    <a:lnTo>
                      <a:pt x="2200" y="1407"/>
                    </a:lnTo>
                    <a:lnTo>
                      <a:pt x="2239" y="1404"/>
                    </a:lnTo>
                    <a:lnTo>
                      <a:pt x="2277" y="1403"/>
                    </a:lnTo>
                    <a:lnTo>
                      <a:pt x="2316" y="1403"/>
                    </a:lnTo>
                    <a:lnTo>
                      <a:pt x="2355" y="1404"/>
                    </a:lnTo>
                    <a:lnTo>
                      <a:pt x="2395" y="1407"/>
                    </a:lnTo>
                    <a:lnTo>
                      <a:pt x="2434" y="1412"/>
                    </a:lnTo>
                    <a:lnTo>
                      <a:pt x="2473" y="1419"/>
                    </a:lnTo>
                    <a:lnTo>
                      <a:pt x="2503" y="1424"/>
                    </a:lnTo>
                    <a:lnTo>
                      <a:pt x="2534" y="1430"/>
                    </a:lnTo>
                    <a:lnTo>
                      <a:pt x="2562" y="1438"/>
                    </a:lnTo>
                    <a:lnTo>
                      <a:pt x="2591" y="1446"/>
                    </a:lnTo>
                    <a:lnTo>
                      <a:pt x="2620" y="1455"/>
                    </a:lnTo>
                    <a:lnTo>
                      <a:pt x="2649" y="1466"/>
                    </a:lnTo>
                    <a:lnTo>
                      <a:pt x="2676" y="1476"/>
                    </a:lnTo>
                    <a:lnTo>
                      <a:pt x="2704" y="1487"/>
                    </a:lnTo>
                    <a:lnTo>
                      <a:pt x="2734" y="1501"/>
                    </a:lnTo>
                    <a:lnTo>
                      <a:pt x="2763" y="1516"/>
                    </a:lnTo>
                    <a:lnTo>
                      <a:pt x="2792" y="1531"/>
                    </a:lnTo>
                    <a:lnTo>
                      <a:pt x="2820" y="1547"/>
                    </a:lnTo>
                    <a:lnTo>
                      <a:pt x="2848" y="1564"/>
                    </a:lnTo>
                    <a:lnTo>
                      <a:pt x="2874" y="1582"/>
                    </a:lnTo>
                    <a:lnTo>
                      <a:pt x="2902" y="1601"/>
                    </a:lnTo>
                    <a:lnTo>
                      <a:pt x="2926" y="1620"/>
                    </a:lnTo>
                    <a:lnTo>
                      <a:pt x="2951" y="1640"/>
                    </a:lnTo>
                    <a:lnTo>
                      <a:pt x="2976" y="1662"/>
                    </a:lnTo>
                    <a:lnTo>
                      <a:pt x="3000" y="1683"/>
                    </a:lnTo>
                    <a:lnTo>
                      <a:pt x="3022" y="1706"/>
                    </a:lnTo>
                    <a:lnTo>
                      <a:pt x="3044" y="1729"/>
                    </a:lnTo>
                    <a:lnTo>
                      <a:pt x="3067" y="1753"/>
                    </a:lnTo>
                    <a:lnTo>
                      <a:pt x="3086" y="1778"/>
                    </a:lnTo>
                    <a:lnTo>
                      <a:pt x="3106" y="1802"/>
                    </a:lnTo>
                    <a:lnTo>
                      <a:pt x="3126" y="1827"/>
                    </a:lnTo>
                    <a:lnTo>
                      <a:pt x="3144" y="1855"/>
                    </a:lnTo>
                    <a:lnTo>
                      <a:pt x="3161" y="1881"/>
                    </a:lnTo>
                    <a:lnTo>
                      <a:pt x="3178" y="1909"/>
                    </a:lnTo>
                    <a:lnTo>
                      <a:pt x="3194" y="1936"/>
                    </a:lnTo>
                    <a:lnTo>
                      <a:pt x="3208" y="1965"/>
                    </a:lnTo>
                    <a:lnTo>
                      <a:pt x="3222" y="1994"/>
                    </a:lnTo>
                    <a:lnTo>
                      <a:pt x="3236" y="2023"/>
                    </a:lnTo>
                    <a:lnTo>
                      <a:pt x="3247" y="2053"/>
                    </a:lnTo>
                    <a:lnTo>
                      <a:pt x="3259" y="2083"/>
                    </a:lnTo>
                    <a:lnTo>
                      <a:pt x="3270" y="2113"/>
                    </a:lnTo>
                    <a:lnTo>
                      <a:pt x="3279" y="2144"/>
                    </a:lnTo>
                    <a:lnTo>
                      <a:pt x="3287" y="2176"/>
                    </a:lnTo>
                    <a:lnTo>
                      <a:pt x="3295" y="2207"/>
                    </a:lnTo>
                    <a:lnTo>
                      <a:pt x="3301" y="2239"/>
                    </a:lnTo>
                    <a:lnTo>
                      <a:pt x="3306" y="2270"/>
                    </a:lnTo>
                    <a:lnTo>
                      <a:pt x="3879" y="924"/>
                    </a:lnTo>
                    <a:lnTo>
                      <a:pt x="3931" y="933"/>
                    </a:lnTo>
                    <a:lnTo>
                      <a:pt x="3981" y="941"/>
                    </a:lnTo>
                    <a:lnTo>
                      <a:pt x="4029" y="944"/>
                    </a:lnTo>
                    <a:lnTo>
                      <a:pt x="4075" y="947"/>
                    </a:lnTo>
                    <a:lnTo>
                      <a:pt x="4118" y="948"/>
                    </a:lnTo>
                    <a:lnTo>
                      <a:pt x="4160" y="946"/>
                    </a:lnTo>
                    <a:lnTo>
                      <a:pt x="4198" y="942"/>
                    </a:lnTo>
                    <a:lnTo>
                      <a:pt x="4235" y="937"/>
                    </a:lnTo>
                    <a:lnTo>
                      <a:pt x="4268" y="929"/>
                    </a:lnTo>
                    <a:lnTo>
                      <a:pt x="4299" y="918"/>
                    </a:lnTo>
                    <a:lnTo>
                      <a:pt x="4327" y="906"/>
                    </a:lnTo>
                    <a:lnTo>
                      <a:pt x="4350" y="893"/>
                    </a:lnTo>
                    <a:lnTo>
                      <a:pt x="4361" y="887"/>
                    </a:lnTo>
                    <a:lnTo>
                      <a:pt x="4371" y="879"/>
                    </a:lnTo>
                    <a:lnTo>
                      <a:pt x="4380" y="871"/>
                    </a:lnTo>
                    <a:lnTo>
                      <a:pt x="4390" y="862"/>
                    </a:lnTo>
                    <a:lnTo>
                      <a:pt x="4396" y="854"/>
                    </a:lnTo>
                    <a:lnTo>
                      <a:pt x="4403" y="845"/>
                    </a:lnTo>
                    <a:lnTo>
                      <a:pt x="4409" y="836"/>
                    </a:lnTo>
                    <a:lnTo>
                      <a:pt x="4413" y="825"/>
                    </a:lnTo>
                    <a:lnTo>
                      <a:pt x="4417" y="815"/>
                    </a:lnTo>
                    <a:lnTo>
                      <a:pt x="4421" y="803"/>
                    </a:lnTo>
                    <a:lnTo>
                      <a:pt x="4422" y="790"/>
                    </a:lnTo>
                    <a:lnTo>
                      <a:pt x="4424" y="778"/>
                    </a:lnTo>
                    <a:lnTo>
                      <a:pt x="4424" y="765"/>
                    </a:lnTo>
                    <a:lnTo>
                      <a:pt x="4422" y="751"/>
                    </a:lnTo>
                    <a:lnTo>
                      <a:pt x="4420" y="738"/>
                    </a:lnTo>
                    <a:lnTo>
                      <a:pt x="4416" y="723"/>
                    </a:lnTo>
                    <a:lnTo>
                      <a:pt x="4412" y="709"/>
                    </a:lnTo>
                    <a:lnTo>
                      <a:pt x="4407" y="693"/>
                    </a:lnTo>
                    <a:lnTo>
                      <a:pt x="4400" y="677"/>
                    </a:lnTo>
                    <a:lnTo>
                      <a:pt x="4393" y="663"/>
                    </a:lnTo>
                    <a:lnTo>
                      <a:pt x="4375" y="630"/>
                    </a:lnTo>
                    <a:lnTo>
                      <a:pt x="4353" y="597"/>
                    </a:lnTo>
                    <a:lnTo>
                      <a:pt x="4335" y="574"/>
                    </a:lnTo>
                    <a:lnTo>
                      <a:pt x="4316" y="550"/>
                    </a:lnTo>
                    <a:lnTo>
                      <a:pt x="4297" y="528"/>
                    </a:lnTo>
                    <a:lnTo>
                      <a:pt x="4277" y="507"/>
                    </a:lnTo>
                    <a:lnTo>
                      <a:pt x="4255" y="486"/>
                    </a:lnTo>
                    <a:lnTo>
                      <a:pt x="4232" y="464"/>
                    </a:lnTo>
                    <a:lnTo>
                      <a:pt x="4207" y="443"/>
                    </a:lnTo>
                    <a:lnTo>
                      <a:pt x="4180" y="422"/>
                    </a:lnTo>
                    <a:lnTo>
                      <a:pt x="4152" y="401"/>
                    </a:lnTo>
                    <a:lnTo>
                      <a:pt x="4124" y="380"/>
                    </a:lnTo>
                    <a:lnTo>
                      <a:pt x="4092" y="359"/>
                    </a:lnTo>
                    <a:lnTo>
                      <a:pt x="4061" y="339"/>
                    </a:lnTo>
                    <a:lnTo>
                      <a:pt x="4027" y="318"/>
                    </a:lnTo>
                    <a:lnTo>
                      <a:pt x="3991" y="300"/>
                    </a:lnTo>
                    <a:lnTo>
                      <a:pt x="3955" y="280"/>
                    </a:lnTo>
                    <a:lnTo>
                      <a:pt x="3918" y="262"/>
                    </a:lnTo>
                    <a:lnTo>
                      <a:pt x="3879" y="244"/>
                    </a:lnTo>
                    <a:lnTo>
                      <a:pt x="3838" y="225"/>
                    </a:lnTo>
                    <a:lnTo>
                      <a:pt x="3835" y="224"/>
                    </a:lnTo>
                    <a:lnTo>
                      <a:pt x="3833" y="224"/>
                    </a:lnTo>
                    <a:lnTo>
                      <a:pt x="3794" y="208"/>
                    </a:lnTo>
                    <a:lnTo>
                      <a:pt x="3756" y="193"/>
                    </a:lnTo>
                    <a:lnTo>
                      <a:pt x="3718" y="179"/>
                    </a:lnTo>
                    <a:lnTo>
                      <a:pt x="3680" y="168"/>
                    </a:lnTo>
                    <a:lnTo>
                      <a:pt x="3643" y="156"/>
                    </a:lnTo>
                    <a:lnTo>
                      <a:pt x="3606" y="147"/>
                    </a:lnTo>
                    <a:lnTo>
                      <a:pt x="3571" y="138"/>
                    </a:lnTo>
                    <a:lnTo>
                      <a:pt x="3536" y="131"/>
                    </a:lnTo>
                    <a:lnTo>
                      <a:pt x="3501" y="124"/>
                    </a:lnTo>
                    <a:lnTo>
                      <a:pt x="3469" y="119"/>
                    </a:lnTo>
                    <a:lnTo>
                      <a:pt x="3436" y="114"/>
                    </a:lnTo>
                    <a:lnTo>
                      <a:pt x="3405" y="111"/>
                    </a:lnTo>
                    <a:lnTo>
                      <a:pt x="3373" y="109"/>
                    </a:lnTo>
                    <a:lnTo>
                      <a:pt x="3343" y="107"/>
                    </a:lnTo>
                    <a:lnTo>
                      <a:pt x="3314" y="107"/>
                    </a:lnTo>
                    <a:lnTo>
                      <a:pt x="3287" y="109"/>
                    </a:lnTo>
                    <a:lnTo>
                      <a:pt x="3259" y="110"/>
                    </a:lnTo>
                    <a:lnTo>
                      <a:pt x="3234" y="113"/>
                    </a:lnTo>
                    <a:lnTo>
                      <a:pt x="3209" y="115"/>
                    </a:lnTo>
                    <a:lnTo>
                      <a:pt x="3186" y="119"/>
                    </a:lnTo>
                    <a:lnTo>
                      <a:pt x="3164" y="124"/>
                    </a:lnTo>
                    <a:lnTo>
                      <a:pt x="3143" y="131"/>
                    </a:lnTo>
                    <a:lnTo>
                      <a:pt x="3123" y="138"/>
                    </a:lnTo>
                    <a:lnTo>
                      <a:pt x="3103" y="145"/>
                    </a:lnTo>
                    <a:lnTo>
                      <a:pt x="3086" y="153"/>
                    </a:lnTo>
                    <a:lnTo>
                      <a:pt x="3071" y="161"/>
                    </a:lnTo>
                    <a:lnTo>
                      <a:pt x="3056" y="172"/>
                    </a:lnTo>
                    <a:lnTo>
                      <a:pt x="3043" y="182"/>
                    </a:lnTo>
                    <a:lnTo>
                      <a:pt x="3033" y="193"/>
                    </a:lnTo>
                    <a:lnTo>
                      <a:pt x="3022" y="204"/>
                    </a:lnTo>
                    <a:lnTo>
                      <a:pt x="3014" y="216"/>
                    </a:lnTo>
                    <a:lnTo>
                      <a:pt x="3008" y="229"/>
                    </a:lnTo>
                    <a:lnTo>
                      <a:pt x="3002" y="242"/>
                    </a:lnTo>
                    <a:lnTo>
                      <a:pt x="2999" y="257"/>
                    </a:lnTo>
                    <a:lnTo>
                      <a:pt x="2997" y="271"/>
                    </a:lnTo>
                    <a:lnTo>
                      <a:pt x="2997" y="287"/>
                    </a:lnTo>
                    <a:lnTo>
                      <a:pt x="2999" y="304"/>
                    </a:lnTo>
                    <a:lnTo>
                      <a:pt x="3001" y="321"/>
                    </a:lnTo>
                    <a:lnTo>
                      <a:pt x="3006" y="338"/>
                    </a:lnTo>
                    <a:lnTo>
                      <a:pt x="3012" y="356"/>
                    </a:lnTo>
                    <a:lnTo>
                      <a:pt x="3019" y="375"/>
                    </a:lnTo>
                    <a:lnTo>
                      <a:pt x="3029" y="394"/>
                    </a:lnTo>
                    <a:lnTo>
                      <a:pt x="3039" y="413"/>
                    </a:lnTo>
                    <a:lnTo>
                      <a:pt x="3051" y="432"/>
                    </a:lnTo>
                    <a:lnTo>
                      <a:pt x="3064" y="453"/>
                    </a:lnTo>
                    <a:lnTo>
                      <a:pt x="3078" y="473"/>
                    </a:lnTo>
                    <a:lnTo>
                      <a:pt x="3095" y="493"/>
                    </a:lnTo>
                    <a:lnTo>
                      <a:pt x="3112" y="514"/>
                    </a:lnTo>
                    <a:lnTo>
                      <a:pt x="3132" y="534"/>
                    </a:lnTo>
                    <a:lnTo>
                      <a:pt x="3153" y="555"/>
                    </a:lnTo>
                    <a:lnTo>
                      <a:pt x="3174" y="576"/>
                    </a:lnTo>
                    <a:lnTo>
                      <a:pt x="3198" y="596"/>
                    </a:lnTo>
                    <a:lnTo>
                      <a:pt x="3222" y="617"/>
                    </a:lnTo>
                    <a:lnTo>
                      <a:pt x="3249" y="638"/>
                    </a:lnTo>
                    <a:lnTo>
                      <a:pt x="3276" y="658"/>
                    </a:lnTo>
                    <a:lnTo>
                      <a:pt x="3305" y="679"/>
                    </a:lnTo>
                    <a:lnTo>
                      <a:pt x="3335" y="698"/>
                    </a:lnTo>
                    <a:lnTo>
                      <a:pt x="3367" y="718"/>
                    </a:lnTo>
                    <a:lnTo>
                      <a:pt x="3399" y="738"/>
                    </a:lnTo>
                    <a:lnTo>
                      <a:pt x="3433" y="757"/>
                    </a:lnTo>
                    <a:lnTo>
                      <a:pt x="3469" y="775"/>
                    </a:lnTo>
                    <a:lnTo>
                      <a:pt x="3505" y="794"/>
                    </a:lnTo>
                    <a:lnTo>
                      <a:pt x="3543" y="811"/>
                    </a:lnTo>
                    <a:lnTo>
                      <a:pt x="3583" y="828"/>
                    </a:lnTo>
                    <a:lnTo>
                      <a:pt x="3632" y="849"/>
                    </a:lnTo>
                    <a:lnTo>
                      <a:pt x="3681" y="867"/>
                    </a:lnTo>
                    <a:lnTo>
                      <a:pt x="3729" y="883"/>
                    </a:lnTo>
                    <a:lnTo>
                      <a:pt x="3777" y="897"/>
                    </a:lnTo>
                    <a:lnTo>
                      <a:pt x="3737" y="992"/>
                    </a:lnTo>
                    <a:lnTo>
                      <a:pt x="3670" y="969"/>
                    </a:lnTo>
                    <a:lnTo>
                      <a:pt x="3605" y="946"/>
                    </a:lnTo>
                    <a:lnTo>
                      <a:pt x="3541" y="920"/>
                    </a:lnTo>
                    <a:lnTo>
                      <a:pt x="3477" y="891"/>
                    </a:lnTo>
                    <a:lnTo>
                      <a:pt x="3414" y="861"/>
                    </a:lnTo>
                    <a:lnTo>
                      <a:pt x="3353" y="828"/>
                    </a:lnTo>
                    <a:lnTo>
                      <a:pt x="3295" y="794"/>
                    </a:lnTo>
                    <a:lnTo>
                      <a:pt x="3238" y="757"/>
                    </a:lnTo>
                    <a:lnTo>
                      <a:pt x="3184" y="719"/>
                    </a:lnTo>
                    <a:lnTo>
                      <a:pt x="3135" y="681"/>
                    </a:lnTo>
                    <a:lnTo>
                      <a:pt x="3111" y="662"/>
                    </a:lnTo>
                    <a:lnTo>
                      <a:pt x="3089" y="641"/>
                    </a:lnTo>
                    <a:lnTo>
                      <a:pt x="3067" y="621"/>
                    </a:lnTo>
                    <a:lnTo>
                      <a:pt x="3046" y="600"/>
                    </a:lnTo>
                    <a:lnTo>
                      <a:pt x="3026" y="579"/>
                    </a:lnTo>
                    <a:lnTo>
                      <a:pt x="3008" y="558"/>
                    </a:lnTo>
                    <a:lnTo>
                      <a:pt x="2989" y="537"/>
                    </a:lnTo>
                    <a:lnTo>
                      <a:pt x="2974" y="515"/>
                    </a:lnTo>
                    <a:lnTo>
                      <a:pt x="2959" y="494"/>
                    </a:lnTo>
                    <a:lnTo>
                      <a:pt x="2945" y="472"/>
                    </a:lnTo>
                    <a:lnTo>
                      <a:pt x="2933" y="451"/>
                    </a:lnTo>
                    <a:lnTo>
                      <a:pt x="2923" y="428"/>
                    </a:lnTo>
                    <a:lnTo>
                      <a:pt x="2541" y="1327"/>
                    </a:lnTo>
                    <a:lnTo>
                      <a:pt x="2488" y="1317"/>
                    </a:lnTo>
                    <a:lnTo>
                      <a:pt x="2435" y="1309"/>
                    </a:lnTo>
                    <a:lnTo>
                      <a:pt x="2911" y="187"/>
                    </a:lnTo>
                    <a:lnTo>
                      <a:pt x="2920" y="169"/>
                    </a:lnTo>
                    <a:lnTo>
                      <a:pt x="2930" y="151"/>
                    </a:lnTo>
                    <a:lnTo>
                      <a:pt x="2942" y="134"/>
                    </a:lnTo>
                    <a:lnTo>
                      <a:pt x="2957" y="118"/>
                    </a:lnTo>
                    <a:lnTo>
                      <a:pt x="2974" y="100"/>
                    </a:lnTo>
                    <a:lnTo>
                      <a:pt x="2993" y="83"/>
                    </a:lnTo>
                    <a:lnTo>
                      <a:pt x="3016" y="68"/>
                    </a:lnTo>
                    <a:lnTo>
                      <a:pt x="3038" y="55"/>
                    </a:lnTo>
                    <a:lnTo>
                      <a:pt x="3063" y="43"/>
                    </a:lnTo>
                    <a:lnTo>
                      <a:pt x="3088" y="33"/>
                    </a:lnTo>
                    <a:lnTo>
                      <a:pt x="3115" y="24"/>
                    </a:lnTo>
                    <a:lnTo>
                      <a:pt x="3143" y="16"/>
                    </a:lnTo>
                    <a:lnTo>
                      <a:pt x="3173" y="10"/>
                    </a:lnTo>
                    <a:lnTo>
                      <a:pt x="3203" y="5"/>
                    </a:lnTo>
                    <a:lnTo>
                      <a:pt x="3234" y="3"/>
                    </a:lnTo>
                    <a:lnTo>
                      <a:pt x="3267" y="1"/>
                    </a:lnTo>
                    <a:lnTo>
                      <a:pt x="3301" y="0"/>
                    </a:lnTo>
                    <a:lnTo>
                      <a:pt x="3335" y="1"/>
                    </a:lnTo>
                    <a:lnTo>
                      <a:pt x="3370" y="3"/>
                    </a:lnTo>
                    <a:lnTo>
                      <a:pt x="3406" y="7"/>
                    </a:lnTo>
                    <a:lnTo>
                      <a:pt x="3462" y="12"/>
                    </a:lnTo>
                    <a:lnTo>
                      <a:pt x="3521" y="21"/>
                    </a:lnTo>
                    <a:lnTo>
                      <a:pt x="3580" y="33"/>
                    </a:lnTo>
                    <a:lnTo>
                      <a:pt x="3639" y="47"/>
                    </a:lnTo>
                    <a:lnTo>
                      <a:pt x="3699" y="64"/>
                    </a:lnTo>
                    <a:lnTo>
                      <a:pt x="3760" y="84"/>
                    </a:lnTo>
                    <a:lnTo>
                      <a:pt x="3820" y="105"/>
                    </a:lnTo>
                    <a:lnTo>
                      <a:pt x="3879" y="130"/>
                    </a:lnTo>
                    <a:lnTo>
                      <a:pt x="3928" y="151"/>
                    </a:lnTo>
                    <a:lnTo>
                      <a:pt x="3977" y="174"/>
                    </a:lnTo>
                    <a:lnTo>
                      <a:pt x="4024" y="199"/>
                    </a:lnTo>
                    <a:lnTo>
                      <a:pt x="4070" y="224"/>
                    </a:lnTo>
                    <a:lnTo>
                      <a:pt x="4114" y="252"/>
                    </a:lnTo>
                    <a:lnTo>
                      <a:pt x="4158" y="279"/>
                    </a:lnTo>
                    <a:lnTo>
                      <a:pt x="4200" y="308"/>
                    </a:lnTo>
                    <a:lnTo>
                      <a:pt x="4239" y="337"/>
                    </a:lnTo>
                    <a:lnTo>
                      <a:pt x="4278" y="367"/>
                    </a:lnTo>
                    <a:lnTo>
                      <a:pt x="4315" y="398"/>
                    </a:lnTo>
                    <a:lnTo>
                      <a:pt x="4349" y="430"/>
                    </a:lnTo>
                    <a:lnTo>
                      <a:pt x="4382" y="461"/>
                    </a:lnTo>
                    <a:lnTo>
                      <a:pt x="4410" y="494"/>
                    </a:lnTo>
                    <a:lnTo>
                      <a:pt x="4438" y="527"/>
                    </a:lnTo>
                    <a:lnTo>
                      <a:pt x="4462" y="559"/>
                    </a:lnTo>
                    <a:lnTo>
                      <a:pt x="4481" y="593"/>
                    </a:lnTo>
                    <a:lnTo>
                      <a:pt x="4498" y="627"/>
                    </a:lnTo>
                    <a:lnTo>
                      <a:pt x="4506" y="644"/>
                    </a:lnTo>
                    <a:lnTo>
                      <a:pt x="4513" y="662"/>
                    </a:lnTo>
                    <a:lnTo>
                      <a:pt x="4518" y="679"/>
                    </a:lnTo>
                    <a:lnTo>
                      <a:pt x="4522" y="696"/>
                    </a:lnTo>
                    <a:lnTo>
                      <a:pt x="4526" y="713"/>
                    </a:lnTo>
                    <a:lnTo>
                      <a:pt x="4528" y="728"/>
                    </a:lnTo>
                    <a:lnTo>
                      <a:pt x="4530" y="745"/>
                    </a:lnTo>
                    <a:lnTo>
                      <a:pt x="4531" y="762"/>
                    </a:lnTo>
                    <a:lnTo>
                      <a:pt x="4530" y="779"/>
                    </a:lnTo>
                    <a:lnTo>
                      <a:pt x="4528" y="796"/>
                    </a:lnTo>
                    <a:lnTo>
                      <a:pt x="4526" y="813"/>
                    </a:lnTo>
                    <a:lnTo>
                      <a:pt x="4522" y="831"/>
                    </a:lnTo>
                    <a:lnTo>
                      <a:pt x="4517" y="846"/>
                    </a:lnTo>
                    <a:lnTo>
                      <a:pt x="4511" y="863"/>
                    </a:lnTo>
                    <a:lnTo>
                      <a:pt x="4510" y="865"/>
                    </a:lnTo>
                    <a:lnTo>
                      <a:pt x="4510" y="866"/>
                    </a:lnTo>
                    <a:lnTo>
                      <a:pt x="4509" y="867"/>
                    </a:lnTo>
                    <a:lnTo>
                      <a:pt x="4418" y="1085"/>
                    </a:lnTo>
                    <a:lnTo>
                      <a:pt x="4344" y="1269"/>
                    </a:lnTo>
                    <a:lnTo>
                      <a:pt x="4281" y="1428"/>
                    </a:lnTo>
                    <a:lnTo>
                      <a:pt x="4230" y="1560"/>
                    </a:lnTo>
                    <a:close/>
                  </a:path>
                </a:pathLst>
              </a:custGeom>
              <a:solidFill>
                <a:srgbClr val="646464"/>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34" name="Group 133"/>
            <p:cNvGrpSpPr/>
            <p:nvPr/>
          </p:nvGrpSpPr>
          <p:grpSpPr>
            <a:xfrm>
              <a:off x="4980461" y="1162937"/>
              <a:ext cx="3919417" cy="2953331"/>
              <a:chOff x="5826829" y="1284497"/>
              <a:chExt cx="4384792" cy="3187235"/>
            </a:xfrm>
          </p:grpSpPr>
          <p:cxnSp>
            <p:nvCxnSpPr>
              <p:cNvPr id="135" name="Straight Connector 134"/>
              <p:cNvCxnSpPr/>
              <p:nvPr/>
            </p:nvCxnSpPr>
            <p:spPr>
              <a:xfrm flipH="1" flipV="1">
                <a:off x="8651144" y="3141021"/>
                <a:ext cx="448105" cy="579978"/>
              </a:xfrm>
              <a:prstGeom prst="line">
                <a:avLst/>
              </a:prstGeom>
              <a:noFill/>
              <a:ln w="28575" cap="flat" cmpd="sng" algn="ctr">
                <a:solidFill>
                  <a:srgbClr val="C0C0C0"/>
                </a:solidFill>
                <a:prstDash val="solid"/>
              </a:ln>
              <a:effectLst/>
            </p:spPr>
          </p:cxnSp>
          <p:cxnSp>
            <p:nvCxnSpPr>
              <p:cNvPr id="136" name="Straight Connector 135"/>
              <p:cNvCxnSpPr/>
              <p:nvPr/>
            </p:nvCxnSpPr>
            <p:spPr>
              <a:xfrm flipH="1" flipV="1">
                <a:off x="8155095" y="2174091"/>
                <a:ext cx="240553" cy="557972"/>
              </a:xfrm>
              <a:prstGeom prst="line">
                <a:avLst/>
              </a:prstGeom>
              <a:noFill/>
              <a:ln w="28575" cap="flat" cmpd="sng" algn="ctr">
                <a:solidFill>
                  <a:srgbClr val="C0C0C0"/>
                </a:solidFill>
                <a:prstDash val="solid"/>
              </a:ln>
              <a:effectLst/>
            </p:spPr>
          </p:cxnSp>
          <p:cxnSp>
            <p:nvCxnSpPr>
              <p:cNvPr id="137" name="Straight Connector 136"/>
              <p:cNvCxnSpPr>
                <a:endCxn id="222" idx="2"/>
              </p:cNvCxnSpPr>
              <p:nvPr/>
            </p:nvCxnSpPr>
            <p:spPr>
              <a:xfrm>
                <a:off x="8565388" y="3854510"/>
                <a:ext cx="280636" cy="33201"/>
              </a:xfrm>
              <a:prstGeom prst="line">
                <a:avLst/>
              </a:prstGeom>
              <a:noFill/>
              <a:ln w="28575" cap="flat" cmpd="sng" algn="ctr">
                <a:solidFill>
                  <a:srgbClr val="C0C0C0"/>
                </a:solidFill>
                <a:prstDash val="solid"/>
              </a:ln>
              <a:effectLst/>
            </p:spPr>
          </p:cxnSp>
          <p:cxnSp>
            <p:nvCxnSpPr>
              <p:cNvPr id="138" name="Straight Connector 137"/>
              <p:cNvCxnSpPr/>
              <p:nvPr/>
            </p:nvCxnSpPr>
            <p:spPr>
              <a:xfrm>
                <a:off x="6287750" y="2771241"/>
                <a:ext cx="1219243" cy="118859"/>
              </a:xfrm>
              <a:prstGeom prst="line">
                <a:avLst/>
              </a:prstGeom>
              <a:noFill/>
              <a:ln w="28575" cap="flat" cmpd="sng" algn="ctr">
                <a:solidFill>
                  <a:srgbClr val="C0C0C0"/>
                </a:solidFill>
                <a:prstDash val="solid"/>
              </a:ln>
              <a:effectLst/>
            </p:spPr>
          </p:cxnSp>
          <p:cxnSp>
            <p:nvCxnSpPr>
              <p:cNvPr id="139" name="Straight Connector 138"/>
              <p:cNvCxnSpPr/>
              <p:nvPr/>
            </p:nvCxnSpPr>
            <p:spPr>
              <a:xfrm flipV="1">
                <a:off x="6259919" y="2193628"/>
                <a:ext cx="245172" cy="212936"/>
              </a:xfrm>
              <a:prstGeom prst="line">
                <a:avLst/>
              </a:prstGeom>
              <a:noFill/>
              <a:ln w="28575" cap="flat" cmpd="sng" algn="ctr">
                <a:solidFill>
                  <a:srgbClr val="C0C0C0"/>
                </a:solidFill>
                <a:prstDash val="solid"/>
              </a:ln>
              <a:effectLst/>
            </p:spPr>
          </p:cxnSp>
          <p:cxnSp>
            <p:nvCxnSpPr>
              <p:cNvPr id="140" name="Straight Connector 139"/>
              <p:cNvCxnSpPr/>
              <p:nvPr/>
            </p:nvCxnSpPr>
            <p:spPr>
              <a:xfrm flipV="1">
                <a:off x="6937896" y="3193230"/>
                <a:ext cx="483832" cy="398891"/>
              </a:xfrm>
              <a:prstGeom prst="line">
                <a:avLst/>
              </a:prstGeom>
              <a:noFill/>
              <a:ln w="28575" cap="flat" cmpd="sng" algn="ctr">
                <a:solidFill>
                  <a:srgbClr val="C0C0C0"/>
                </a:solidFill>
                <a:prstDash val="solid"/>
              </a:ln>
              <a:effectLst/>
            </p:spPr>
          </p:cxnSp>
          <p:cxnSp>
            <p:nvCxnSpPr>
              <p:cNvPr id="141" name="Straight Connector 140"/>
              <p:cNvCxnSpPr/>
              <p:nvPr/>
            </p:nvCxnSpPr>
            <p:spPr>
              <a:xfrm>
                <a:off x="6995552" y="3895252"/>
                <a:ext cx="363539" cy="35533"/>
              </a:xfrm>
              <a:prstGeom prst="line">
                <a:avLst/>
              </a:prstGeom>
              <a:noFill/>
              <a:ln w="28575" cap="flat" cmpd="sng" algn="ctr">
                <a:solidFill>
                  <a:srgbClr val="C0C0C0"/>
                </a:solidFill>
                <a:prstDash val="solid"/>
              </a:ln>
              <a:effectLst/>
            </p:spPr>
          </p:cxnSp>
          <p:cxnSp>
            <p:nvCxnSpPr>
              <p:cNvPr id="142" name="Straight Connector 141"/>
              <p:cNvCxnSpPr>
                <a:stCxn id="188" idx="5"/>
              </p:cNvCxnSpPr>
              <p:nvPr/>
            </p:nvCxnSpPr>
            <p:spPr>
              <a:xfrm>
                <a:off x="6452998" y="3575668"/>
                <a:ext cx="178799" cy="105228"/>
              </a:xfrm>
              <a:prstGeom prst="line">
                <a:avLst/>
              </a:prstGeom>
              <a:noFill/>
              <a:ln w="28575" cap="flat" cmpd="sng" algn="ctr">
                <a:solidFill>
                  <a:srgbClr val="C0C0C0"/>
                </a:solidFill>
                <a:prstDash val="solid"/>
              </a:ln>
              <a:effectLst/>
            </p:spPr>
          </p:cxnSp>
          <p:cxnSp>
            <p:nvCxnSpPr>
              <p:cNvPr id="143" name="Straight Connector 142"/>
              <p:cNvCxnSpPr/>
              <p:nvPr/>
            </p:nvCxnSpPr>
            <p:spPr>
              <a:xfrm flipV="1">
                <a:off x="9396521" y="3638345"/>
                <a:ext cx="262453" cy="155133"/>
              </a:xfrm>
              <a:prstGeom prst="line">
                <a:avLst/>
              </a:prstGeom>
              <a:noFill/>
              <a:ln w="28575" cap="flat" cmpd="sng" algn="ctr">
                <a:solidFill>
                  <a:srgbClr val="C0C0C0"/>
                </a:solidFill>
                <a:prstDash val="solid"/>
              </a:ln>
              <a:effectLst/>
            </p:spPr>
          </p:cxnSp>
          <p:cxnSp>
            <p:nvCxnSpPr>
              <p:cNvPr id="144" name="Straight Connector 143"/>
              <p:cNvCxnSpPr/>
              <p:nvPr/>
            </p:nvCxnSpPr>
            <p:spPr>
              <a:xfrm>
                <a:off x="9492722" y="3144541"/>
                <a:ext cx="264415" cy="225515"/>
              </a:xfrm>
              <a:prstGeom prst="line">
                <a:avLst/>
              </a:prstGeom>
              <a:noFill/>
              <a:ln w="28575" cap="flat" cmpd="sng" algn="ctr">
                <a:solidFill>
                  <a:srgbClr val="C0C0C0"/>
                </a:solidFill>
                <a:prstDash val="solid"/>
              </a:ln>
              <a:effectLst/>
            </p:spPr>
          </p:cxnSp>
          <p:cxnSp>
            <p:nvCxnSpPr>
              <p:cNvPr id="145" name="Straight Connector 144"/>
              <p:cNvCxnSpPr>
                <a:endCxn id="224" idx="3"/>
              </p:cNvCxnSpPr>
              <p:nvPr/>
            </p:nvCxnSpPr>
            <p:spPr>
              <a:xfrm flipV="1">
                <a:off x="9407950" y="2565230"/>
                <a:ext cx="179694" cy="248484"/>
              </a:xfrm>
              <a:prstGeom prst="line">
                <a:avLst/>
              </a:prstGeom>
              <a:noFill/>
              <a:ln w="28575" cap="flat" cmpd="sng" algn="ctr">
                <a:solidFill>
                  <a:srgbClr val="C0C0C0"/>
                </a:solidFill>
                <a:prstDash val="solid"/>
              </a:ln>
              <a:effectLst/>
            </p:spPr>
          </p:cxnSp>
          <p:cxnSp>
            <p:nvCxnSpPr>
              <p:cNvPr id="146" name="Straight Connector 145"/>
              <p:cNvCxnSpPr/>
              <p:nvPr/>
            </p:nvCxnSpPr>
            <p:spPr>
              <a:xfrm>
                <a:off x="9202450" y="2235099"/>
                <a:ext cx="388521" cy="65246"/>
              </a:xfrm>
              <a:prstGeom prst="line">
                <a:avLst/>
              </a:prstGeom>
              <a:noFill/>
              <a:ln w="28575" cap="flat" cmpd="sng" algn="ctr">
                <a:solidFill>
                  <a:srgbClr val="C0C0C0"/>
                </a:solidFill>
                <a:prstDash val="solid"/>
              </a:ln>
              <a:effectLst/>
            </p:spPr>
          </p:cxnSp>
          <p:cxnSp>
            <p:nvCxnSpPr>
              <p:cNvPr id="147" name="Straight Connector 146"/>
              <p:cNvCxnSpPr/>
              <p:nvPr/>
            </p:nvCxnSpPr>
            <p:spPr>
              <a:xfrm flipH="1" flipV="1">
                <a:off x="7450171" y="1601057"/>
                <a:ext cx="374737" cy="166768"/>
              </a:xfrm>
              <a:prstGeom prst="line">
                <a:avLst/>
              </a:prstGeom>
              <a:noFill/>
              <a:ln w="28575" cap="flat" cmpd="sng" algn="ctr">
                <a:solidFill>
                  <a:srgbClr val="C0C0C0"/>
                </a:solidFill>
                <a:prstDash val="solid"/>
              </a:ln>
              <a:effectLst/>
            </p:spPr>
          </p:cxnSp>
          <p:cxnSp>
            <p:nvCxnSpPr>
              <p:cNvPr id="148" name="Straight Connector 147"/>
              <p:cNvCxnSpPr/>
              <p:nvPr/>
            </p:nvCxnSpPr>
            <p:spPr>
              <a:xfrm flipH="1" flipV="1">
                <a:off x="7331871" y="1764134"/>
                <a:ext cx="200181" cy="976931"/>
              </a:xfrm>
              <a:prstGeom prst="line">
                <a:avLst/>
              </a:prstGeom>
              <a:noFill/>
              <a:ln w="28575" cap="flat" cmpd="sng" algn="ctr">
                <a:solidFill>
                  <a:srgbClr val="C0C0C0"/>
                </a:solidFill>
                <a:prstDash val="solid"/>
              </a:ln>
              <a:effectLst/>
            </p:spPr>
          </p:cxnSp>
          <p:cxnSp>
            <p:nvCxnSpPr>
              <p:cNvPr id="149" name="Straight Connector 148"/>
              <p:cNvCxnSpPr>
                <a:stCxn id="183" idx="6"/>
              </p:cNvCxnSpPr>
              <p:nvPr/>
            </p:nvCxnSpPr>
            <p:spPr>
              <a:xfrm>
                <a:off x="7931700" y="2960773"/>
                <a:ext cx="1155905" cy="45747"/>
              </a:xfrm>
              <a:prstGeom prst="line">
                <a:avLst/>
              </a:prstGeom>
              <a:noFill/>
              <a:ln w="28575" cap="flat" cmpd="sng" algn="ctr">
                <a:solidFill>
                  <a:srgbClr val="C0C0C0"/>
                </a:solidFill>
                <a:prstDash val="solid"/>
              </a:ln>
              <a:effectLst/>
            </p:spPr>
          </p:cxnSp>
          <p:cxnSp>
            <p:nvCxnSpPr>
              <p:cNvPr id="150" name="Straight Connector 149"/>
              <p:cNvCxnSpPr/>
              <p:nvPr/>
            </p:nvCxnSpPr>
            <p:spPr>
              <a:xfrm flipV="1">
                <a:off x="8319011" y="2395361"/>
                <a:ext cx="532990" cy="1182904"/>
              </a:xfrm>
              <a:prstGeom prst="line">
                <a:avLst/>
              </a:prstGeom>
              <a:noFill/>
              <a:ln w="28575" cap="flat" cmpd="sng" algn="ctr">
                <a:solidFill>
                  <a:srgbClr val="C0C0C0"/>
                </a:solidFill>
                <a:prstDash val="solid"/>
              </a:ln>
              <a:effectLst/>
            </p:spPr>
          </p:cxnSp>
          <p:cxnSp>
            <p:nvCxnSpPr>
              <p:cNvPr id="151" name="Straight Connector 150"/>
              <p:cNvCxnSpPr>
                <a:stCxn id="198" idx="7"/>
              </p:cNvCxnSpPr>
              <p:nvPr/>
            </p:nvCxnSpPr>
            <p:spPr>
              <a:xfrm flipV="1">
                <a:off x="8555403" y="3057777"/>
                <a:ext cx="678762" cy="472786"/>
              </a:xfrm>
              <a:prstGeom prst="line">
                <a:avLst/>
              </a:prstGeom>
              <a:noFill/>
              <a:ln w="28575" cap="flat" cmpd="sng" algn="ctr">
                <a:solidFill>
                  <a:srgbClr val="C0C0C0"/>
                </a:solidFill>
                <a:prstDash val="solid"/>
              </a:ln>
              <a:effectLst/>
            </p:spPr>
          </p:cxnSp>
          <p:cxnSp>
            <p:nvCxnSpPr>
              <p:cNvPr id="152" name="Straight Connector 151"/>
              <p:cNvCxnSpPr/>
              <p:nvPr/>
            </p:nvCxnSpPr>
            <p:spPr>
              <a:xfrm flipH="1" flipV="1">
                <a:off x="8232684" y="1965132"/>
                <a:ext cx="515180" cy="115273"/>
              </a:xfrm>
              <a:prstGeom prst="line">
                <a:avLst/>
              </a:prstGeom>
              <a:noFill/>
              <a:ln w="28575" cap="flat" cmpd="sng" algn="ctr">
                <a:solidFill>
                  <a:srgbClr val="C0C0C0"/>
                </a:solidFill>
                <a:prstDash val="solid"/>
              </a:ln>
              <a:effectLst/>
            </p:spPr>
          </p:cxnSp>
          <p:cxnSp>
            <p:nvCxnSpPr>
              <p:cNvPr id="153" name="Straight Connector 152"/>
              <p:cNvCxnSpPr/>
              <p:nvPr/>
            </p:nvCxnSpPr>
            <p:spPr>
              <a:xfrm flipV="1">
                <a:off x="7678991" y="2137408"/>
                <a:ext cx="282832" cy="611258"/>
              </a:xfrm>
              <a:prstGeom prst="line">
                <a:avLst/>
              </a:prstGeom>
              <a:noFill/>
              <a:ln w="28575" cap="flat" cmpd="sng" algn="ctr">
                <a:solidFill>
                  <a:srgbClr val="C0C0C0"/>
                </a:solidFill>
                <a:prstDash val="solid"/>
              </a:ln>
              <a:effectLst/>
            </p:spPr>
          </p:cxnSp>
          <p:cxnSp>
            <p:nvCxnSpPr>
              <p:cNvPr id="154" name="Straight Connector 153"/>
              <p:cNvCxnSpPr>
                <a:stCxn id="190" idx="0"/>
              </p:cNvCxnSpPr>
              <p:nvPr/>
            </p:nvCxnSpPr>
            <p:spPr>
              <a:xfrm flipV="1">
                <a:off x="7574215" y="3169053"/>
                <a:ext cx="46675" cy="412581"/>
              </a:xfrm>
              <a:prstGeom prst="line">
                <a:avLst/>
              </a:prstGeom>
              <a:noFill/>
              <a:ln w="28575" cap="flat" cmpd="sng" algn="ctr">
                <a:solidFill>
                  <a:srgbClr val="C0C0C0"/>
                </a:solidFill>
                <a:prstDash val="solid"/>
              </a:ln>
              <a:effectLst/>
            </p:spPr>
          </p:cxnSp>
          <p:cxnSp>
            <p:nvCxnSpPr>
              <p:cNvPr id="155" name="Straight Connector 154"/>
              <p:cNvCxnSpPr/>
              <p:nvPr/>
            </p:nvCxnSpPr>
            <p:spPr>
              <a:xfrm flipV="1">
                <a:off x="7753045" y="3839438"/>
                <a:ext cx="376233" cy="87662"/>
              </a:xfrm>
              <a:prstGeom prst="line">
                <a:avLst/>
              </a:prstGeom>
              <a:noFill/>
              <a:ln w="28575" cap="flat" cmpd="sng" algn="ctr">
                <a:solidFill>
                  <a:srgbClr val="C0C0C0"/>
                </a:solidFill>
                <a:prstDash val="solid"/>
              </a:ln>
              <a:effectLst/>
            </p:spPr>
          </p:cxnSp>
          <p:cxnSp>
            <p:nvCxnSpPr>
              <p:cNvPr id="156" name="Straight Connector 155"/>
              <p:cNvCxnSpPr>
                <a:endCxn id="198" idx="1"/>
              </p:cNvCxnSpPr>
              <p:nvPr/>
            </p:nvCxnSpPr>
            <p:spPr>
              <a:xfrm>
                <a:off x="7684136" y="3216972"/>
                <a:ext cx="398494" cy="313591"/>
              </a:xfrm>
              <a:prstGeom prst="line">
                <a:avLst/>
              </a:prstGeom>
              <a:noFill/>
              <a:ln w="28575" cap="flat" cmpd="sng" algn="ctr">
                <a:solidFill>
                  <a:srgbClr val="C0C0C0"/>
                </a:solidFill>
                <a:prstDash val="solid"/>
              </a:ln>
              <a:effectLst/>
            </p:spPr>
          </p:cxnSp>
          <p:cxnSp>
            <p:nvCxnSpPr>
              <p:cNvPr id="157" name="Straight Connector 156"/>
              <p:cNvCxnSpPr/>
              <p:nvPr/>
            </p:nvCxnSpPr>
            <p:spPr>
              <a:xfrm flipV="1">
                <a:off x="6438760" y="3054432"/>
                <a:ext cx="1020825" cy="245893"/>
              </a:xfrm>
              <a:prstGeom prst="line">
                <a:avLst/>
              </a:prstGeom>
              <a:noFill/>
              <a:ln w="28575" cap="flat" cmpd="sng" algn="ctr">
                <a:solidFill>
                  <a:srgbClr val="C0C0C0"/>
                </a:solidFill>
                <a:prstDash val="solid"/>
              </a:ln>
              <a:effectLst/>
            </p:spPr>
          </p:cxnSp>
          <p:grpSp>
            <p:nvGrpSpPr>
              <p:cNvPr id="158" name="Group 157"/>
              <p:cNvGrpSpPr/>
              <p:nvPr/>
            </p:nvGrpSpPr>
            <p:grpSpPr>
              <a:xfrm>
                <a:off x="5826829" y="2280576"/>
                <a:ext cx="646887" cy="646887"/>
                <a:chOff x="5679550" y="4619489"/>
                <a:chExt cx="684476" cy="684476"/>
              </a:xfrm>
            </p:grpSpPr>
            <p:sp>
              <p:nvSpPr>
                <p:cNvPr id="231" name="Oval 230"/>
                <p:cNvSpPr/>
                <p:nvPr/>
              </p:nvSpPr>
              <p:spPr>
                <a:xfrm>
                  <a:off x="5679550" y="4619489"/>
                  <a:ext cx="684476" cy="684476"/>
                </a:xfrm>
                <a:prstGeom prst="ellipse">
                  <a:avLst/>
                </a:prstGeom>
                <a:solidFill>
                  <a:srgbClr val="FFF27F"/>
                </a:solidFill>
                <a:ln w="12700">
                  <a:noFill/>
                  <a:prstDash val="solid"/>
                  <a:round/>
                  <a:headEnd/>
                  <a:tailEnd/>
                </a:ln>
              </p:spPr>
              <p:txBody>
                <a:bodyPr wrap="none" lIns="0" tIns="28609" rIns="0" bIns="0" anchor="t"/>
                <a:lstStyle/>
                <a:p>
                  <a:pPr algn="ctr" defTabSz="558057">
                    <a:lnSpc>
                      <a:spcPct val="90000"/>
                    </a:lnSpc>
                    <a:defRPr/>
                  </a:pPr>
                  <a:r>
                    <a:rPr lang="de-DE" sz="716" b="1" kern="0" dirty="0">
                      <a:solidFill>
                        <a:schemeClr val="accent1"/>
                      </a:solidFill>
                      <a:latin typeface="+mj-lt"/>
                    </a:rPr>
                    <a:t>Supplier</a:t>
                  </a:r>
                </a:p>
              </p:txBody>
            </p:sp>
            <p:sp>
              <p:nvSpPr>
                <p:cNvPr id="232" name="Freeform 43"/>
                <p:cNvSpPr>
                  <a:spLocks noChangeAspect="1" noEditPoints="1"/>
                </p:cNvSpPr>
                <p:nvPr/>
              </p:nvSpPr>
              <p:spPr bwMode="auto">
                <a:xfrm>
                  <a:off x="5876323" y="4898702"/>
                  <a:ext cx="290931" cy="330287"/>
                </a:xfrm>
                <a:custGeom>
                  <a:avLst/>
                  <a:gdLst>
                    <a:gd name="T0" fmla="*/ 2147483647 w 4190"/>
                    <a:gd name="T1" fmla="*/ 2147483647 h 4763"/>
                    <a:gd name="T2" fmla="*/ 2147483647 w 4190"/>
                    <a:gd name="T3" fmla="*/ 2147483647 h 4763"/>
                    <a:gd name="T4" fmla="*/ 2147483647 w 4190"/>
                    <a:gd name="T5" fmla="*/ 2147483647 h 4763"/>
                    <a:gd name="T6" fmla="*/ 2147483647 w 4190"/>
                    <a:gd name="T7" fmla="*/ 2147483647 h 4763"/>
                    <a:gd name="T8" fmla="*/ 2147483647 w 4190"/>
                    <a:gd name="T9" fmla="*/ 2147483647 h 4763"/>
                    <a:gd name="T10" fmla="*/ 2147483647 w 4190"/>
                    <a:gd name="T11" fmla="*/ 2147483647 h 4763"/>
                    <a:gd name="T12" fmla="*/ 2147483647 w 4190"/>
                    <a:gd name="T13" fmla="*/ 2147483647 h 4763"/>
                    <a:gd name="T14" fmla="*/ 2147483647 w 4190"/>
                    <a:gd name="T15" fmla="*/ 2147483647 h 4763"/>
                    <a:gd name="T16" fmla="*/ 2147483647 w 4190"/>
                    <a:gd name="T17" fmla="*/ 2147483647 h 4763"/>
                    <a:gd name="T18" fmla="*/ 2147483647 w 4190"/>
                    <a:gd name="T19" fmla="*/ 2147483647 h 4763"/>
                    <a:gd name="T20" fmla="*/ 2147483647 w 4190"/>
                    <a:gd name="T21" fmla="*/ 2147483647 h 4763"/>
                    <a:gd name="T22" fmla="*/ 2147483647 w 4190"/>
                    <a:gd name="T23" fmla="*/ 2147483647 h 4763"/>
                    <a:gd name="T24" fmla="*/ 2147483647 w 4190"/>
                    <a:gd name="T25" fmla="*/ 2147483647 h 4763"/>
                    <a:gd name="T26" fmla="*/ 2147483647 w 4190"/>
                    <a:gd name="T27" fmla="*/ 2147483647 h 4763"/>
                    <a:gd name="T28" fmla="*/ 2147483647 w 4190"/>
                    <a:gd name="T29" fmla="*/ 2147483647 h 4763"/>
                    <a:gd name="T30" fmla="*/ 2147483647 w 4190"/>
                    <a:gd name="T31" fmla="*/ 2147483647 h 4763"/>
                    <a:gd name="T32" fmla="*/ 2147483647 w 4190"/>
                    <a:gd name="T33" fmla="*/ 2147483647 h 4763"/>
                    <a:gd name="T34" fmla="*/ 2147483647 w 4190"/>
                    <a:gd name="T35" fmla="*/ 2147483647 h 4763"/>
                    <a:gd name="T36" fmla="*/ 2147483647 w 4190"/>
                    <a:gd name="T37" fmla="*/ 2147483647 h 4763"/>
                    <a:gd name="T38" fmla="*/ 2147483647 w 4190"/>
                    <a:gd name="T39" fmla="*/ 2147483647 h 4763"/>
                    <a:gd name="T40" fmla="*/ 2147483647 w 4190"/>
                    <a:gd name="T41" fmla="*/ 2147483647 h 4763"/>
                    <a:gd name="T42" fmla="*/ 2147483647 w 4190"/>
                    <a:gd name="T43" fmla="*/ 2147483647 h 4763"/>
                    <a:gd name="T44" fmla="*/ 2147483647 w 4190"/>
                    <a:gd name="T45" fmla="*/ 2147483647 h 4763"/>
                    <a:gd name="T46" fmla="*/ 2147483647 w 4190"/>
                    <a:gd name="T47" fmla="*/ 2147483647 h 4763"/>
                    <a:gd name="T48" fmla="*/ 2147483647 w 4190"/>
                    <a:gd name="T49" fmla="*/ 2147483647 h 4763"/>
                    <a:gd name="T50" fmla="*/ 2147483647 w 4190"/>
                    <a:gd name="T51" fmla="*/ 2147483647 h 4763"/>
                    <a:gd name="T52" fmla="*/ 2147483647 w 4190"/>
                    <a:gd name="T53" fmla="*/ 2147483647 h 4763"/>
                    <a:gd name="T54" fmla="*/ 2147483647 w 4190"/>
                    <a:gd name="T55" fmla="*/ 2147483647 h 4763"/>
                    <a:gd name="T56" fmla="*/ 2147483647 w 4190"/>
                    <a:gd name="T57" fmla="*/ 2147483647 h 4763"/>
                    <a:gd name="T58" fmla="*/ 2147483647 w 4190"/>
                    <a:gd name="T59" fmla="*/ 2147483647 h 4763"/>
                    <a:gd name="T60" fmla="*/ 2147483647 w 4190"/>
                    <a:gd name="T61" fmla="*/ 0 h 4763"/>
                    <a:gd name="T62" fmla="*/ 2147483647 w 4190"/>
                    <a:gd name="T63" fmla="*/ 2147483647 h 4763"/>
                    <a:gd name="T64" fmla="*/ 2147483647 w 4190"/>
                    <a:gd name="T65" fmla="*/ 2147483647 h 4763"/>
                    <a:gd name="T66" fmla="*/ 2147483647 w 4190"/>
                    <a:gd name="T67" fmla="*/ 2147483647 h 4763"/>
                    <a:gd name="T68" fmla="*/ 2147483647 w 4190"/>
                    <a:gd name="T69" fmla="*/ 2147483647 h 4763"/>
                    <a:gd name="T70" fmla="*/ 2147483647 w 4190"/>
                    <a:gd name="T71" fmla="*/ 2147483647 h 4763"/>
                    <a:gd name="T72" fmla="*/ 2147483647 w 4190"/>
                    <a:gd name="T73" fmla="*/ 2147483647 h 4763"/>
                    <a:gd name="T74" fmla="*/ 2147483647 w 4190"/>
                    <a:gd name="T75" fmla="*/ 2147483647 h 4763"/>
                    <a:gd name="T76" fmla="*/ 2147483647 w 4190"/>
                    <a:gd name="T77" fmla="*/ 2147483647 h 4763"/>
                    <a:gd name="T78" fmla="*/ 2147483647 w 4190"/>
                    <a:gd name="T79" fmla="*/ 2147483647 h 4763"/>
                    <a:gd name="T80" fmla="*/ 2147483647 w 4190"/>
                    <a:gd name="T81" fmla="*/ 2147483647 h 4763"/>
                    <a:gd name="T82" fmla="*/ 2147483647 w 4190"/>
                    <a:gd name="T83" fmla="*/ 2147483647 h 4763"/>
                    <a:gd name="T84" fmla="*/ 2147483647 w 4190"/>
                    <a:gd name="T85" fmla="*/ 2147483647 h 4763"/>
                    <a:gd name="T86" fmla="*/ 2147483647 w 4190"/>
                    <a:gd name="T87" fmla="*/ 2147483647 h 4763"/>
                    <a:gd name="T88" fmla="*/ 2147483647 w 4190"/>
                    <a:gd name="T89" fmla="*/ 2147483647 h 4763"/>
                    <a:gd name="T90" fmla="*/ 0 w 4190"/>
                    <a:gd name="T91" fmla="*/ 2147483647 h 4763"/>
                    <a:gd name="T92" fmla="*/ 2147483647 w 4190"/>
                    <a:gd name="T93" fmla="*/ 2147483647 h 4763"/>
                    <a:gd name="T94" fmla="*/ 2147483647 w 4190"/>
                    <a:gd name="T95" fmla="*/ 2147483647 h 4763"/>
                    <a:gd name="T96" fmla="*/ 2147483647 w 4190"/>
                    <a:gd name="T97" fmla="*/ 2147483647 h 4763"/>
                    <a:gd name="T98" fmla="*/ 2147483647 w 4190"/>
                    <a:gd name="T99" fmla="*/ 2147483647 h 4763"/>
                    <a:gd name="T100" fmla="*/ 2147483647 w 4190"/>
                    <a:gd name="T101" fmla="*/ 2147483647 h 4763"/>
                    <a:gd name="T102" fmla="*/ 2147483647 w 4190"/>
                    <a:gd name="T103" fmla="*/ 2147483647 h 4763"/>
                    <a:gd name="T104" fmla="*/ 2147483647 w 4190"/>
                    <a:gd name="T105" fmla="*/ 2147483647 h 4763"/>
                    <a:gd name="T106" fmla="*/ 2147483647 w 4190"/>
                    <a:gd name="T107" fmla="*/ 2147483647 h 4763"/>
                    <a:gd name="T108" fmla="*/ 2147483647 w 4190"/>
                    <a:gd name="T109" fmla="*/ 2147483647 h 4763"/>
                    <a:gd name="T110" fmla="*/ 2147483647 w 4190"/>
                    <a:gd name="T111" fmla="*/ 2147483647 h 4763"/>
                    <a:gd name="T112" fmla="*/ 2147483647 w 4190"/>
                    <a:gd name="T113" fmla="*/ 2147483647 h 4763"/>
                    <a:gd name="T114" fmla="*/ 2147483647 w 4190"/>
                    <a:gd name="T115" fmla="*/ 2147483647 h 4763"/>
                    <a:gd name="T116" fmla="*/ 2147483647 w 4190"/>
                    <a:gd name="T117" fmla="*/ 2147483647 h 4763"/>
                    <a:gd name="T118" fmla="*/ 2147483647 w 4190"/>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90"/>
                    <a:gd name="T181" fmla="*/ 0 h 4763"/>
                    <a:gd name="T182" fmla="*/ 4190 w 4190"/>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90" h="4763">
                      <a:moveTo>
                        <a:pt x="953" y="3153"/>
                      </a:moveTo>
                      <a:lnTo>
                        <a:pt x="953" y="3464"/>
                      </a:lnTo>
                      <a:lnTo>
                        <a:pt x="760" y="3464"/>
                      </a:lnTo>
                      <a:lnTo>
                        <a:pt x="760" y="3153"/>
                      </a:lnTo>
                      <a:lnTo>
                        <a:pt x="953" y="3153"/>
                      </a:lnTo>
                      <a:close/>
                      <a:moveTo>
                        <a:pt x="2351" y="173"/>
                      </a:moveTo>
                      <a:lnTo>
                        <a:pt x="2351" y="173"/>
                      </a:lnTo>
                      <a:lnTo>
                        <a:pt x="2323" y="173"/>
                      </a:lnTo>
                      <a:lnTo>
                        <a:pt x="2296" y="175"/>
                      </a:lnTo>
                      <a:lnTo>
                        <a:pt x="2269" y="176"/>
                      </a:lnTo>
                      <a:lnTo>
                        <a:pt x="2244" y="179"/>
                      </a:lnTo>
                      <a:lnTo>
                        <a:pt x="2220" y="182"/>
                      </a:lnTo>
                      <a:lnTo>
                        <a:pt x="2197" y="185"/>
                      </a:lnTo>
                      <a:lnTo>
                        <a:pt x="2174" y="190"/>
                      </a:lnTo>
                      <a:lnTo>
                        <a:pt x="2152" y="195"/>
                      </a:lnTo>
                      <a:lnTo>
                        <a:pt x="2111" y="207"/>
                      </a:lnTo>
                      <a:lnTo>
                        <a:pt x="2074" y="220"/>
                      </a:lnTo>
                      <a:lnTo>
                        <a:pt x="2040" y="235"/>
                      </a:lnTo>
                      <a:lnTo>
                        <a:pt x="2010" y="250"/>
                      </a:lnTo>
                      <a:lnTo>
                        <a:pt x="1981" y="267"/>
                      </a:lnTo>
                      <a:lnTo>
                        <a:pt x="1957" y="285"/>
                      </a:lnTo>
                      <a:lnTo>
                        <a:pt x="1934" y="303"/>
                      </a:lnTo>
                      <a:lnTo>
                        <a:pt x="1915" y="322"/>
                      </a:lnTo>
                      <a:lnTo>
                        <a:pt x="1897" y="341"/>
                      </a:lnTo>
                      <a:lnTo>
                        <a:pt x="1882" y="359"/>
                      </a:lnTo>
                      <a:lnTo>
                        <a:pt x="1869" y="376"/>
                      </a:lnTo>
                      <a:lnTo>
                        <a:pt x="1858" y="391"/>
                      </a:lnTo>
                      <a:lnTo>
                        <a:pt x="1817" y="394"/>
                      </a:lnTo>
                      <a:lnTo>
                        <a:pt x="1775" y="396"/>
                      </a:lnTo>
                      <a:lnTo>
                        <a:pt x="1733" y="402"/>
                      </a:lnTo>
                      <a:lnTo>
                        <a:pt x="1711" y="406"/>
                      </a:lnTo>
                      <a:lnTo>
                        <a:pt x="1691" y="411"/>
                      </a:lnTo>
                      <a:lnTo>
                        <a:pt x="1670" y="417"/>
                      </a:lnTo>
                      <a:lnTo>
                        <a:pt x="1650" y="423"/>
                      </a:lnTo>
                      <a:lnTo>
                        <a:pt x="1631" y="430"/>
                      </a:lnTo>
                      <a:lnTo>
                        <a:pt x="1611" y="438"/>
                      </a:lnTo>
                      <a:lnTo>
                        <a:pt x="1593" y="448"/>
                      </a:lnTo>
                      <a:lnTo>
                        <a:pt x="1575" y="459"/>
                      </a:lnTo>
                      <a:lnTo>
                        <a:pt x="1558" y="471"/>
                      </a:lnTo>
                      <a:lnTo>
                        <a:pt x="1543" y="484"/>
                      </a:lnTo>
                      <a:lnTo>
                        <a:pt x="1876" y="484"/>
                      </a:lnTo>
                      <a:lnTo>
                        <a:pt x="1881" y="484"/>
                      </a:lnTo>
                      <a:lnTo>
                        <a:pt x="1887" y="485"/>
                      </a:lnTo>
                      <a:lnTo>
                        <a:pt x="1899" y="491"/>
                      </a:lnTo>
                      <a:lnTo>
                        <a:pt x="1911" y="500"/>
                      </a:lnTo>
                      <a:lnTo>
                        <a:pt x="1926" y="511"/>
                      </a:lnTo>
                      <a:lnTo>
                        <a:pt x="1961" y="538"/>
                      </a:lnTo>
                      <a:lnTo>
                        <a:pt x="1982" y="553"/>
                      </a:lnTo>
                      <a:lnTo>
                        <a:pt x="2006" y="570"/>
                      </a:lnTo>
                      <a:lnTo>
                        <a:pt x="2033" y="585"/>
                      </a:lnTo>
                      <a:lnTo>
                        <a:pt x="2064" y="601"/>
                      </a:lnTo>
                      <a:lnTo>
                        <a:pt x="2100" y="615"/>
                      </a:lnTo>
                      <a:lnTo>
                        <a:pt x="2120" y="621"/>
                      </a:lnTo>
                      <a:lnTo>
                        <a:pt x="2140" y="627"/>
                      </a:lnTo>
                      <a:lnTo>
                        <a:pt x="2162" y="633"/>
                      </a:lnTo>
                      <a:lnTo>
                        <a:pt x="2185" y="639"/>
                      </a:lnTo>
                      <a:lnTo>
                        <a:pt x="2209" y="643"/>
                      </a:lnTo>
                      <a:lnTo>
                        <a:pt x="2234" y="648"/>
                      </a:lnTo>
                      <a:lnTo>
                        <a:pt x="2262" y="650"/>
                      </a:lnTo>
                      <a:lnTo>
                        <a:pt x="2290" y="653"/>
                      </a:lnTo>
                      <a:lnTo>
                        <a:pt x="2320" y="654"/>
                      </a:lnTo>
                      <a:lnTo>
                        <a:pt x="2351" y="655"/>
                      </a:lnTo>
                      <a:lnTo>
                        <a:pt x="2379" y="654"/>
                      </a:lnTo>
                      <a:lnTo>
                        <a:pt x="2404" y="653"/>
                      </a:lnTo>
                      <a:lnTo>
                        <a:pt x="2430" y="652"/>
                      </a:lnTo>
                      <a:lnTo>
                        <a:pt x="2456" y="649"/>
                      </a:lnTo>
                      <a:lnTo>
                        <a:pt x="2481" y="646"/>
                      </a:lnTo>
                      <a:lnTo>
                        <a:pt x="2505" y="641"/>
                      </a:lnTo>
                      <a:lnTo>
                        <a:pt x="2529" y="636"/>
                      </a:lnTo>
                      <a:lnTo>
                        <a:pt x="2552" y="631"/>
                      </a:lnTo>
                      <a:lnTo>
                        <a:pt x="2562" y="629"/>
                      </a:lnTo>
                      <a:lnTo>
                        <a:pt x="2570" y="629"/>
                      </a:lnTo>
                      <a:lnTo>
                        <a:pt x="2579" y="629"/>
                      </a:lnTo>
                      <a:lnTo>
                        <a:pt x="2585" y="630"/>
                      </a:lnTo>
                      <a:lnTo>
                        <a:pt x="2591" y="633"/>
                      </a:lnTo>
                      <a:lnTo>
                        <a:pt x="2595" y="636"/>
                      </a:lnTo>
                      <a:lnTo>
                        <a:pt x="2599" y="641"/>
                      </a:lnTo>
                      <a:lnTo>
                        <a:pt x="2603" y="646"/>
                      </a:lnTo>
                      <a:lnTo>
                        <a:pt x="2605" y="650"/>
                      </a:lnTo>
                      <a:lnTo>
                        <a:pt x="2607" y="656"/>
                      </a:lnTo>
                      <a:lnTo>
                        <a:pt x="2610" y="670"/>
                      </a:lnTo>
                      <a:lnTo>
                        <a:pt x="2611" y="684"/>
                      </a:lnTo>
                      <a:lnTo>
                        <a:pt x="2611" y="698"/>
                      </a:lnTo>
                      <a:lnTo>
                        <a:pt x="2612" y="709"/>
                      </a:lnTo>
                      <a:lnTo>
                        <a:pt x="2613" y="720"/>
                      </a:lnTo>
                      <a:lnTo>
                        <a:pt x="2615" y="731"/>
                      </a:lnTo>
                      <a:lnTo>
                        <a:pt x="2617" y="742"/>
                      </a:lnTo>
                      <a:lnTo>
                        <a:pt x="2624" y="764"/>
                      </a:lnTo>
                      <a:lnTo>
                        <a:pt x="2635" y="785"/>
                      </a:lnTo>
                      <a:lnTo>
                        <a:pt x="2647" y="806"/>
                      </a:lnTo>
                      <a:lnTo>
                        <a:pt x="2663" y="825"/>
                      </a:lnTo>
                      <a:lnTo>
                        <a:pt x="2681" y="843"/>
                      </a:lnTo>
                      <a:lnTo>
                        <a:pt x="2701" y="861"/>
                      </a:lnTo>
                      <a:lnTo>
                        <a:pt x="2723" y="877"/>
                      </a:lnTo>
                      <a:lnTo>
                        <a:pt x="2748" y="891"/>
                      </a:lnTo>
                      <a:lnTo>
                        <a:pt x="2775" y="903"/>
                      </a:lnTo>
                      <a:lnTo>
                        <a:pt x="2803" y="914"/>
                      </a:lnTo>
                      <a:lnTo>
                        <a:pt x="2834" y="922"/>
                      </a:lnTo>
                      <a:lnTo>
                        <a:pt x="2865" y="929"/>
                      </a:lnTo>
                      <a:lnTo>
                        <a:pt x="2899" y="933"/>
                      </a:lnTo>
                      <a:lnTo>
                        <a:pt x="2934" y="935"/>
                      </a:lnTo>
                      <a:lnTo>
                        <a:pt x="2965" y="933"/>
                      </a:lnTo>
                      <a:lnTo>
                        <a:pt x="2995" y="930"/>
                      </a:lnTo>
                      <a:lnTo>
                        <a:pt x="3024" y="924"/>
                      </a:lnTo>
                      <a:lnTo>
                        <a:pt x="3053" y="915"/>
                      </a:lnTo>
                      <a:lnTo>
                        <a:pt x="3081" y="906"/>
                      </a:lnTo>
                      <a:lnTo>
                        <a:pt x="3107" y="895"/>
                      </a:lnTo>
                      <a:lnTo>
                        <a:pt x="3133" y="882"/>
                      </a:lnTo>
                      <a:lnTo>
                        <a:pt x="3157" y="866"/>
                      </a:lnTo>
                      <a:lnTo>
                        <a:pt x="3181" y="850"/>
                      </a:lnTo>
                      <a:lnTo>
                        <a:pt x="3202" y="833"/>
                      </a:lnTo>
                      <a:lnTo>
                        <a:pt x="3223" y="814"/>
                      </a:lnTo>
                      <a:lnTo>
                        <a:pt x="3242" y="795"/>
                      </a:lnTo>
                      <a:lnTo>
                        <a:pt x="3260" y="774"/>
                      </a:lnTo>
                      <a:lnTo>
                        <a:pt x="3277" y="753"/>
                      </a:lnTo>
                      <a:lnTo>
                        <a:pt x="3292" y="731"/>
                      </a:lnTo>
                      <a:lnTo>
                        <a:pt x="3305" y="708"/>
                      </a:lnTo>
                      <a:lnTo>
                        <a:pt x="3352" y="708"/>
                      </a:lnTo>
                      <a:lnTo>
                        <a:pt x="3395" y="706"/>
                      </a:lnTo>
                      <a:lnTo>
                        <a:pt x="3437" y="701"/>
                      </a:lnTo>
                      <a:lnTo>
                        <a:pt x="3477" y="694"/>
                      </a:lnTo>
                      <a:lnTo>
                        <a:pt x="3513" y="684"/>
                      </a:lnTo>
                      <a:lnTo>
                        <a:pt x="3547" y="673"/>
                      </a:lnTo>
                      <a:lnTo>
                        <a:pt x="3578" y="661"/>
                      </a:lnTo>
                      <a:lnTo>
                        <a:pt x="3607" y="647"/>
                      </a:lnTo>
                      <a:lnTo>
                        <a:pt x="3632" y="632"/>
                      </a:lnTo>
                      <a:lnTo>
                        <a:pt x="3655" y="617"/>
                      </a:lnTo>
                      <a:lnTo>
                        <a:pt x="3675" y="601"/>
                      </a:lnTo>
                      <a:lnTo>
                        <a:pt x="3690" y="585"/>
                      </a:lnTo>
                      <a:lnTo>
                        <a:pt x="3703" y="570"/>
                      </a:lnTo>
                      <a:lnTo>
                        <a:pt x="3712" y="554"/>
                      </a:lnTo>
                      <a:lnTo>
                        <a:pt x="3715" y="547"/>
                      </a:lnTo>
                      <a:lnTo>
                        <a:pt x="3718" y="540"/>
                      </a:lnTo>
                      <a:lnTo>
                        <a:pt x="3719" y="531"/>
                      </a:lnTo>
                      <a:lnTo>
                        <a:pt x="3719" y="525"/>
                      </a:lnTo>
                      <a:lnTo>
                        <a:pt x="3719" y="518"/>
                      </a:lnTo>
                      <a:lnTo>
                        <a:pt x="3718" y="511"/>
                      </a:lnTo>
                      <a:lnTo>
                        <a:pt x="3715" y="503"/>
                      </a:lnTo>
                      <a:lnTo>
                        <a:pt x="3712" y="496"/>
                      </a:lnTo>
                      <a:lnTo>
                        <a:pt x="3703" y="481"/>
                      </a:lnTo>
                      <a:lnTo>
                        <a:pt x="3691" y="466"/>
                      </a:lnTo>
                      <a:lnTo>
                        <a:pt x="3676" y="450"/>
                      </a:lnTo>
                      <a:lnTo>
                        <a:pt x="3656" y="436"/>
                      </a:lnTo>
                      <a:lnTo>
                        <a:pt x="3635" y="422"/>
                      </a:lnTo>
                      <a:lnTo>
                        <a:pt x="3609" y="408"/>
                      </a:lnTo>
                      <a:lnTo>
                        <a:pt x="3582" y="395"/>
                      </a:lnTo>
                      <a:lnTo>
                        <a:pt x="3550" y="383"/>
                      </a:lnTo>
                      <a:lnTo>
                        <a:pt x="3516" y="373"/>
                      </a:lnTo>
                      <a:lnTo>
                        <a:pt x="3478" y="364"/>
                      </a:lnTo>
                      <a:lnTo>
                        <a:pt x="3437" y="356"/>
                      </a:lnTo>
                      <a:lnTo>
                        <a:pt x="3395" y="350"/>
                      </a:lnTo>
                      <a:lnTo>
                        <a:pt x="3349" y="348"/>
                      </a:lnTo>
                      <a:lnTo>
                        <a:pt x="3300" y="347"/>
                      </a:lnTo>
                      <a:lnTo>
                        <a:pt x="3270" y="347"/>
                      </a:lnTo>
                      <a:lnTo>
                        <a:pt x="3240" y="349"/>
                      </a:lnTo>
                      <a:lnTo>
                        <a:pt x="3211" y="352"/>
                      </a:lnTo>
                      <a:lnTo>
                        <a:pt x="3182" y="355"/>
                      </a:lnTo>
                      <a:lnTo>
                        <a:pt x="3154" y="360"/>
                      </a:lnTo>
                      <a:lnTo>
                        <a:pt x="3128" y="365"/>
                      </a:lnTo>
                      <a:lnTo>
                        <a:pt x="3076" y="377"/>
                      </a:lnTo>
                      <a:lnTo>
                        <a:pt x="3068" y="378"/>
                      </a:lnTo>
                      <a:lnTo>
                        <a:pt x="3059" y="378"/>
                      </a:lnTo>
                      <a:lnTo>
                        <a:pt x="3052" y="376"/>
                      </a:lnTo>
                      <a:lnTo>
                        <a:pt x="3045" y="372"/>
                      </a:lnTo>
                      <a:lnTo>
                        <a:pt x="3039" y="367"/>
                      </a:lnTo>
                      <a:lnTo>
                        <a:pt x="3034" y="361"/>
                      </a:lnTo>
                      <a:lnTo>
                        <a:pt x="3029" y="354"/>
                      </a:lnTo>
                      <a:lnTo>
                        <a:pt x="3027" y="346"/>
                      </a:lnTo>
                      <a:lnTo>
                        <a:pt x="3016" y="312"/>
                      </a:lnTo>
                      <a:lnTo>
                        <a:pt x="3010" y="293"/>
                      </a:lnTo>
                      <a:lnTo>
                        <a:pt x="3001" y="272"/>
                      </a:lnTo>
                      <a:lnTo>
                        <a:pt x="2992" y="252"/>
                      </a:lnTo>
                      <a:lnTo>
                        <a:pt x="2980" y="231"/>
                      </a:lnTo>
                      <a:lnTo>
                        <a:pt x="2966" y="210"/>
                      </a:lnTo>
                      <a:lnTo>
                        <a:pt x="2949" y="190"/>
                      </a:lnTo>
                      <a:lnTo>
                        <a:pt x="2941" y="181"/>
                      </a:lnTo>
                      <a:lnTo>
                        <a:pt x="2931" y="171"/>
                      </a:lnTo>
                      <a:lnTo>
                        <a:pt x="2921" y="161"/>
                      </a:lnTo>
                      <a:lnTo>
                        <a:pt x="2909" y="153"/>
                      </a:lnTo>
                      <a:lnTo>
                        <a:pt x="2897" y="145"/>
                      </a:lnTo>
                      <a:lnTo>
                        <a:pt x="2883" y="137"/>
                      </a:lnTo>
                      <a:lnTo>
                        <a:pt x="2869" y="130"/>
                      </a:lnTo>
                      <a:lnTo>
                        <a:pt x="2853" y="123"/>
                      </a:lnTo>
                      <a:lnTo>
                        <a:pt x="2837" y="117"/>
                      </a:lnTo>
                      <a:lnTo>
                        <a:pt x="2821" y="112"/>
                      </a:lnTo>
                      <a:lnTo>
                        <a:pt x="2803" y="107"/>
                      </a:lnTo>
                      <a:lnTo>
                        <a:pt x="2782" y="104"/>
                      </a:lnTo>
                      <a:lnTo>
                        <a:pt x="2762" y="100"/>
                      </a:lnTo>
                      <a:lnTo>
                        <a:pt x="2740" y="98"/>
                      </a:lnTo>
                      <a:lnTo>
                        <a:pt x="2717" y="96"/>
                      </a:lnTo>
                      <a:lnTo>
                        <a:pt x="2693" y="96"/>
                      </a:lnTo>
                      <a:lnTo>
                        <a:pt x="2675" y="96"/>
                      </a:lnTo>
                      <a:lnTo>
                        <a:pt x="2658" y="98"/>
                      </a:lnTo>
                      <a:lnTo>
                        <a:pt x="2641" y="99"/>
                      </a:lnTo>
                      <a:lnTo>
                        <a:pt x="2626" y="101"/>
                      </a:lnTo>
                      <a:lnTo>
                        <a:pt x="2597" y="108"/>
                      </a:lnTo>
                      <a:lnTo>
                        <a:pt x="2569" y="117"/>
                      </a:lnTo>
                      <a:lnTo>
                        <a:pt x="2545" y="125"/>
                      </a:lnTo>
                      <a:lnTo>
                        <a:pt x="2523" y="135"/>
                      </a:lnTo>
                      <a:lnTo>
                        <a:pt x="2486" y="154"/>
                      </a:lnTo>
                      <a:lnTo>
                        <a:pt x="2473" y="161"/>
                      </a:lnTo>
                      <a:lnTo>
                        <a:pt x="2461" y="166"/>
                      </a:lnTo>
                      <a:lnTo>
                        <a:pt x="2447" y="169"/>
                      </a:lnTo>
                      <a:lnTo>
                        <a:pt x="2433" y="171"/>
                      </a:lnTo>
                      <a:lnTo>
                        <a:pt x="2416" y="172"/>
                      </a:lnTo>
                      <a:lnTo>
                        <a:pt x="2398" y="173"/>
                      </a:lnTo>
                      <a:lnTo>
                        <a:pt x="2351" y="173"/>
                      </a:lnTo>
                      <a:close/>
                      <a:moveTo>
                        <a:pt x="2517" y="737"/>
                      </a:moveTo>
                      <a:lnTo>
                        <a:pt x="2517" y="737"/>
                      </a:lnTo>
                      <a:lnTo>
                        <a:pt x="2477" y="743"/>
                      </a:lnTo>
                      <a:lnTo>
                        <a:pt x="2436" y="748"/>
                      </a:lnTo>
                      <a:lnTo>
                        <a:pt x="2394" y="750"/>
                      </a:lnTo>
                      <a:lnTo>
                        <a:pt x="2351" y="751"/>
                      </a:lnTo>
                      <a:lnTo>
                        <a:pt x="2312" y="750"/>
                      </a:lnTo>
                      <a:lnTo>
                        <a:pt x="2274" y="748"/>
                      </a:lnTo>
                      <a:lnTo>
                        <a:pt x="2237" y="744"/>
                      </a:lnTo>
                      <a:lnTo>
                        <a:pt x="2200" y="739"/>
                      </a:lnTo>
                      <a:lnTo>
                        <a:pt x="2164" y="732"/>
                      </a:lnTo>
                      <a:lnTo>
                        <a:pt x="2129" y="725"/>
                      </a:lnTo>
                      <a:lnTo>
                        <a:pt x="2096" y="715"/>
                      </a:lnTo>
                      <a:lnTo>
                        <a:pt x="2062" y="706"/>
                      </a:lnTo>
                      <a:lnTo>
                        <a:pt x="2031" y="694"/>
                      </a:lnTo>
                      <a:lnTo>
                        <a:pt x="2000" y="680"/>
                      </a:lnTo>
                      <a:lnTo>
                        <a:pt x="1972" y="667"/>
                      </a:lnTo>
                      <a:lnTo>
                        <a:pt x="1945" y="652"/>
                      </a:lnTo>
                      <a:lnTo>
                        <a:pt x="1920" y="636"/>
                      </a:lnTo>
                      <a:lnTo>
                        <a:pt x="1896" y="618"/>
                      </a:lnTo>
                      <a:lnTo>
                        <a:pt x="1874" y="600"/>
                      </a:lnTo>
                      <a:lnTo>
                        <a:pt x="1855" y="580"/>
                      </a:lnTo>
                      <a:lnTo>
                        <a:pt x="1458" y="580"/>
                      </a:lnTo>
                      <a:lnTo>
                        <a:pt x="1446" y="579"/>
                      </a:lnTo>
                      <a:lnTo>
                        <a:pt x="1436" y="576"/>
                      </a:lnTo>
                      <a:lnTo>
                        <a:pt x="1426" y="571"/>
                      </a:lnTo>
                      <a:lnTo>
                        <a:pt x="1419" y="564"/>
                      </a:lnTo>
                      <a:lnTo>
                        <a:pt x="1414" y="554"/>
                      </a:lnTo>
                      <a:lnTo>
                        <a:pt x="1410" y="544"/>
                      </a:lnTo>
                      <a:lnTo>
                        <a:pt x="1409" y="534"/>
                      </a:lnTo>
                      <a:lnTo>
                        <a:pt x="1412" y="521"/>
                      </a:lnTo>
                      <a:lnTo>
                        <a:pt x="1414" y="509"/>
                      </a:lnTo>
                      <a:lnTo>
                        <a:pt x="1419" y="497"/>
                      </a:lnTo>
                      <a:lnTo>
                        <a:pt x="1424" y="485"/>
                      </a:lnTo>
                      <a:lnTo>
                        <a:pt x="1428" y="473"/>
                      </a:lnTo>
                      <a:lnTo>
                        <a:pt x="1436" y="462"/>
                      </a:lnTo>
                      <a:lnTo>
                        <a:pt x="1443" y="452"/>
                      </a:lnTo>
                      <a:lnTo>
                        <a:pt x="1450" y="441"/>
                      </a:lnTo>
                      <a:lnTo>
                        <a:pt x="1458" y="431"/>
                      </a:lnTo>
                      <a:lnTo>
                        <a:pt x="1478" y="412"/>
                      </a:lnTo>
                      <a:lnTo>
                        <a:pt x="1499" y="395"/>
                      </a:lnTo>
                      <a:lnTo>
                        <a:pt x="1522" y="378"/>
                      </a:lnTo>
                      <a:lnTo>
                        <a:pt x="1549" y="364"/>
                      </a:lnTo>
                      <a:lnTo>
                        <a:pt x="1575" y="352"/>
                      </a:lnTo>
                      <a:lnTo>
                        <a:pt x="1604" y="340"/>
                      </a:lnTo>
                      <a:lnTo>
                        <a:pt x="1634" y="330"/>
                      </a:lnTo>
                      <a:lnTo>
                        <a:pt x="1666" y="323"/>
                      </a:lnTo>
                      <a:lnTo>
                        <a:pt x="1698" y="316"/>
                      </a:lnTo>
                      <a:lnTo>
                        <a:pt x="1731" y="312"/>
                      </a:lnTo>
                      <a:lnTo>
                        <a:pt x="1763" y="308"/>
                      </a:lnTo>
                      <a:lnTo>
                        <a:pt x="1797" y="308"/>
                      </a:lnTo>
                      <a:lnTo>
                        <a:pt x="1810" y="308"/>
                      </a:lnTo>
                      <a:lnTo>
                        <a:pt x="1817" y="295"/>
                      </a:lnTo>
                      <a:lnTo>
                        <a:pt x="1826" y="282"/>
                      </a:lnTo>
                      <a:lnTo>
                        <a:pt x="1835" y="269"/>
                      </a:lnTo>
                      <a:lnTo>
                        <a:pt x="1846" y="257"/>
                      </a:lnTo>
                      <a:lnTo>
                        <a:pt x="1857" y="244"/>
                      </a:lnTo>
                      <a:lnTo>
                        <a:pt x="1868" y="234"/>
                      </a:lnTo>
                      <a:lnTo>
                        <a:pt x="1881" y="222"/>
                      </a:lnTo>
                      <a:lnTo>
                        <a:pt x="1893" y="211"/>
                      </a:lnTo>
                      <a:lnTo>
                        <a:pt x="1922" y="190"/>
                      </a:lnTo>
                      <a:lnTo>
                        <a:pt x="1952" y="171"/>
                      </a:lnTo>
                      <a:lnTo>
                        <a:pt x="1985" y="154"/>
                      </a:lnTo>
                      <a:lnTo>
                        <a:pt x="2020" y="138"/>
                      </a:lnTo>
                      <a:lnTo>
                        <a:pt x="2057" y="124"/>
                      </a:lnTo>
                      <a:lnTo>
                        <a:pt x="2096" y="112"/>
                      </a:lnTo>
                      <a:lnTo>
                        <a:pt x="2135" y="101"/>
                      </a:lnTo>
                      <a:lnTo>
                        <a:pt x="2176" y="93"/>
                      </a:lnTo>
                      <a:lnTo>
                        <a:pt x="2220" y="86"/>
                      </a:lnTo>
                      <a:lnTo>
                        <a:pt x="2263" y="81"/>
                      </a:lnTo>
                      <a:lnTo>
                        <a:pt x="2306" y="77"/>
                      </a:lnTo>
                      <a:lnTo>
                        <a:pt x="2351" y="77"/>
                      </a:lnTo>
                      <a:lnTo>
                        <a:pt x="2386" y="77"/>
                      </a:lnTo>
                      <a:lnTo>
                        <a:pt x="2421" y="79"/>
                      </a:lnTo>
                      <a:lnTo>
                        <a:pt x="2450" y="61"/>
                      </a:lnTo>
                      <a:lnTo>
                        <a:pt x="2480" y="46"/>
                      </a:lnTo>
                      <a:lnTo>
                        <a:pt x="2512" y="31"/>
                      </a:lnTo>
                      <a:lnTo>
                        <a:pt x="2546" y="20"/>
                      </a:lnTo>
                      <a:lnTo>
                        <a:pt x="2581" y="12"/>
                      </a:lnTo>
                      <a:lnTo>
                        <a:pt x="2617" y="5"/>
                      </a:lnTo>
                      <a:lnTo>
                        <a:pt x="2654" y="1"/>
                      </a:lnTo>
                      <a:lnTo>
                        <a:pt x="2693" y="0"/>
                      </a:lnTo>
                      <a:lnTo>
                        <a:pt x="2729" y="1"/>
                      </a:lnTo>
                      <a:lnTo>
                        <a:pt x="2765" y="5"/>
                      </a:lnTo>
                      <a:lnTo>
                        <a:pt x="2800" y="11"/>
                      </a:lnTo>
                      <a:lnTo>
                        <a:pt x="2835" y="19"/>
                      </a:lnTo>
                      <a:lnTo>
                        <a:pt x="2868" y="30"/>
                      </a:lnTo>
                      <a:lnTo>
                        <a:pt x="2899" y="42"/>
                      </a:lnTo>
                      <a:lnTo>
                        <a:pt x="2929" y="58"/>
                      </a:lnTo>
                      <a:lnTo>
                        <a:pt x="2958" y="75"/>
                      </a:lnTo>
                      <a:lnTo>
                        <a:pt x="2984" y="93"/>
                      </a:lnTo>
                      <a:lnTo>
                        <a:pt x="3010" y="113"/>
                      </a:lnTo>
                      <a:lnTo>
                        <a:pt x="3033" y="136"/>
                      </a:lnTo>
                      <a:lnTo>
                        <a:pt x="3042" y="147"/>
                      </a:lnTo>
                      <a:lnTo>
                        <a:pt x="3052" y="159"/>
                      </a:lnTo>
                      <a:lnTo>
                        <a:pt x="3062" y="172"/>
                      </a:lnTo>
                      <a:lnTo>
                        <a:pt x="3070" y="184"/>
                      </a:lnTo>
                      <a:lnTo>
                        <a:pt x="3077" y="198"/>
                      </a:lnTo>
                      <a:lnTo>
                        <a:pt x="3084" y="212"/>
                      </a:lnTo>
                      <a:lnTo>
                        <a:pt x="3092" y="225"/>
                      </a:lnTo>
                      <a:lnTo>
                        <a:pt x="3096" y="240"/>
                      </a:lnTo>
                      <a:lnTo>
                        <a:pt x="3101" y="254"/>
                      </a:lnTo>
                      <a:lnTo>
                        <a:pt x="3105" y="270"/>
                      </a:lnTo>
                      <a:lnTo>
                        <a:pt x="3152" y="261"/>
                      </a:lnTo>
                      <a:lnTo>
                        <a:pt x="3200" y="255"/>
                      </a:lnTo>
                      <a:lnTo>
                        <a:pt x="3249" y="252"/>
                      </a:lnTo>
                      <a:lnTo>
                        <a:pt x="3300" y="250"/>
                      </a:lnTo>
                      <a:lnTo>
                        <a:pt x="3347" y="252"/>
                      </a:lnTo>
                      <a:lnTo>
                        <a:pt x="3394" y="254"/>
                      </a:lnTo>
                      <a:lnTo>
                        <a:pt x="3441" y="260"/>
                      </a:lnTo>
                      <a:lnTo>
                        <a:pt x="3487" y="269"/>
                      </a:lnTo>
                      <a:lnTo>
                        <a:pt x="3530" y="278"/>
                      </a:lnTo>
                      <a:lnTo>
                        <a:pt x="3573" y="290"/>
                      </a:lnTo>
                      <a:lnTo>
                        <a:pt x="3613" y="305"/>
                      </a:lnTo>
                      <a:lnTo>
                        <a:pt x="3634" y="313"/>
                      </a:lnTo>
                      <a:lnTo>
                        <a:pt x="3652" y="322"/>
                      </a:lnTo>
                      <a:lnTo>
                        <a:pt x="3670" y="330"/>
                      </a:lnTo>
                      <a:lnTo>
                        <a:pt x="3687" y="340"/>
                      </a:lnTo>
                      <a:lnTo>
                        <a:pt x="3703" y="349"/>
                      </a:lnTo>
                      <a:lnTo>
                        <a:pt x="3719" y="360"/>
                      </a:lnTo>
                      <a:lnTo>
                        <a:pt x="3734" y="371"/>
                      </a:lnTo>
                      <a:lnTo>
                        <a:pt x="3747" y="383"/>
                      </a:lnTo>
                      <a:lnTo>
                        <a:pt x="3759" y="395"/>
                      </a:lnTo>
                      <a:lnTo>
                        <a:pt x="3771" y="407"/>
                      </a:lnTo>
                      <a:lnTo>
                        <a:pt x="3781" y="420"/>
                      </a:lnTo>
                      <a:lnTo>
                        <a:pt x="3790" y="434"/>
                      </a:lnTo>
                      <a:lnTo>
                        <a:pt x="3797" y="448"/>
                      </a:lnTo>
                      <a:lnTo>
                        <a:pt x="3803" y="462"/>
                      </a:lnTo>
                      <a:lnTo>
                        <a:pt x="3809" y="477"/>
                      </a:lnTo>
                      <a:lnTo>
                        <a:pt x="3813" y="493"/>
                      </a:lnTo>
                      <a:lnTo>
                        <a:pt x="3815" y="508"/>
                      </a:lnTo>
                      <a:lnTo>
                        <a:pt x="3815" y="525"/>
                      </a:lnTo>
                      <a:lnTo>
                        <a:pt x="3815" y="540"/>
                      </a:lnTo>
                      <a:lnTo>
                        <a:pt x="3813" y="554"/>
                      </a:lnTo>
                      <a:lnTo>
                        <a:pt x="3811" y="568"/>
                      </a:lnTo>
                      <a:lnTo>
                        <a:pt x="3806" y="582"/>
                      </a:lnTo>
                      <a:lnTo>
                        <a:pt x="3800" y="595"/>
                      </a:lnTo>
                      <a:lnTo>
                        <a:pt x="3794" y="608"/>
                      </a:lnTo>
                      <a:lnTo>
                        <a:pt x="3787" y="621"/>
                      </a:lnTo>
                      <a:lnTo>
                        <a:pt x="3777" y="633"/>
                      </a:lnTo>
                      <a:lnTo>
                        <a:pt x="3767" y="644"/>
                      </a:lnTo>
                      <a:lnTo>
                        <a:pt x="3758" y="656"/>
                      </a:lnTo>
                      <a:lnTo>
                        <a:pt x="3746" y="667"/>
                      </a:lnTo>
                      <a:lnTo>
                        <a:pt x="3734" y="678"/>
                      </a:lnTo>
                      <a:lnTo>
                        <a:pt x="3720" y="688"/>
                      </a:lnTo>
                      <a:lnTo>
                        <a:pt x="3706" y="697"/>
                      </a:lnTo>
                      <a:lnTo>
                        <a:pt x="3691" y="707"/>
                      </a:lnTo>
                      <a:lnTo>
                        <a:pt x="3676" y="715"/>
                      </a:lnTo>
                      <a:lnTo>
                        <a:pt x="3643" y="732"/>
                      </a:lnTo>
                      <a:lnTo>
                        <a:pt x="3608" y="747"/>
                      </a:lnTo>
                      <a:lnTo>
                        <a:pt x="3571" y="760"/>
                      </a:lnTo>
                      <a:lnTo>
                        <a:pt x="3531" y="771"/>
                      </a:lnTo>
                      <a:lnTo>
                        <a:pt x="3491" y="780"/>
                      </a:lnTo>
                      <a:lnTo>
                        <a:pt x="3449" y="788"/>
                      </a:lnTo>
                      <a:lnTo>
                        <a:pt x="3407" y="794"/>
                      </a:lnTo>
                      <a:lnTo>
                        <a:pt x="3365" y="797"/>
                      </a:lnTo>
                      <a:lnTo>
                        <a:pt x="3357" y="810"/>
                      </a:lnTo>
                      <a:lnTo>
                        <a:pt x="3346" y="826"/>
                      </a:lnTo>
                      <a:lnTo>
                        <a:pt x="3332" y="843"/>
                      </a:lnTo>
                      <a:lnTo>
                        <a:pt x="3316" y="861"/>
                      </a:lnTo>
                      <a:lnTo>
                        <a:pt x="3298" y="880"/>
                      </a:lnTo>
                      <a:lnTo>
                        <a:pt x="3276" y="900"/>
                      </a:lnTo>
                      <a:lnTo>
                        <a:pt x="3253" y="919"/>
                      </a:lnTo>
                      <a:lnTo>
                        <a:pt x="3227" y="938"/>
                      </a:lnTo>
                      <a:lnTo>
                        <a:pt x="3199" y="956"/>
                      </a:lnTo>
                      <a:lnTo>
                        <a:pt x="3167" y="974"/>
                      </a:lnTo>
                      <a:lnTo>
                        <a:pt x="3134" y="990"/>
                      </a:lnTo>
                      <a:lnTo>
                        <a:pt x="3117" y="997"/>
                      </a:lnTo>
                      <a:lnTo>
                        <a:pt x="3099" y="1003"/>
                      </a:lnTo>
                      <a:lnTo>
                        <a:pt x="3080" y="1009"/>
                      </a:lnTo>
                      <a:lnTo>
                        <a:pt x="3060" y="1014"/>
                      </a:lnTo>
                      <a:lnTo>
                        <a:pt x="3041" y="1019"/>
                      </a:lnTo>
                      <a:lnTo>
                        <a:pt x="3021" y="1024"/>
                      </a:lnTo>
                      <a:lnTo>
                        <a:pt x="3000" y="1026"/>
                      </a:lnTo>
                      <a:lnTo>
                        <a:pt x="2978" y="1028"/>
                      </a:lnTo>
                      <a:lnTo>
                        <a:pt x="2957" y="1030"/>
                      </a:lnTo>
                      <a:lnTo>
                        <a:pt x="2934" y="1031"/>
                      </a:lnTo>
                      <a:lnTo>
                        <a:pt x="2897" y="1028"/>
                      </a:lnTo>
                      <a:lnTo>
                        <a:pt x="2859" y="1025"/>
                      </a:lnTo>
                      <a:lnTo>
                        <a:pt x="2822" y="1019"/>
                      </a:lnTo>
                      <a:lnTo>
                        <a:pt x="2787" y="1009"/>
                      </a:lnTo>
                      <a:lnTo>
                        <a:pt x="2752" y="997"/>
                      </a:lnTo>
                      <a:lnTo>
                        <a:pt x="2719" y="984"/>
                      </a:lnTo>
                      <a:lnTo>
                        <a:pt x="2688" y="967"/>
                      </a:lnTo>
                      <a:lnTo>
                        <a:pt x="2658" y="949"/>
                      </a:lnTo>
                      <a:lnTo>
                        <a:pt x="2645" y="939"/>
                      </a:lnTo>
                      <a:lnTo>
                        <a:pt x="2632" y="929"/>
                      </a:lnTo>
                      <a:lnTo>
                        <a:pt x="2618" y="918"/>
                      </a:lnTo>
                      <a:lnTo>
                        <a:pt x="2606" y="906"/>
                      </a:lnTo>
                      <a:lnTo>
                        <a:pt x="2595" y="895"/>
                      </a:lnTo>
                      <a:lnTo>
                        <a:pt x="2585" y="882"/>
                      </a:lnTo>
                      <a:lnTo>
                        <a:pt x="2574" y="870"/>
                      </a:lnTo>
                      <a:lnTo>
                        <a:pt x="2564" y="856"/>
                      </a:lnTo>
                      <a:lnTo>
                        <a:pt x="2556" y="843"/>
                      </a:lnTo>
                      <a:lnTo>
                        <a:pt x="2547" y="829"/>
                      </a:lnTo>
                      <a:lnTo>
                        <a:pt x="2540" y="814"/>
                      </a:lnTo>
                      <a:lnTo>
                        <a:pt x="2534" y="800"/>
                      </a:lnTo>
                      <a:lnTo>
                        <a:pt x="2529" y="784"/>
                      </a:lnTo>
                      <a:lnTo>
                        <a:pt x="2524" y="768"/>
                      </a:lnTo>
                      <a:lnTo>
                        <a:pt x="2521" y="753"/>
                      </a:lnTo>
                      <a:lnTo>
                        <a:pt x="2517" y="737"/>
                      </a:lnTo>
                      <a:close/>
                      <a:moveTo>
                        <a:pt x="1496" y="715"/>
                      </a:moveTo>
                      <a:lnTo>
                        <a:pt x="1448" y="2141"/>
                      </a:lnTo>
                      <a:lnTo>
                        <a:pt x="1604" y="1983"/>
                      </a:lnTo>
                      <a:lnTo>
                        <a:pt x="1562" y="715"/>
                      </a:lnTo>
                      <a:lnTo>
                        <a:pt x="1496" y="715"/>
                      </a:lnTo>
                      <a:close/>
                      <a:moveTo>
                        <a:pt x="1402" y="619"/>
                      </a:moveTo>
                      <a:lnTo>
                        <a:pt x="1655" y="619"/>
                      </a:lnTo>
                      <a:lnTo>
                        <a:pt x="1716" y="2436"/>
                      </a:lnTo>
                      <a:lnTo>
                        <a:pt x="1340" y="2436"/>
                      </a:lnTo>
                      <a:lnTo>
                        <a:pt x="1402" y="619"/>
                      </a:lnTo>
                      <a:close/>
                      <a:moveTo>
                        <a:pt x="992" y="2132"/>
                      </a:moveTo>
                      <a:lnTo>
                        <a:pt x="1149" y="1975"/>
                      </a:lnTo>
                      <a:lnTo>
                        <a:pt x="1107" y="715"/>
                      </a:lnTo>
                      <a:lnTo>
                        <a:pt x="1041" y="715"/>
                      </a:lnTo>
                      <a:lnTo>
                        <a:pt x="992" y="2132"/>
                      </a:lnTo>
                      <a:close/>
                      <a:moveTo>
                        <a:pt x="948" y="619"/>
                      </a:moveTo>
                      <a:lnTo>
                        <a:pt x="1200" y="619"/>
                      </a:lnTo>
                      <a:lnTo>
                        <a:pt x="1261" y="2436"/>
                      </a:lnTo>
                      <a:lnTo>
                        <a:pt x="886" y="2436"/>
                      </a:lnTo>
                      <a:lnTo>
                        <a:pt x="948" y="619"/>
                      </a:lnTo>
                      <a:close/>
                      <a:moveTo>
                        <a:pt x="3022" y="2533"/>
                      </a:moveTo>
                      <a:lnTo>
                        <a:pt x="3022" y="3006"/>
                      </a:lnTo>
                      <a:lnTo>
                        <a:pt x="0" y="3006"/>
                      </a:lnTo>
                      <a:lnTo>
                        <a:pt x="0" y="2533"/>
                      </a:lnTo>
                      <a:lnTo>
                        <a:pt x="3022" y="2533"/>
                      </a:lnTo>
                      <a:close/>
                      <a:moveTo>
                        <a:pt x="193" y="4079"/>
                      </a:moveTo>
                      <a:lnTo>
                        <a:pt x="1303" y="4079"/>
                      </a:lnTo>
                      <a:lnTo>
                        <a:pt x="1308" y="3455"/>
                      </a:lnTo>
                      <a:lnTo>
                        <a:pt x="1308" y="3445"/>
                      </a:lnTo>
                      <a:lnTo>
                        <a:pt x="1309" y="3437"/>
                      </a:lnTo>
                      <a:lnTo>
                        <a:pt x="1312" y="3430"/>
                      </a:lnTo>
                      <a:lnTo>
                        <a:pt x="1314" y="3424"/>
                      </a:lnTo>
                      <a:lnTo>
                        <a:pt x="1318" y="3418"/>
                      </a:lnTo>
                      <a:lnTo>
                        <a:pt x="1322" y="3413"/>
                      </a:lnTo>
                      <a:lnTo>
                        <a:pt x="1326" y="3409"/>
                      </a:lnTo>
                      <a:lnTo>
                        <a:pt x="1332" y="3406"/>
                      </a:lnTo>
                      <a:lnTo>
                        <a:pt x="1338" y="3403"/>
                      </a:lnTo>
                      <a:lnTo>
                        <a:pt x="1344" y="3402"/>
                      </a:lnTo>
                      <a:lnTo>
                        <a:pt x="1350" y="3402"/>
                      </a:lnTo>
                      <a:lnTo>
                        <a:pt x="1357" y="3403"/>
                      </a:lnTo>
                      <a:lnTo>
                        <a:pt x="1363" y="3405"/>
                      </a:lnTo>
                      <a:lnTo>
                        <a:pt x="1371" y="3408"/>
                      </a:lnTo>
                      <a:lnTo>
                        <a:pt x="1378" y="3412"/>
                      </a:lnTo>
                      <a:lnTo>
                        <a:pt x="1385" y="3418"/>
                      </a:lnTo>
                      <a:lnTo>
                        <a:pt x="2135" y="4008"/>
                      </a:lnTo>
                      <a:lnTo>
                        <a:pt x="2135" y="3455"/>
                      </a:lnTo>
                      <a:lnTo>
                        <a:pt x="2135" y="3445"/>
                      </a:lnTo>
                      <a:lnTo>
                        <a:pt x="2138" y="3438"/>
                      </a:lnTo>
                      <a:lnTo>
                        <a:pt x="2139" y="3430"/>
                      </a:lnTo>
                      <a:lnTo>
                        <a:pt x="2143" y="3424"/>
                      </a:lnTo>
                      <a:lnTo>
                        <a:pt x="2146" y="3418"/>
                      </a:lnTo>
                      <a:lnTo>
                        <a:pt x="2150" y="3413"/>
                      </a:lnTo>
                      <a:lnTo>
                        <a:pt x="2155" y="3409"/>
                      </a:lnTo>
                      <a:lnTo>
                        <a:pt x="2159" y="3406"/>
                      </a:lnTo>
                      <a:lnTo>
                        <a:pt x="2165" y="3403"/>
                      </a:lnTo>
                      <a:lnTo>
                        <a:pt x="2171" y="3402"/>
                      </a:lnTo>
                      <a:lnTo>
                        <a:pt x="2177" y="3402"/>
                      </a:lnTo>
                      <a:lnTo>
                        <a:pt x="2185" y="3403"/>
                      </a:lnTo>
                      <a:lnTo>
                        <a:pt x="2192" y="3405"/>
                      </a:lnTo>
                      <a:lnTo>
                        <a:pt x="2199" y="3408"/>
                      </a:lnTo>
                      <a:lnTo>
                        <a:pt x="2206" y="3412"/>
                      </a:lnTo>
                      <a:lnTo>
                        <a:pt x="2214" y="3418"/>
                      </a:lnTo>
                      <a:lnTo>
                        <a:pt x="2627" y="3743"/>
                      </a:lnTo>
                      <a:lnTo>
                        <a:pt x="2627" y="3102"/>
                      </a:lnTo>
                      <a:lnTo>
                        <a:pt x="2819" y="3102"/>
                      </a:lnTo>
                      <a:lnTo>
                        <a:pt x="2819" y="3895"/>
                      </a:lnTo>
                      <a:lnTo>
                        <a:pt x="2912" y="3968"/>
                      </a:lnTo>
                      <a:lnTo>
                        <a:pt x="2964" y="3968"/>
                      </a:lnTo>
                      <a:lnTo>
                        <a:pt x="2964" y="3455"/>
                      </a:lnTo>
                      <a:lnTo>
                        <a:pt x="2964" y="3445"/>
                      </a:lnTo>
                      <a:lnTo>
                        <a:pt x="2965" y="3438"/>
                      </a:lnTo>
                      <a:lnTo>
                        <a:pt x="2968" y="3430"/>
                      </a:lnTo>
                      <a:lnTo>
                        <a:pt x="2970" y="3424"/>
                      </a:lnTo>
                      <a:lnTo>
                        <a:pt x="2974" y="3418"/>
                      </a:lnTo>
                      <a:lnTo>
                        <a:pt x="2978" y="3413"/>
                      </a:lnTo>
                      <a:lnTo>
                        <a:pt x="2982" y="3409"/>
                      </a:lnTo>
                      <a:lnTo>
                        <a:pt x="2988" y="3406"/>
                      </a:lnTo>
                      <a:lnTo>
                        <a:pt x="2994" y="3403"/>
                      </a:lnTo>
                      <a:lnTo>
                        <a:pt x="3000" y="3402"/>
                      </a:lnTo>
                      <a:lnTo>
                        <a:pt x="3006" y="3402"/>
                      </a:lnTo>
                      <a:lnTo>
                        <a:pt x="3013" y="3403"/>
                      </a:lnTo>
                      <a:lnTo>
                        <a:pt x="3019" y="3405"/>
                      </a:lnTo>
                      <a:lnTo>
                        <a:pt x="3027" y="3408"/>
                      </a:lnTo>
                      <a:lnTo>
                        <a:pt x="3034" y="3412"/>
                      </a:lnTo>
                      <a:lnTo>
                        <a:pt x="3041" y="3418"/>
                      </a:lnTo>
                      <a:lnTo>
                        <a:pt x="3740" y="3968"/>
                      </a:lnTo>
                      <a:lnTo>
                        <a:pt x="4190" y="3968"/>
                      </a:lnTo>
                      <a:lnTo>
                        <a:pt x="4190" y="4763"/>
                      </a:lnTo>
                      <a:lnTo>
                        <a:pt x="0" y="4763"/>
                      </a:lnTo>
                      <a:lnTo>
                        <a:pt x="0" y="3102"/>
                      </a:lnTo>
                      <a:lnTo>
                        <a:pt x="193" y="3102"/>
                      </a:lnTo>
                      <a:lnTo>
                        <a:pt x="193" y="4079"/>
                      </a:lnTo>
                      <a:close/>
                      <a:moveTo>
                        <a:pt x="3783" y="4125"/>
                      </a:moveTo>
                      <a:lnTo>
                        <a:pt x="3060" y="3554"/>
                      </a:lnTo>
                      <a:lnTo>
                        <a:pt x="3060" y="4108"/>
                      </a:lnTo>
                      <a:lnTo>
                        <a:pt x="3059" y="4116"/>
                      </a:lnTo>
                      <a:lnTo>
                        <a:pt x="3058" y="4125"/>
                      </a:lnTo>
                      <a:lnTo>
                        <a:pt x="3055" y="4132"/>
                      </a:lnTo>
                      <a:lnTo>
                        <a:pt x="3053" y="4139"/>
                      </a:lnTo>
                      <a:lnTo>
                        <a:pt x="3049" y="4145"/>
                      </a:lnTo>
                      <a:lnTo>
                        <a:pt x="3046" y="4150"/>
                      </a:lnTo>
                      <a:lnTo>
                        <a:pt x="3041" y="4154"/>
                      </a:lnTo>
                      <a:lnTo>
                        <a:pt x="3035" y="4157"/>
                      </a:lnTo>
                      <a:lnTo>
                        <a:pt x="3030" y="4160"/>
                      </a:lnTo>
                      <a:lnTo>
                        <a:pt x="3024" y="4161"/>
                      </a:lnTo>
                      <a:lnTo>
                        <a:pt x="3017" y="4161"/>
                      </a:lnTo>
                      <a:lnTo>
                        <a:pt x="3011" y="4160"/>
                      </a:lnTo>
                      <a:lnTo>
                        <a:pt x="3004" y="4158"/>
                      </a:lnTo>
                      <a:lnTo>
                        <a:pt x="2996" y="4155"/>
                      </a:lnTo>
                      <a:lnTo>
                        <a:pt x="2989" y="4151"/>
                      </a:lnTo>
                      <a:lnTo>
                        <a:pt x="2982" y="4145"/>
                      </a:lnTo>
                      <a:lnTo>
                        <a:pt x="2232" y="3554"/>
                      </a:lnTo>
                      <a:lnTo>
                        <a:pt x="2232" y="4108"/>
                      </a:lnTo>
                      <a:lnTo>
                        <a:pt x="2232" y="4116"/>
                      </a:lnTo>
                      <a:lnTo>
                        <a:pt x="2230" y="4125"/>
                      </a:lnTo>
                      <a:lnTo>
                        <a:pt x="2228" y="4132"/>
                      </a:lnTo>
                      <a:lnTo>
                        <a:pt x="2226" y="4139"/>
                      </a:lnTo>
                      <a:lnTo>
                        <a:pt x="2222" y="4145"/>
                      </a:lnTo>
                      <a:lnTo>
                        <a:pt x="2217" y="4150"/>
                      </a:lnTo>
                      <a:lnTo>
                        <a:pt x="2212" y="4154"/>
                      </a:lnTo>
                      <a:lnTo>
                        <a:pt x="2208" y="4157"/>
                      </a:lnTo>
                      <a:lnTo>
                        <a:pt x="2202" y="4160"/>
                      </a:lnTo>
                      <a:lnTo>
                        <a:pt x="2196" y="4161"/>
                      </a:lnTo>
                      <a:lnTo>
                        <a:pt x="2190" y="4161"/>
                      </a:lnTo>
                      <a:lnTo>
                        <a:pt x="2182" y="4160"/>
                      </a:lnTo>
                      <a:lnTo>
                        <a:pt x="2175" y="4158"/>
                      </a:lnTo>
                      <a:lnTo>
                        <a:pt x="2168" y="4155"/>
                      </a:lnTo>
                      <a:lnTo>
                        <a:pt x="2161" y="4151"/>
                      </a:lnTo>
                      <a:lnTo>
                        <a:pt x="2153" y="4145"/>
                      </a:lnTo>
                      <a:lnTo>
                        <a:pt x="1403" y="3554"/>
                      </a:lnTo>
                      <a:lnTo>
                        <a:pt x="1399" y="4128"/>
                      </a:lnTo>
                      <a:lnTo>
                        <a:pt x="1398" y="4137"/>
                      </a:lnTo>
                      <a:lnTo>
                        <a:pt x="1396" y="4146"/>
                      </a:lnTo>
                      <a:lnTo>
                        <a:pt x="1391" y="4154"/>
                      </a:lnTo>
                      <a:lnTo>
                        <a:pt x="1385" y="4161"/>
                      </a:lnTo>
                      <a:lnTo>
                        <a:pt x="1378" y="4167"/>
                      </a:lnTo>
                      <a:lnTo>
                        <a:pt x="1369" y="4172"/>
                      </a:lnTo>
                      <a:lnTo>
                        <a:pt x="1361" y="4175"/>
                      </a:lnTo>
                      <a:lnTo>
                        <a:pt x="1351" y="4175"/>
                      </a:lnTo>
                      <a:lnTo>
                        <a:pt x="193" y="4175"/>
                      </a:lnTo>
                      <a:lnTo>
                        <a:pt x="193" y="4570"/>
                      </a:lnTo>
                      <a:lnTo>
                        <a:pt x="4005" y="4570"/>
                      </a:lnTo>
                      <a:lnTo>
                        <a:pt x="4005" y="4127"/>
                      </a:lnTo>
                      <a:lnTo>
                        <a:pt x="3783" y="4125"/>
                      </a:lnTo>
                      <a:close/>
                      <a:moveTo>
                        <a:pt x="618" y="3656"/>
                      </a:moveTo>
                      <a:lnTo>
                        <a:pt x="618" y="3965"/>
                      </a:lnTo>
                      <a:lnTo>
                        <a:pt x="425" y="3965"/>
                      </a:lnTo>
                      <a:lnTo>
                        <a:pt x="425" y="3656"/>
                      </a:lnTo>
                      <a:lnTo>
                        <a:pt x="618" y="3656"/>
                      </a:lnTo>
                      <a:close/>
                      <a:moveTo>
                        <a:pt x="618" y="3153"/>
                      </a:moveTo>
                      <a:lnTo>
                        <a:pt x="618" y="3464"/>
                      </a:lnTo>
                      <a:lnTo>
                        <a:pt x="425" y="3464"/>
                      </a:lnTo>
                      <a:lnTo>
                        <a:pt x="425" y="3153"/>
                      </a:lnTo>
                      <a:lnTo>
                        <a:pt x="618" y="3153"/>
                      </a:lnTo>
                      <a:close/>
                      <a:moveTo>
                        <a:pt x="953" y="3656"/>
                      </a:moveTo>
                      <a:lnTo>
                        <a:pt x="953" y="3965"/>
                      </a:lnTo>
                      <a:lnTo>
                        <a:pt x="760" y="3965"/>
                      </a:lnTo>
                      <a:lnTo>
                        <a:pt x="760" y="3656"/>
                      </a:lnTo>
                      <a:lnTo>
                        <a:pt x="953" y="3656"/>
                      </a:lnTo>
                      <a:close/>
                    </a:path>
                  </a:pathLst>
                </a:custGeom>
                <a:solidFill>
                  <a:schemeClr val="accent1"/>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59" name="Group 158"/>
              <p:cNvGrpSpPr/>
              <p:nvPr/>
            </p:nvGrpSpPr>
            <p:grpSpPr>
              <a:xfrm>
                <a:off x="8642070" y="1827413"/>
                <a:ext cx="646887" cy="646887"/>
                <a:chOff x="9182007" y="4324151"/>
                <a:chExt cx="684476" cy="684476"/>
              </a:xfrm>
            </p:grpSpPr>
            <p:sp>
              <p:nvSpPr>
                <p:cNvPr id="229" name="Oval 228"/>
                <p:cNvSpPr/>
                <p:nvPr/>
              </p:nvSpPr>
              <p:spPr>
                <a:xfrm>
                  <a:off x="9182007" y="4324151"/>
                  <a:ext cx="684476" cy="684476"/>
                </a:xfrm>
                <a:prstGeom prst="ellipse">
                  <a:avLst/>
                </a:prstGeom>
                <a:solidFill>
                  <a:srgbClr val="FFF27F"/>
                </a:solidFill>
                <a:ln w="12700">
                  <a:noFill/>
                  <a:prstDash val="solid"/>
                  <a:round/>
                  <a:headEnd/>
                  <a:tailEnd/>
                </a:ln>
              </p:spPr>
              <p:txBody>
                <a:bodyPr wrap="none" lIns="0" tIns="28609" rIns="0" bIns="0" anchor="t"/>
                <a:lstStyle/>
                <a:p>
                  <a:pPr algn="ctr" defTabSz="558057">
                    <a:lnSpc>
                      <a:spcPct val="90000"/>
                    </a:lnSpc>
                    <a:defRPr/>
                  </a:pPr>
                  <a:r>
                    <a:rPr lang="de-DE" sz="716" b="1" kern="0" dirty="0">
                      <a:solidFill>
                        <a:schemeClr val="accent1"/>
                      </a:solidFill>
                      <a:latin typeface="+mj-lt"/>
                    </a:rPr>
                    <a:t>Customer</a:t>
                  </a:r>
                </a:p>
              </p:txBody>
            </p:sp>
            <p:sp>
              <p:nvSpPr>
                <p:cNvPr id="230" name="Freeform 13"/>
                <p:cNvSpPr>
                  <a:spLocks noChangeAspect="1" noEditPoints="1"/>
                </p:cNvSpPr>
                <p:nvPr/>
              </p:nvSpPr>
              <p:spPr bwMode="auto">
                <a:xfrm>
                  <a:off x="9339126" y="4631259"/>
                  <a:ext cx="370275" cy="259856"/>
                </a:xfrm>
                <a:custGeom>
                  <a:avLst/>
                  <a:gdLst>
                    <a:gd name="T0" fmla="*/ 2147483647 w 6736"/>
                    <a:gd name="T1" fmla="*/ 2147483647 h 4727"/>
                    <a:gd name="T2" fmla="*/ 2147483647 w 6736"/>
                    <a:gd name="T3" fmla="*/ 2147483647 h 4727"/>
                    <a:gd name="T4" fmla="*/ 2147483647 w 6736"/>
                    <a:gd name="T5" fmla="*/ 2147483647 h 4727"/>
                    <a:gd name="T6" fmla="*/ 2147483647 w 6736"/>
                    <a:gd name="T7" fmla="*/ 2147483647 h 4727"/>
                    <a:gd name="T8" fmla="*/ 2147483647 w 6736"/>
                    <a:gd name="T9" fmla="*/ 2147483647 h 4727"/>
                    <a:gd name="T10" fmla="*/ 2147483647 w 6736"/>
                    <a:gd name="T11" fmla="*/ 2147483647 h 4727"/>
                    <a:gd name="T12" fmla="*/ 2147483647 w 6736"/>
                    <a:gd name="T13" fmla="*/ 2147483647 h 4727"/>
                    <a:gd name="T14" fmla="*/ 2147483647 w 6736"/>
                    <a:gd name="T15" fmla="*/ 2147483647 h 4727"/>
                    <a:gd name="T16" fmla="*/ 2147483647 w 6736"/>
                    <a:gd name="T17" fmla="*/ 2147483647 h 4727"/>
                    <a:gd name="T18" fmla="*/ 0 w 6736"/>
                    <a:gd name="T19" fmla="*/ 2147483647 h 4727"/>
                    <a:gd name="T20" fmla="*/ 2147483647 w 6736"/>
                    <a:gd name="T21" fmla="*/ 2147483647 h 4727"/>
                    <a:gd name="T22" fmla="*/ 2147483647 w 6736"/>
                    <a:gd name="T23" fmla="*/ 2147483647 h 4727"/>
                    <a:gd name="T24" fmla="*/ 2147483647 w 6736"/>
                    <a:gd name="T25" fmla="*/ 2147483647 h 4727"/>
                    <a:gd name="T26" fmla="*/ 2147483647 w 6736"/>
                    <a:gd name="T27" fmla="*/ 2147483647 h 4727"/>
                    <a:gd name="T28" fmla="*/ 2147483647 w 6736"/>
                    <a:gd name="T29" fmla="*/ 2147483647 h 4727"/>
                    <a:gd name="T30" fmla="*/ 2147483647 w 6736"/>
                    <a:gd name="T31" fmla="*/ 2147483647 h 4727"/>
                    <a:gd name="T32" fmla="*/ 2147483647 w 6736"/>
                    <a:gd name="T33" fmla="*/ 2147483647 h 4727"/>
                    <a:gd name="T34" fmla="*/ 2147483647 w 6736"/>
                    <a:gd name="T35" fmla="*/ 2147483647 h 4727"/>
                    <a:gd name="T36" fmla="*/ 2147483647 w 6736"/>
                    <a:gd name="T37" fmla="*/ 2147483647 h 4727"/>
                    <a:gd name="T38" fmla="*/ 2147483647 w 6736"/>
                    <a:gd name="T39" fmla="*/ 2147483647 h 4727"/>
                    <a:gd name="T40" fmla="*/ 2147483647 w 6736"/>
                    <a:gd name="T41" fmla="*/ 2147483647 h 4727"/>
                    <a:gd name="T42" fmla="*/ 2147483647 w 6736"/>
                    <a:gd name="T43" fmla="*/ 2147483647 h 4727"/>
                    <a:gd name="T44" fmla="*/ 2147483647 w 6736"/>
                    <a:gd name="T45" fmla="*/ 2147483647 h 4727"/>
                    <a:gd name="T46" fmla="*/ 2147483647 w 6736"/>
                    <a:gd name="T47" fmla="*/ 2147483647 h 4727"/>
                    <a:gd name="T48" fmla="*/ 2147483647 w 6736"/>
                    <a:gd name="T49" fmla="*/ 2147483647 h 4727"/>
                    <a:gd name="T50" fmla="*/ 2147483647 w 6736"/>
                    <a:gd name="T51" fmla="*/ 2147483647 h 4727"/>
                    <a:gd name="T52" fmla="*/ 2147483647 w 6736"/>
                    <a:gd name="T53" fmla="*/ 2147483647 h 4727"/>
                    <a:gd name="T54" fmla="*/ 2147483647 w 6736"/>
                    <a:gd name="T55" fmla="*/ 2147483647 h 4727"/>
                    <a:gd name="T56" fmla="*/ 2147483647 w 6736"/>
                    <a:gd name="T57" fmla="*/ 2147483647 h 4727"/>
                    <a:gd name="T58" fmla="*/ 2147483647 w 6736"/>
                    <a:gd name="T59" fmla="*/ 2147483647 h 4727"/>
                    <a:gd name="T60" fmla="*/ 2147483647 w 6736"/>
                    <a:gd name="T61" fmla="*/ 2147483647 h 4727"/>
                    <a:gd name="T62" fmla="*/ 2147483647 w 6736"/>
                    <a:gd name="T63" fmla="*/ 2147483647 h 4727"/>
                    <a:gd name="T64" fmla="*/ 2147483647 w 6736"/>
                    <a:gd name="T65" fmla="*/ 2147483647 h 4727"/>
                    <a:gd name="T66" fmla="*/ 2147483647 w 6736"/>
                    <a:gd name="T67" fmla="*/ 2147483647 h 4727"/>
                    <a:gd name="T68" fmla="*/ 2147483647 w 6736"/>
                    <a:gd name="T69" fmla="*/ 2147483647 h 4727"/>
                    <a:gd name="T70" fmla="*/ 2147483647 w 6736"/>
                    <a:gd name="T71" fmla="*/ 2147483647 h 4727"/>
                    <a:gd name="T72" fmla="*/ 2147483647 w 6736"/>
                    <a:gd name="T73" fmla="*/ 2147483647 h 4727"/>
                    <a:gd name="T74" fmla="*/ 2147483647 w 6736"/>
                    <a:gd name="T75" fmla="*/ 2147483647 h 4727"/>
                    <a:gd name="T76" fmla="*/ 2147483647 w 6736"/>
                    <a:gd name="T77" fmla="*/ 2147483647 h 4727"/>
                    <a:gd name="T78" fmla="*/ 2147483647 w 6736"/>
                    <a:gd name="T79" fmla="*/ 2147483647 h 4727"/>
                    <a:gd name="T80" fmla="*/ 2147483647 w 6736"/>
                    <a:gd name="T81" fmla="*/ 0 h 4727"/>
                    <a:gd name="T82" fmla="*/ 2147483647 w 6736"/>
                    <a:gd name="T83" fmla="*/ 2147483647 h 4727"/>
                    <a:gd name="T84" fmla="*/ 2147483647 w 6736"/>
                    <a:gd name="T85" fmla="*/ 2147483647 h 4727"/>
                    <a:gd name="T86" fmla="*/ 2147483647 w 6736"/>
                    <a:gd name="T87" fmla="*/ 2147483647 h 4727"/>
                    <a:gd name="T88" fmla="*/ 2147483647 w 6736"/>
                    <a:gd name="T89" fmla="*/ 2147483647 h 4727"/>
                    <a:gd name="T90" fmla="*/ 2147483647 w 6736"/>
                    <a:gd name="T91" fmla="*/ 2147483647 h 4727"/>
                    <a:gd name="T92" fmla="*/ 2147483647 w 6736"/>
                    <a:gd name="T93" fmla="*/ 2147483647 h 4727"/>
                    <a:gd name="T94" fmla="*/ 2147483647 w 6736"/>
                    <a:gd name="T95" fmla="*/ 2147483647 h 4727"/>
                    <a:gd name="T96" fmla="*/ 2147483647 w 6736"/>
                    <a:gd name="T97" fmla="*/ 2147483647 h 4727"/>
                    <a:gd name="T98" fmla="*/ 2147483647 w 6736"/>
                    <a:gd name="T99" fmla="*/ 2147483647 h 4727"/>
                    <a:gd name="T100" fmla="*/ 2147483647 w 6736"/>
                    <a:gd name="T101" fmla="*/ 2147483647 h 4727"/>
                    <a:gd name="T102" fmla="*/ 2147483647 w 6736"/>
                    <a:gd name="T103" fmla="*/ 2147483647 h 4727"/>
                    <a:gd name="T104" fmla="*/ 2147483647 w 6736"/>
                    <a:gd name="T105" fmla="*/ 2147483647 h 4727"/>
                    <a:gd name="T106" fmla="*/ 2147483647 w 6736"/>
                    <a:gd name="T107" fmla="*/ 2147483647 h 4727"/>
                    <a:gd name="T108" fmla="*/ 2147483647 w 6736"/>
                    <a:gd name="T109" fmla="*/ 2147483647 h 4727"/>
                    <a:gd name="T110" fmla="*/ 2147483647 w 6736"/>
                    <a:gd name="T111" fmla="*/ 2147483647 h 4727"/>
                    <a:gd name="T112" fmla="*/ 2147483647 w 6736"/>
                    <a:gd name="T113" fmla="*/ 2147483647 h 4727"/>
                    <a:gd name="T114" fmla="*/ 2147483647 w 6736"/>
                    <a:gd name="T115" fmla="*/ 2147483647 h 4727"/>
                    <a:gd name="T116" fmla="*/ 2147483647 w 6736"/>
                    <a:gd name="T117" fmla="*/ 2147483647 h 4727"/>
                    <a:gd name="T118" fmla="*/ 2147483647 w 6736"/>
                    <a:gd name="T119" fmla="*/ 2147483647 h 4727"/>
                    <a:gd name="T120" fmla="*/ 2147483647 w 6736"/>
                    <a:gd name="T121" fmla="*/ 2147483647 h 47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736"/>
                    <a:gd name="T184" fmla="*/ 0 h 4727"/>
                    <a:gd name="T185" fmla="*/ 6736 w 6736"/>
                    <a:gd name="T186" fmla="*/ 4727 h 47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736" h="4727">
                      <a:moveTo>
                        <a:pt x="1302" y="3975"/>
                      </a:moveTo>
                      <a:lnTo>
                        <a:pt x="1302" y="3713"/>
                      </a:lnTo>
                      <a:lnTo>
                        <a:pt x="1438" y="3713"/>
                      </a:lnTo>
                      <a:lnTo>
                        <a:pt x="1438" y="3975"/>
                      </a:lnTo>
                      <a:lnTo>
                        <a:pt x="1302" y="3975"/>
                      </a:lnTo>
                      <a:close/>
                      <a:moveTo>
                        <a:pt x="2533" y="3206"/>
                      </a:moveTo>
                      <a:lnTo>
                        <a:pt x="750" y="2593"/>
                      </a:lnTo>
                      <a:lnTo>
                        <a:pt x="750" y="3206"/>
                      </a:lnTo>
                      <a:lnTo>
                        <a:pt x="2533" y="3206"/>
                      </a:lnTo>
                      <a:close/>
                      <a:moveTo>
                        <a:pt x="1453" y="2537"/>
                      </a:moveTo>
                      <a:lnTo>
                        <a:pt x="1635" y="2596"/>
                      </a:lnTo>
                      <a:lnTo>
                        <a:pt x="1584" y="1229"/>
                      </a:lnTo>
                      <a:lnTo>
                        <a:pt x="1502" y="1229"/>
                      </a:lnTo>
                      <a:lnTo>
                        <a:pt x="1453" y="2537"/>
                      </a:lnTo>
                      <a:close/>
                      <a:moveTo>
                        <a:pt x="2745" y="4447"/>
                      </a:moveTo>
                      <a:lnTo>
                        <a:pt x="2738" y="3342"/>
                      </a:lnTo>
                      <a:lnTo>
                        <a:pt x="750" y="3342"/>
                      </a:lnTo>
                      <a:lnTo>
                        <a:pt x="750" y="4447"/>
                      </a:lnTo>
                      <a:lnTo>
                        <a:pt x="479" y="4447"/>
                      </a:lnTo>
                      <a:lnTo>
                        <a:pt x="479" y="2219"/>
                      </a:lnTo>
                      <a:lnTo>
                        <a:pt x="1319" y="2493"/>
                      </a:lnTo>
                      <a:lnTo>
                        <a:pt x="1372" y="1093"/>
                      </a:lnTo>
                      <a:lnTo>
                        <a:pt x="1715" y="1093"/>
                      </a:lnTo>
                      <a:lnTo>
                        <a:pt x="1774" y="2640"/>
                      </a:lnTo>
                      <a:lnTo>
                        <a:pt x="2083" y="2742"/>
                      </a:lnTo>
                      <a:lnTo>
                        <a:pt x="3645" y="2263"/>
                      </a:lnTo>
                      <a:lnTo>
                        <a:pt x="6281" y="3136"/>
                      </a:lnTo>
                      <a:lnTo>
                        <a:pt x="6288" y="4447"/>
                      </a:lnTo>
                      <a:lnTo>
                        <a:pt x="6016" y="4449"/>
                      </a:lnTo>
                      <a:lnTo>
                        <a:pt x="6011" y="3342"/>
                      </a:lnTo>
                      <a:lnTo>
                        <a:pt x="3303" y="3342"/>
                      </a:lnTo>
                      <a:lnTo>
                        <a:pt x="3303" y="3206"/>
                      </a:lnTo>
                      <a:lnTo>
                        <a:pt x="4884" y="3206"/>
                      </a:lnTo>
                      <a:lnTo>
                        <a:pt x="3640" y="2549"/>
                      </a:lnTo>
                      <a:lnTo>
                        <a:pt x="2276" y="2966"/>
                      </a:lnTo>
                      <a:lnTo>
                        <a:pt x="2874" y="3187"/>
                      </a:lnTo>
                      <a:lnTo>
                        <a:pt x="2881" y="4447"/>
                      </a:lnTo>
                      <a:lnTo>
                        <a:pt x="2745" y="4447"/>
                      </a:lnTo>
                      <a:close/>
                      <a:moveTo>
                        <a:pt x="4599" y="4148"/>
                      </a:moveTo>
                      <a:lnTo>
                        <a:pt x="4599" y="3887"/>
                      </a:lnTo>
                      <a:lnTo>
                        <a:pt x="4735" y="3887"/>
                      </a:lnTo>
                      <a:lnTo>
                        <a:pt x="4735" y="4148"/>
                      </a:lnTo>
                      <a:lnTo>
                        <a:pt x="4599" y="4148"/>
                      </a:lnTo>
                      <a:close/>
                      <a:moveTo>
                        <a:pt x="5312" y="4148"/>
                      </a:moveTo>
                      <a:lnTo>
                        <a:pt x="5312" y="3887"/>
                      </a:lnTo>
                      <a:lnTo>
                        <a:pt x="5448" y="3887"/>
                      </a:lnTo>
                      <a:lnTo>
                        <a:pt x="5448" y="4148"/>
                      </a:lnTo>
                      <a:lnTo>
                        <a:pt x="5312" y="4148"/>
                      </a:lnTo>
                      <a:close/>
                      <a:moveTo>
                        <a:pt x="4955" y="4148"/>
                      </a:moveTo>
                      <a:lnTo>
                        <a:pt x="4955" y="3887"/>
                      </a:lnTo>
                      <a:lnTo>
                        <a:pt x="5091" y="3887"/>
                      </a:lnTo>
                      <a:lnTo>
                        <a:pt x="5091" y="4148"/>
                      </a:lnTo>
                      <a:lnTo>
                        <a:pt x="4955" y="4148"/>
                      </a:lnTo>
                      <a:close/>
                      <a:moveTo>
                        <a:pt x="3302" y="4591"/>
                      </a:moveTo>
                      <a:lnTo>
                        <a:pt x="3302" y="3887"/>
                      </a:lnTo>
                      <a:lnTo>
                        <a:pt x="4147" y="3887"/>
                      </a:lnTo>
                      <a:lnTo>
                        <a:pt x="4147" y="4591"/>
                      </a:lnTo>
                      <a:lnTo>
                        <a:pt x="6736" y="4591"/>
                      </a:lnTo>
                      <a:lnTo>
                        <a:pt x="6736" y="4727"/>
                      </a:lnTo>
                      <a:lnTo>
                        <a:pt x="0" y="4727"/>
                      </a:lnTo>
                      <a:lnTo>
                        <a:pt x="0" y="4591"/>
                      </a:lnTo>
                      <a:lnTo>
                        <a:pt x="3302" y="4591"/>
                      </a:lnTo>
                      <a:close/>
                      <a:moveTo>
                        <a:pt x="3667" y="4004"/>
                      </a:moveTo>
                      <a:lnTo>
                        <a:pt x="3419" y="4004"/>
                      </a:lnTo>
                      <a:lnTo>
                        <a:pt x="3419" y="4581"/>
                      </a:lnTo>
                      <a:lnTo>
                        <a:pt x="3667" y="4581"/>
                      </a:lnTo>
                      <a:lnTo>
                        <a:pt x="3667" y="4004"/>
                      </a:lnTo>
                      <a:close/>
                      <a:moveTo>
                        <a:pt x="4030" y="4581"/>
                      </a:moveTo>
                      <a:lnTo>
                        <a:pt x="4030" y="4004"/>
                      </a:lnTo>
                      <a:lnTo>
                        <a:pt x="3784" y="4004"/>
                      </a:lnTo>
                      <a:lnTo>
                        <a:pt x="3784" y="4581"/>
                      </a:lnTo>
                      <a:lnTo>
                        <a:pt x="4030" y="4581"/>
                      </a:lnTo>
                      <a:close/>
                      <a:moveTo>
                        <a:pt x="1426" y="718"/>
                      </a:moveTo>
                      <a:lnTo>
                        <a:pt x="4492" y="718"/>
                      </a:lnTo>
                      <a:lnTo>
                        <a:pt x="4526" y="717"/>
                      </a:lnTo>
                      <a:lnTo>
                        <a:pt x="4553" y="711"/>
                      </a:lnTo>
                      <a:lnTo>
                        <a:pt x="4565" y="708"/>
                      </a:lnTo>
                      <a:lnTo>
                        <a:pt x="4575" y="705"/>
                      </a:lnTo>
                      <a:lnTo>
                        <a:pt x="4583" y="700"/>
                      </a:lnTo>
                      <a:lnTo>
                        <a:pt x="4592" y="694"/>
                      </a:lnTo>
                      <a:lnTo>
                        <a:pt x="4599" y="688"/>
                      </a:lnTo>
                      <a:lnTo>
                        <a:pt x="4604" y="683"/>
                      </a:lnTo>
                      <a:lnTo>
                        <a:pt x="4609" y="676"/>
                      </a:lnTo>
                      <a:lnTo>
                        <a:pt x="4612" y="669"/>
                      </a:lnTo>
                      <a:lnTo>
                        <a:pt x="4614" y="660"/>
                      </a:lnTo>
                      <a:lnTo>
                        <a:pt x="4616" y="654"/>
                      </a:lnTo>
                      <a:lnTo>
                        <a:pt x="4616" y="638"/>
                      </a:lnTo>
                      <a:lnTo>
                        <a:pt x="4612" y="621"/>
                      </a:lnTo>
                      <a:lnTo>
                        <a:pt x="4606" y="606"/>
                      </a:lnTo>
                      <a:lnTo>
                        <a:pt x="4595" y="589"/>
                      </a:lnTo>
                      <a:lnTo>
                        <a:pt x="4583" y="576"/>
                      </a:lnTo>
                      <a:lnTo>
                        <a:pt x="4570" y="560"/>
                      </a:lnTo>
                      <a:lnTo>
                        <a:pt x="4555" y="548"/>
                      </a:lnTo>
                      <a:lnTo>
                        <a:pt x="4538" y="538"/>
                      </a:lnTo>
                      <a:lnTo>
                        <a:pt x="4519" y="530"/>
                      </a:lnTo>
                      <a:lnTo>
                        <a:pt x="4480" y="518"/>
                      </a:lnTo>
                      <a:lnTo>
                        <a:pt x="4436" y="504"/>
                      </a:lnTo>
                      <a:lnTo>
                        <a:pt x="4383" y="491"/>
                      </a:lnTo>
                      <a:lnTo>
                        <a:pt x="4325" y="479"/>
                      </a:lnTo>
                      <a:lnTo>
                        <a:pt x="4258" y="469"/>
                      </a:lnTo>
                      <a:lnTo>
                        <a:pt x="4185" y="460"/>
                      </a:lnTo>
                      <a:lnTo>
                        <a:pt x="4101" y="455"/>
                      </a:lnTo>
                      <a:lnTo>
                        <a:pt x="4010" y="453"/>
                      </a:lnTo>
                      <a:lnTo>
                        <a:pt x="3957" y="455"/>
                      </a:lnTo>
                      <a:lnTo>
                        <a:pt x="3904" y="457"/>
                      </a:lnTo>
                      <a:lnTo>
                        <a:pt x="3799" y="460"/>
                      </a:lnTo>
                      <a:lnTo>
                        <a:pt x="3828" y="436"/>
                      </a:lnTo>
                      <a:lnTo>
                        <a:pt x="3843" y="423"/>
                      </a:lnTo>
                      <a:lnTo>
                        <a:pt x="3857" y="408"/>
                      </a:lnTo>
                      <a:lnTo>
                        <a:pt x="3869" y="389"/>
                      </a:lnTo>
                      <a:lnTo>
                        <a:pt x="3877" y="370"/>
                      </a:lnTo>
                      <a:lnTo>
                        <a:pt x="3882" y="358"/>
                      </a:lnTo>
                      <a:lnTo>
                        <a:pt x="3884" y="348"/>
                      </a:lnTo>
                      <a:lnTo>
                        <a:pt x="3886" y="336"/>
                      </a:lnTo>
                      <a:lnTo>
                        <a:pt x="3886" y="323"/>
                      </a:lnTo>
                      <a:lnTo>
                        <a:pt x="3886" y="309"/>
                      </a:lnTo>
                      <a:lnTo>
                        <a:pt x="3881" y="297"/>
                      </a:lnTo>
                      <a:lnTo>
                        <a:pt x="3874" y="285"/>
                      </a:lnTo>
                      <a:lnTo>
                        <a:pt x="3864" y="273"/>
                      </a:lnTo>
                      <a:lnTo>
                        <a:pt x="3852" y="261"/>
                      </a:lnTo>
                      <a:lnTo>
                        <a:pt x="3837" y="251"/>
                      </a:lnTo>
                      <a:lnTo>
                        <a:pt x="3821" y="241"/>
                      </a:lnTo>
                      <a:lnTo>
                        <a:pt x="3803" y="233"/>
                      </a:lnTo>
                      <a:lnTo>
                        <a:pt x="3782" y="224"/>
                      </a:lnTo>
                      <a:lnTo>
                        <a:pt x="3762" y="216"/>
                      </a:lnTo>
                      <a:lnTo>
                        <a:pt x="3714" y="200"/>
                      </a:lnTo>
                      <a:lnTo>
                        <a:pt x="3665" y="187"/>
                      </a:lnTo>
                      <a:lnTo>
                        <a:pt x="3612" y="175"/>
                      </a:lnTo>
                      <a:lnTo>
                        <a:pt x="3558" y="165"/>
                      </a:lnTo>
                      <a:lnTo>
                        <a:pt x="3506" y="156"/>
                      </a:lnTo>
                      <a:lnTo>
                        <a:pt x="3455" y="149"/>
                      </a:lnTo>
                      <a:lnTo>
                        <a:pt x="3407" y="144"/>
                      </a:lnTo>
                      <a:lnTo>
                        <a:pt x="3327" y="138"/>
                      </a:lnTo>
                      <a:lnTo>
                        <a:pt x="3280" y="136"/>
                      </a:lnTo>
                      <a:lnTo>
                        <a:pt x="3230" y="138"/>
                      </a:lnTo>
                      <a:lnTo>
                        <a:pt x="3154" y="141"/>
                      </a:lnTo>
                      <a:lnTo>
                        <a:pt x="3108" y="144"/>
                      </a:lnTo>
                      <a:lnTo>
                        <a:pt x="3059" y="149"/>
                      </a:lnTo>
                      <a:lnTo>
                        <a:pt x="3006" y="156"/>
                      </a:lnTo>
                      <a:lnTo>
                        <a:pt x="2954" y="163"/>
                      </a:lnTo>
                      <a:lnTo>
                        <a:pt x="2903" y="173"/>
                      </a:lnTo>
                      <a:lnTo>
                        <a:pt x="2854" y="187"/>
                      </a:lnTo>
                      <a:lnTo>
                        <a:pt x="2808" y="200"/>
                      </a:lnTo>
                      <a:lnTo>
                        <a:pt x="2786" y="209"/>
                      </a:lnTo>
                      <a:lnTo>
                        <a:pt x="2767" y="217"/>
                      </a:lnTo>
                      <a:lnTo>
                        <a:pt x="2748" y="228"/>
                      </a:lnTo>
                      <a:lnTo>
                        <a:pt x="2731" y="238"/>
                      </a:lnTo>
                      <a:lnTo>
                        <a:pt x="2716" y="248"/>
                      </a:lnTo>
                      <a:lnTo>
                        <a:pt x="2703" y="260"/>
                      </a:lnTo>
                      <a:lnTo>
                        <a:pt x="2692" y="273"/>
                      </a:lnTo>
                      <a:lnTo>
                        <a:pt x="2684" y="285"/>
                      </a:lnTo>
                      <a:lnTo>
                        <a:pt x="2679" y="301"/>
                      </a:lnTo>
                      <a:lnTo>
                        <a:pt x="2675" y="316"/>
                      </a:lnTo>
                      <a:lnTo>
                        <a:pt x="2675" y="328"/>
                      </a:lnTo>
                      <a:lnTo>
                        <a:pt x="2677" y="340"/>
                      </a:lnTo>
                      <a:lnTo>
                        <a:pt x="2682" y="351"/>
                      </a:lnTo>
                      <a:lnTo>
                        <a:pt x="2689" y="363"/>
                      </a:lnTo>
                      <a:lnTo>
                        <a:pt x="2699" y="374"/>
                      </a:lnTo>
                      <a:lnTo>
                        <a:pt x="2713" y="385"/>
                      </a:lnTo>
                      <a:lnTo>
                        <a:pt x="2728" y="394"/>
                      </a:lnTo>
                      <a:lnTo>
                        <a:pt x="2747" y="402"/>
                      </a:lnTo>
                      <a:lnTo>
                        <a:pt x="2706" y="530"/>
                      </a:lnTo>
                      <a:lnTo>
                        <a:pt x="2635" y="525"/>
                      </a:lnTo>
                      <a:lnTo>
                        <a:pt x="2562" y="523"/>
                      </a:lnTo>
                      <a:lnTo>
                        <a:pt x="2507" y="523"/>
                      </a:lnTo>
                      <a:lnTo>
                        <a:pt x="2453" y="526"/>
                      </a:lnTo>
                      <a:lnTo>
                        <a:pt x="2397" y="531"/>
                      </a:lnTo>
                      <a:lnTo>
                        <a:pt x="2341" y="540"/>
                      </a:lnTo>
                      <a:lnTo>
                        <a:pt x="2287" y="550"/>
                      </a:lnTo>
                      <a:lnTo>
                        <a:pt x="2259" y="557"/>
                      </a:lnTo>
                      <a:lnTo>
                        <a:pt x="2232" y="565"/>
                      </a:lnTo>
                      <a:lnTo>
                        <a:pt x="2205" y="574"/>
                      </a:lnTo>
                      <a:lnTo>
                        <a:pt x="2180" y="584"/>
                      </a:lnTo>
                      <a:lnTo>
                        <a:pt x="2156" y="596"/>
                      </a:lnTo>
                      <a:lnTo>
                        <a:pt x="2130" y="608"/>
                      </a:lnTo>
                      <a:lnTo>
                        <a:pt x="2059" y="594"/>
                      </a:lnTo>
                      <a:lnTo>
                        <a:pt x="1990" y="586"/>
                      </a:lnTo>
                      <a:lnTo>
                        <a:pt x="1917" y="581"/>
                      </a:lnTo>
                      <a:lnTo>
                        <a:pt x="1845" y="579"/>
                      </a:lnTo>
                      <a:lnTo>
                        <a:pt x="1810" y="579"/>
                      </a:lnTo>
                      <a:lnTo>
                        <a:pt x="1754" y="581"/>
                      </a:lnTo>
                      <a:lnTo>
                        <a:pt x="1684" y="586"/>
                      </a:lnTo>
                      <a:lnTo>
                        <a:pt x="1608" y="594"/>
                      </a:lnTo>
                      <a:lnTo>
                        <a:pt x="1569" y="599"/>
                      </a:lnTo>
                      <a:lnTo>
                        <a:pt x="1533" y="606"/>
                      </a:lnTo>
                      <a:lnTo>
                        <a:pt x="1499" y="613"/>
                      </a:lnTo>
                      <a:lnTo>
                        <a:pt x="1467" y="621"/>
                      </a:lnTo>
                      <a:lnTo>
                        <a:pt x="1440" y="632"/>
                      </a:lnTo>
                      <a:lnTo>
                        <a:pt x="1417" y="644"/>
                      </a:lnTo>
                      <a:lnTo>
                        <a:pt x="1409" y="650"/>
                      </a:lnTo>
                      <a:lnTo>
                        <a:pt x="1401" y="655"/>
                      </a:lnTo>
                      <a:lnTo>
                        <a:pt x="1395" y="664"/>
                      </a:lnTo>
                      <a:lnTo>
                        <a:pt x="1392" y="671"/>
                      </a:lnTo>
                      <a:lnTo>
                        <a:pt x="1387" y="683"/>
                      </a:lnTo>
                      <a:lnTo>
                        <a:pt x="1387" y="694"/>
                      </a:lnTo>
                      <a:lnTo>
                        <a:pt x="1390" y="701"/>
                      </a:lnTo>
                      <a:lnTo>
                        <a:pt x="1395" y="708"/>
                      </a:lnTo>
                      <a:lnTo>
                        <a:pt x="1401" y="713"/>
                      </a:lnTo>
                      <a:lnTo>
                        <a:pt x="1409" y="717"/>
                      </a:lnTo>
                      <a:lnTo>
                        <a:pt x="1417" y="718"/>
                      </a:lnTo>
                      <a:lnTo>
                        <a:pt x="1426" y="718"/>
                      </a:lnTo>
                      <a:close/>
                      <a:moveTo>
                        <a:pt x="2548" y="387"/>
                      </a:moveTo>
                      <a:lnTo>
                        <a:pt x="2548" y="387"/>
                      </a:lnTo>
                      <a:lnTo>
                        <a:pt x="2543" y="372"/>
                      </a:lnTo>
                      <a:lnTo>
                        <a:pt x="2538" y="357"/>
                      </a:lnTo>
                      <a:lnTo>
                        <a:pt x="2536" y="340"/>
                      </a:lnTo>
                      <a:lnTo>
                        <a:pt x="2536" y="323"/>
                      </a:lnTo>
                      <a:lnTo>
                        <a:pt x="2538" y="297"/>
                      </a:lnTo>
                      <a:lnTo>
                        <a:pt x="2541" y="273"/>
                      </a:lnTo>
                      <a:lnTo>
                        <a:pt x="2550" y="251"/>
                      </a:lnTo>
                      <a:lnTo>
                        <a:pt x="2560" y="231"/>
                      </a:lnTo>
                      <a:lnTo>
                        <a:pt x="2574" y="211"/>
                      </a:lnTo>
                      <a:lnTo>
                        <a:pt x="2589" y="192"/>
                      </a:lnTo>
                      <a:lnTo>
                        <a:pt x="2607" y="173"/>
                      </a:lnTo>
                      <a:lnTo>
                        <a:pt x="2628" y="156"/>
                      </a:lnTo>
                      <a:lnTo>
                        <a:pt x="2650" y="141"/>
                      </a:lnTo>
                      <a:lnTo>
                        <a:pt x="2674" y="126"/>
                      </a:lnTo>
                      <a:lnTo>
                        <a:pt x="2697" y="112"/>
                      </a:lnTo>
                      <a:lnTo>
                        <a:pt x="2725" y="100"/>
                      </a:lnTo>
                      <a:lnTo>
                        <a:pt x="2753" y="88"/>
                      </a:lnTo>
                      <a:lnTo>
                        <a:pt x="2782" y="78"/>
                      </a:lnTo>
                      <a:lnTo>
                        <a:pt x="2811" y="68"/>
                      </a:lnTo>
                      <a:lnTo>
                        <a:pt x="2842" y="58"/>
                      </a:lnTo>
                      <a:lnTo>
                        <a:pt x="2905" y="42"/>
                      </a:lnTo>
                      <a:lnTo>
                        <a:pt x="2967" y="31"/>
                      </a:lnTo>
                      <a:lnTo>
                        <a:pt x="3030" y="20"/>
                      </a:lnTo>
                      <a:lnTo>
                        <a:pt x="3090" y="12"/>
                      </a:lnTo>
                      <a:lnTo>
                        <a:pt x="3146" y="7"/>
                      </a:lnTo>
                      <a:lnTo>
                        <a:pt x="3197" y="3"/>
                      </a:lnTo>
                      <a:lnTo>
                        <a:pt x="3242" y="0"/>
                      </a:lnTo>
                      <a:lnTo>
                        <a:pt x="3280" y="0"/>
                      </a:lnTo>
                      <a:lnTo>
                        <a:pt x="3315" y="0"/>
                      </a:lnTo>
                      <a:lnTo>
                        <a:pt x="3361" y="2"/>
                      </a:lnTo>
                      <a:lnTo>
                        <a:pt x="3412" y="7"/>
                      </a:lnTo>
                      <a:lnTo>
                        <a:pt x="3468" y="12"/>
                      </a:lnTo>
                      <a:lnTo>
                        <a:pt x="3528" y="19"/>
                      </a:lnTo>
                      <a:lnTo>
                        <a:pt x="3589" y="29"/>
                      </a:lnTo>
                      <a:lnTo>
                        <a:pt x="3651" y="42"/>
                      </a:lnTo>
                      <a:lnTo>
                        <a:pt x="3713" y="58"/>
                      </a:lnTo>
                      <a:lnTo>
                        <a:pt x="3774" y="76"/>
                      </a:lnTo>
                      <a:lnTo>
                        <a:pt x="3801" y="87"/>
                      </a:lnTo>
                      <a:lnTo>
                        <a:pt x="3830" y="98"/>
                      </a:lnTo>
                      <a:lnTo>
                        <a:pt x="3857" y="110"/>
                      </a:lnTo>
                      <a:lnTo>
                        <a:pt x="3881" y="124"/>
                      </a:lnTo>
                      <a:lnTo>
                        <a:pt x="3904" y="139"/>
                      </a:lnTo>
                      <a:lnTo>
                        <a:pt x="3927" y="155"/>
                      </a:lnTo>
                      <a:lnTo>
                        <a:pt x="3947" y="171"/>
                      </a:lnTo>
                      <a:lnTo>
                        <a:pt x="3966" y="188"/>
                      </a:lnTo>
                      <a:lnTo>
                        <a:pt x="3983" y="207"/>
                      </a:lnTo>
                      <a:lnTo>
                        <a:pt x="3996" y="226"/>
                      </a:lnTo>
                      <a:lnTo>
                        <a:pt x="4006" y="248"/>
                      </a:lnTo>
                      <a:lnTo>
                        <a:pt x="4015" y="270"/>
                      </a:lnTo>
                      <a:lnTo>
                        <a:pt x="4020" y="294"/>
                      </a:lnTo>
                      <a:lnTo>
                        <a:pt x="4022" y="318"/>
                      </a:lnTo>
                      <a:lnTo>
                        <a:pt x="4108" y="319"/>
                      </a:lnTo>
                      <a:lnTo>
                        <a:pt x="4190" y="324"/>
                      </a:lnTo>
                      <a:lnTo>
                        <a:pt x="4263" y="331"/>
                      </a:lnTo>
                      <a:lnTo>
                        <a:pt x="4331" y="341"/>
                      </a:lnTo>
                      <a:lnTo>
                        <a:pt x="4393" y="355"/>
                      </a:lnTo>
                      <a:lnTo>
                        <a:pt x="4451" y="368"/>
                      </a:lnTo>
                      <a:lnTo>
                        <a:pt x="4504" y="385"/>
                      </a:lnTo>
                      <a:lnTo>
                        <a:pt x="4550" y="402"/>
                      </a:lnTo>
                      <a:lnTo>
                        <a:pt x="4592" y="423"/>
                      </a:lnTo>
                      <a:lnTo>
                        <a:pt x="4628" y="443"/>
                      </a:lnTo>
                      <a:lnTo>
                        <a:pt x="4660" y="465"/>
                      </a:lnTo>
                      <a:lnTo>
                        <a:pt x="4687" y="489"/>
                      </a:lnTo>
                      <a:lnTo>
                        <a:pt x="4711" y="513"/>
                      </a:lnTo>
                      <a:lnTo>
                        <a:pt x="4729" y="537"/>
                      </a:lnTo>
                      <a:lnTo>
                        <a:pt x="4745" y="562"/>
                      </a:lnTo>
                      <a:lnTo>
                        <a:pt x="4757" y="587"/>
                      </a:lnTo>
                      <a:lnTo>
                        <a:pt x="4763" y="613"/>
                      </a:lnTo>
                      <a:lnTo>
                        <a:pt x="4769" y="637"/>
                      </a:lnTo>
                      <a:lnTo>
                        <a:pt x="4769" y="662"/>
                      </a:lnTo>
                      <a:lnTo>
                        <a:pt x="4767" y="686"/>
                      </a:lnTo>
                      <a:lnTo>
                        <a:pt x="4762" y="708"/>
                      </a:lnTo>
                      <a:lnTo>
                        <a:pt x="4753" y="730"/>
                      </a:lnTo>
                      <a:lnTo>
                        <a:pt x="4741" y="750"/>
                      </a:lnTo>
                      <a:lnTo>
                        <a:pt x="4728" y="771"/>
                      </a:lnTo>
                      <a:lnTo>
                        <a:pt x="4712" y="788"/>
                      </a:lnTo>
                      <a:lnTo>
                        <a:pt x="4694" y="805"/>
                      </a:lnTo>
                      <a:lnTo>
                        <a:pt x="4675" y="818"/>
                      </a:lnTo>
                      <a:lnTo>
                        <a:pt x="4653" y="830"/>
                      </a:lnTo>
                      <a:lnTo>
                        <a:pt x="4629" y="840"/>
                      </a:lnTo>
                      <a:lnTo>
                        <a:pt x="4604" y="847"/>
                      </a:lnTo>
                      <a:lnTo>
                        <a:pt x="4577" y="852"/>
                      </a:lnTo>
                      <a:lnTo>
                        <a:pt x="4550" y="854"/>
                      </a:lnTo>
                      <a:lnTo>
                        <a:pt x="1412" y="854"/>
                      </a:lnTo>
                      <a:lnTo>
                        <a:pt x="1395" y="852"/>
                      </a:lnTo>
                      <a:lnTo>
                        <a:pt x="1378" y="851"/>
                      </a:lnTo>
                      <a:lnTo>
                        <a:pt x="1363" y="847"/>
                      </a:lnTo>
                      <a:lnTo>
                        <a:pt x="1348" y="840"/>
                      </a:lnTo>
                      <a:lnTo>
                        <a:pt x="1333" y="834"/>
                      </a:lnTo>
                      <a:lnTo>
                        <a:pt x="1319" y="827"/>
                      </a:lnTo>
                      <a:lnTo>
                        <a:pt x="1307" y="817"/>
                      </a:lnTo>
                      <a:lnTo>
                        <a:pt x="1295" y="807"/>
                      </a:lnTo>
                      <a:lnTo>
                        <a:pt x="1285" y="796"/>
                      </a:lnTo>
                      <a:lnTo>
                        <a:pt x="1277" y="784"/>
                      </a:lnTo>
                      <a:lnTo>
                        <a:pt x="1268" y="771"/>
                      </a:lnTo>
                      <a:lnTo>
                        <a:pt x="1261" y="757"/>
                      </a:lnTo>
                      <a:lnTo>
                        <a:pt x="1256" y="744"/>
                      </a:lnTo>
                      <a:lnTo>
                        <a:pt x="1251" y="728"/>
                      </a:lnTo>
                      <a:lnTo>
                        <a:pt x="1249" y="713"/>
                      </a:lnTo>
                      <a:lnTo>
                        <a:pt x="1248" y="698"/>
                      </a:lnTo>
                      <a:lnTo>
                        <a:pt x="1248" y="683"/>
                      </a:lnTo>
                      <a:lnTo>
                        <a:pt x="1249" y="666"/>
                      </a:lnTo>
                      <a:lnTo>
                        <a:pt x="1255" y="650"/>
                      </a:lnTo>
                      <a:lnTo>
                        <a:pt x="1260" y="635"/>
                      </a:lnTo>
                      <a:lnTo>
                        <a:pt x="1266" y="618"/>
                      </a:lnTo>
                      <a:lnTo>
                        <a:pt x="1275" y="603"/>
                      </a:lnTo>
                      <a:lnTo>
                        <a:pt x="1287" y="587"/>
                      </a:lnTo>
                      <a:lnTo>
                        <a:pt x="1299" y="572"/>
                      </a:lnTo>
                      <a:lnTo>
                        <a:pt x="1314" y="559"/>
                      </a:lnTo>
                      <a:lnTo>
                        <a:pt x="1331" y="543"/>
                      </a:lnTo>
                      <a:lnTo>
                        <a:pt x="1351" y="531"/>
                      </a:lnTo>
                      <a:lnTo>
                        <a:pt x="1372" y="518"/>
                      </a:lnTo>
                      <a:lnTo>
                        <a:pt x="1395" y="508"/>
                      </a:lnTo>
                      <a:lnTo>
                        <a:pt x="1421" y="496"/>
                      </a:lnTo>
                      <a:lnTo>
                        <a:pt x="1450" y="487"/>
                      </a:lnTo>
                      <a:lnTo>
                        <a:pt x="1480" y="479"/>
                      </a:lnTo>
                      <a:lnTo>
                        <a:pt x="1519" y="470"/>
                      </a:lnTo>
                      <a:lnTo>
                        <a:pt x="1560" y="462"/>
                      </a:lnTo>
                      <a:lnTo>
                        <a:pt x="1603" y="457"/>
                      </a:lnTo>
                      <a:lnTo>
                        <a:pt x="1647" y="452"/>
                      </a:lnTo>
                      <a:lnTo>
                        <a:pt x="1694" y="447"/>
                      </a:lnTo>
                      <a:lnTo>
                        <a:pt x="1743" y="445"/>
                      </a:lnTo>
                      <a:lnTo>
                        <a:pt x="1793" y="443"/>
                      </a:lnTo>
                      <a:lnTo>
                        <a:pt x="1845" y="443"/>
                      </a:lnTo>
                      <a:lnTo>
                        <a:pt x="1917" y="443"/>
                      </a:lnTo>
                      <a:lnTo>
                        <a:pt x="1984" y="448"/>
                      </a:lnTo>
                      <a:lnTo>
                        <a:pt x="2049" y="455"/>
                      </a:lnTo>
                      <a:lnTo>
                        <a:pt x="2110" y="465"/>
                      </a:lnTo>
                      <a:lnTo>
                        <a:pt x="2151" y="448"/>
                      </a:lnTo>
                      <a:lnTo>
                        <a:pt x="2198" y="433"/>
                      </a:lnTo>
                      <a:lnTo>
                        <a:pt x="2248" y="419"/>
                      </a:lnTo>
                      <a:lnTo>
                        <a:pt x="2302" y="408"/>
                      </a:lnTo>
                      <a:lnTo>
                        <a:pt x="2360" y="399"/>
                      </a:lnTo>
                      <a:lnTo>
                        <a:pt x="2421" y="392"/>
                      </a:lnTo>
                      <a:lnTo>
                        <a:pt x="2484" y="389"/>
                      </a:lnTo>
                      <a:lnTo>
                        <a:pt x="2548" y="387"/>
                      </a:lnTo>
                      <a:close/>
                      <a:moveTo>
                        <a:pt x="2015" y="3975"/>
                      </a:moveTo>
                      <a:lnTo>
                        <a:pt x="2015" y="3713"/>
                      </a:lnTo>
                      <a:lnTo>
                        <a:pt x="2151" y="3713"/>
                      </a:lnTo>
                      <a:lnTo>
                        <a:pt x="2151" y="3975"/>
                      </a:lnTo>
                      <a:lnTo>
                        <a:pt x="2015" y="3975"/>
                      </a:lnTo>
                      <a:close/>
                      <a:moveTo>
                        <a:pt x="1659" y="3975"/>
                      </a:moveTo>
                      <a:lnTo>
                        <a:pt x="1659" y="3713"/>
                      </a:lnTo>
                      <a:lnTo>
                        <a:pt x="1794" y="3713"/>
                      </a:lnTo>
                      <a:lnTo>
                        <a:pt x="1794" y="3975"/>
                      </a:lnTo>
                      <a:lnTo>
                        <a:pt x="1659" y="3975"/>
                      </a:lnTo>
                      <a:close/>
                    </a:path>
                  </a:pathLst>
                </a:custGeom>
                <a:solidFill>
                  <a:srgbClr val="646464"/>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60" name="Group 159"/>
              <p:cNvGrpSpPr/>
              <p:nvPr/>
            </p:nvGrpSpPr>
            <p:grpSpPr>
              <a:xfrm>
                <a:off x="8992871" y="2701214"/>
                <a:ext cx="646887" cy="646887"/>
                <a:chOff x="9182007" y="4324150"/>
                <a:chExt cx="684476" cy="684476"/>
              </a:xfrm>
            </p:grpSpPr>
            <p:sp>
              <p:nvSpPr>
                <p:cNvPr id="227" name="Oval 226"/>
                <p:cNvSpPr/>
                <p:nvPr/>
              </p:nvSpPr>
              <p:spPr>
                <a:xfrm>
                  <a:off x="9182007" y="4324150"/>
                  <a:ext cx="684476" cy="684476"/>
                </a:xfrm>
                <a:prstGeom prst="ellipse">
                  <a:avLst/>
                </a:prstGeom>
                <a:solidFill>
                  <a:srgbClr val="FFF27F"/>
                </a:solidFill>
                <a:ln w="12700">
                  <a:noFill/>
                  <a:prstDash val="solid"/>
                  <a:round/>
                  <a:headEnd/>
                  <a:tailEnd/>
                </a:ln>
              </p:spPr>
              <p:txBody>
                <a:bodyPr wrap="none" lIns="0" tIns="28609" rIns="0" bIns="0" anchor="t"/>
                <a:lstStyle/>
                <a:p>
                  <a:pPr algn="ctr" defTabSz="558057">
                    <a:lnSpc>
                      <a:spcPct val="90000"/>
                    </a:lnSpc>
                    <a:defRPr/>
                  </a:pPr>
                  <a:r>
                    <a:rPr lang="de-DE" sz="716" b="1" kern="0" dirty="0">
                      <a:solidFill>
                        <a:schemeClr val="accent1"/>
                      </a:solidFill>
                      <a:latin typeface="+mj-lt"/>
                    </a:rPr>
                    <a:t>Customer</a:t>
                  </a:r>
                </a:p>
              </p:txBody>
            </p:sp>
            <p:sp>
              <p:nvSpPr>
                <p:cNvPr id="228" name="Freeform 13"/>
                <p:cNvSpPr>
                  <a:spLocks noChangeAspect="1" noEditPoints="1"/>
                </p:cNvSpPr>
                <p:nvPr/>
              </p:nvSpPr>
              <p:spPr bwMode="auto">
                <a:xfrm>
                  <a:off x="9339126" y="4631259"/>
                  <a:ext cx="370275" cy="259856"/>
                </a:xfrm>
                <a:custGeom>
                  <a:avLst/>
                  <a:gdLst>
                    <a:gd name="T0" fmla="*/ 2147483647 w 6736"/>
                    <a:gd name="T1" fmla="*/ 2147483647 h 4727"/>
                    <a:gd name="T2" fmla="*/ 2147483647 w 6736"/>
                    <a:gd name="T3" fmla="*/ 2147483647 h 4727"/>
                    <a:gd name="T4" fmla="*/ 2147483647 w 6736"/>
                    <a:gd name="T5" fmla="*/ 2147483647 h 4727"/>
                    <a:gd name="T6" fmla="*/ 2147483647 w 6736"/>
                    <a:gd name="T7" fmla="*/ 2147483647 h 4727"/>
                    <a:gd name="T8" fmla="*/ 2147483647 w 6736"/>
                    <a:gd name="T9" fmla="*/ 2147483647 h 4727"/>
                    <a:gd name="T10" fmla="*/ 2147483647 w 6736"/>
                    <a:gd name="T11" fmla="*/ 2147483647 h 4727"/>
                    <a:gd name="T12" fmla="*/ 2147483647 w 6736"/>
                    <a:gd name="T13" fmla="*/ 2147483647 h 4727"/>
                    <a:gd name="T14" fmla="*/ 2147483647 w 6736"/>
                    <a:gd name="T15" fmla="*/ 2147483647 h 4727"/>
                    <a:gd name="T16" fmla="*/ 2147483647 w 6736"/>
                    <a:gd name="T17" fmla="*/ 2147483647 h 4727"/>
                    <a:gd name="T18" fmla="*/ 0 w 6736"/>
                    <a:gd name="T19" fmla="*/ 2147483647 h 4727"/>
                    <a:gd name="T20" fmla="*/ 2147483647 w 6736"/>
                    <a:gd name="T21" fmla="*/ 2147483647 h 4727"/>
                    <a:gd name="T22" fmla="*/ 2147483647 w 6736"/>
                    <a:gd name="T23" fmla="*/ 2147483647 h 4727"/>
                    <a:gd name="T24" fmla="*/ 2147483647 w 6736"/>
                    <a:gd name="T25" fmla="*/ 2147483647 h 4727"/>
                    <a:gd name="T26" fmla="*/ 2147483647 w 6736"/>
                    <a:gd name="T27" fmla="*/ 2147483647 h 4727"/>
                    <a:gd name="T28" fmla="*/ 2147483647 w 6736"/>
                    <a:gd name="T29" fmla="*/ 2147483647 h 4727"/>
                    <a:gd name="T30" fmla="*/ 2147483647 w 6736"/>
                    <a:gd name="T31" fmla="*/ 2147483647 h 4727"/>
                    <a:gd name="T32" fmla="*/ 2147483647 w 6736"/>
                    <a:gd name="T33" fmla="*/ 2147483647 h 4727"/>
                    <a:gd name="T34" fmla="*/ 2147483647 w 6736"/>
                    <a:gd name="T35" fmla="*/ 2147483647 h 4727"/>
                    <a:gd name="T36" fmla="*/ 2147483647 w 6736"/>
                    <a:gd name="T37" fmla="*/ 2147483647 h 4727"/>
                    <a:gd name="T38" fmla="*/ 2147483647 w 6736"/>
                    <a:gd name="T39" fmla="*/ 2147483647 h 4727"/>
                    <a:gd name="T40" fmla="*/ 2147483647 w 6736"/>
                    <a:gd name="T41" fmla="*/ 2147483647 h 4727"/>
                    <a:gd name="T42" fmla="*/ 2147483647 w 6736"/>
                    <a:gd name="T43" fmla="*/ 2147483647 h 4727"/>
                    <a:gd name="T44" fmla="*/ 2147483647 w 6736"/>
                    <a:gd name="T45" fmla="*/ 2147483647 h 4727"/>
                    <a:gd name="T46" fmla="*/ 2147483647 w 6736"/>
                    <a:gd name="T47" fmla="*/ 2147483647 h 4727"/>
                    <a:gd name="T48" fmla="*/ 2147483647 w 6736"/>
                    <a:gd name="T49" fmla="*/ 2147483647 h 4727"/>
                    <a:gd name="T50" fmla="*/ 2147483647 w 6736"/>
                    <a:gd name="T51" fmla="*/ 2147483647 h 4727"/>
                    <a:gd name="T52" fmla="*/ 2147483647 w 6736"/>
                    <a:gd name="T53" fmla="*/ 2147483647 h 4727"/>
                    <a:gd name="T54" fmla="*/ 2147483647 w 6736"/>
                    <a:gd name="T55" fmla="*/ 2147483647 h 4727"/>
                    <a:gd name="T56" fmla="*/ 2147483647 w 6736"/>
                    <a:gd name="T57" fmla="*/ 2147483647 h 4727"/>
                    <a:gd name="T58" fmla="*/ 2147483647 w 6736"/>
                    <a:gd name="T59" fmla="*/ 2147483647 h 4727"/>
                    <a:gd name="T60" fmla="*/ 2147483647 w 6736"/>
                    <a:gd name="T61" fmla="*/ 2147483647 h 4727"/>
                    <a:gd name="T62" fmla="*/ 2147483647 w 6736"/>
                    <a:gd name="T63" fmla="*/ 2147483647 h 4727"/>
                    <a:gd name="T64" fmla="*/ 2147483647 w 6736"/>
                    <a:gd name="T65" fmla="*/ 2147483647 h 4727"/>
                    <a:gd name="T66" fmla="*/ 2147483647 w 6736"/>
                    <a:gd name="T67" fmla="*/ 2147483647 h 4727"/>
                    <a:gd name="T68" fmla="*/ 2147483647 w 6736"/>
                    <a:gd name="T69" fmla="*/ 2147483647 h 4727"/>
                    <a:gd name="T70" fmla="*/ 2147483647 w 6736"/>
                    <a:gd name="T71" fmla="*/ 2147483647 h 4727"/>
                    <a:gd name="T72" fmla="*/ 2147483647 w 6736"/>
                    <a:gd name="T73" fmla="*/ 2147483647 h 4727"/>
                    <a:gd name="T74" fmla="*/ 2147483647 w 6736"/>
                    <a:gd name="T75" fmla="*/ 2147483647 h 4727"/>
                    <a:gd name="T76" fmla="*/ 2147483647 w 6736"/>
                    <a:gd name="T77" fmla="*/ 2147483647 h 4727"/>
                    <a:gd name="T78" fmla="*/ 2147483647 w 6736"/>
                    <a:gd name="T79" fmla="*/ 2147483647 h 4727"/>
                    <a:gd name="T80" fmla="*/ 2147483647 w 6736"/>
                    <a:gd name="T81" fmla="*/ 0 h 4727"/>
                    <a:gd name="T82" fmla="*/ 2147483647 w 6736"/>
                    <a:gd name="T83" fmla="*/ 2147483647 h 4727"/>
                    <a:gd name="T84" fmla="*/ 2147483647 w 6736"/>
                    <a:gd name="T85" fmla="*/ 2147483647 h 4727"/>
                    <a:gd name="T86" fmla="*/ 2147483647 w 6736"/>
                    <a:gd name="T87" fmla="*/ 2147483647 h 4727"/>
                    <a:gd name="T88" fmla="*/ 2147483647 w 6736"/>
                    <a:gd name="T89" fmla="*/ 2147483647 h 4727"/>
                    <a:gd name="T90" fmla="*/ 2147483647 w 6736"/>
                    <a:gd name="T91" fmla="*/ 2147483647 h 4727"/>
                    <a:gd name="T92" fmla="*/ 2147483647 w 6736"/>
                    <a:gd name="T93" fmla="*/ 2147483647 h 4727"/>
                    <a:gd name="T94" fmla="*/ 2147483647 w 6736"/>
                    <a:gd name="T95" fmla="*/ 2147483647 h 4727"/>
                    <a:gd name="T96" fmla="*/ 2147483647 w 6736"/>
                    <a:gd name="T97" fmla="*/ 2147483647 h 4727"/>
                    <a:gd name="T98" fmla="*/ 2147483647 w 6736"/>
                    <a:gd name="T99" fmla="*/ 2147483647 h 4727"/>
                    <a:gd name="T100" fmla="*/ 2147483647 w 6736"/>
                    <a:gd name="T101" fmla="*/ 2147483647 h 4727"/>
                    <a:gd name="T102" fmla="*/ 2147483647 w 6736"/>
                    <a:gd name="T103" fmla="*/ 2147483647 h 4727"/>
                    <a:gd name="T104" fmla="*/ 2147483647 w 6736"/>
                    <a:gd name="T105" fmla="*/ 2147483647 h 4727"/>
                    <a:gd name="T106" fmla="*/ 2147483647 w 6736"/>
                    <a:gd name="T107" fmla="*/ 2147483647 h 4727"/>
                    <a:gd name="T108" fmla="*/ 2147483647 w 6736"/>
                    <a:gd name="T109" fmla="*/ 2147483647 h 4727"/>
                    <a:gd name="T110" fmla="*/ 2147483647 w 6736"/>
                    <a:gd name="T111" fmla="*/ 2147483647 h 4727"/>
                    <a:gd name="T112" fmla="*/ 2147483647 w 6736"/>
                    <a:gd name="T113" fmla="*/ 2147483647 h 4727"/>
                    <a:gd name="T114" fmla="*/ 2147483647 w 6736"/>
                    <a:gd name="T115" fmla="*/ 2147483647 h 4727"/>
                    <a:gd name="T116" fmla="*/ 2147483647 w 6736"/>
                    <a:gd name="T117" fmla="*/ 2147483647 h 4727"/>
                    <a:gd name="T118" fmla="*/ 2147483647 w 6736"/>
                    <a:gd name="T119" fmla="*/ 2147483647 h 4727"/>
                    <a:gd name="T120" fmla="*/ 2147483647 w 6736"/>
                    <a:gd name="T121" fmla="*/ 2147483647 h 47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736"/>
                    <a:gd name="T184" fmla="*/ 0 h 4727"/>
                    <a:gd name="T185" fmla="*/ 6736 w 6736"/>
                    <a:gd name="T186" fmla="*/ 4727 h 47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736" h="4727">
                      <a:moveTo>
                        <a:pt x="1302" y="3975"/>
                      </a:moveTo>
                      <a:lnTo>
                        <a:pt x="1302" y="3713"/>
                      </a:lnTo>
                      <a:lnTo>
                        <a:pt x="1438" y="3713"/>
                      </a:lnTo>
                      <a:lnTo>
                        <a:pt x="1438" y="3975"/>
                      </a:lnTo>
                      <a:lnTo>
                        <a:pt x="1302" y="3975"/>
                      </a:lnTo>
                      <a:close/>
                      <a:moveTo>
                        <a:pt x="2533" y="3206"/>
                      </a:moveTo>
                      <a:lnTo>
                        <a:pt x="750" y="2593"/>
                      </a:lnTo>
                      <a:lnTo>
                        <a:pt x="750" y="3206"/>
                      </a:lnTo>
                      <a:lnTo>
                        <a:pt x="2533" y="3206"/>
                      </a:lnTo>
                      <a:close/>
                      <a:moveTo>
                        <a:pt x="1453" y="2537"/>
                      </a:moveTo>
                      <a:lnTo>
                        <a:pt x="1635" y="2596"/>
                      </a:lnTo>
                      <a:lnTo>
                        <a:pt x="1584" y="1229"/>
                      </a:lnTo>
                      <a:lnTo>
                        <a:pt x="1502" y="1229"/>
                      </a:lnTo>
                      <a:lnTo>
                        <a:pt x="1453" y="2537"/>
                      </a:lnTo>
                      <a:close/>
                      <a:moveTo>
                        <a:pt x="2745" y="4447"/>
                      </a:moveTo>
                      <a:lnTo>
                        <a:pt x="2738" y="3342"/>
                      </a:lnTo>
                      <a:lnTo>
                        <a:pt x="750" y="3342"/>
                      </a:lnTo>
                      <a:lnTo>
                        <a:pt x="750" y="4447"/>
                      </a:lnTo>
                      <a:lnTo>
                        <a:pt x="479" y="4447"/>
                      </a:lnTo>
                      <a:lnTo>
                        <a:pt x="479" y="2219"/>
                      </a:lnTo>
                      <a:lnTo>
                        <a:pt x="1319" y="2493"/>
                      </a:lnTo>
                      <a:lnTo>
                        <a:pt x="1372" y="1093"/>
                      </a:lnTo>
                      <a:lnTo>
                        <a:pt x="1715" y="1093"/>
                      </a:lnTo>
                      <a:lnTo>
                        <a:pt x="1774" y="2640"/>
                      </a:lnTo>
                      <a:lnTo>
                        <a:pt x="2083" y="2742"/>
                      </a:lnTo>
                      <a:lnTo>
                        <a:pt x="3645" y="2263"/>
                      </a:lnTo>
                      <a:lnTo>
                        <a:pt x="6281" y="3136"/>
                      </a:lnTo>
                      <a:lnTo>
                        <a:pt x="6288" y="4447"/>
                      </a:lnTo>
                      <a:lnTo>
                        <a:pt x="6016" y="4449"/>
                      </a:lnTo>
                      <a:lnTo>
                        <a:pt x="6011" y="3342"/>
                      </a:lnTo>
                      <a:lnTo>
                        <a:pt x="3303" y="3342"/>
                      </a:lnTo>
                      <a:lnTo>
                        <a:pt x="3303" y="3206"/>
                      </a:lnTo>
                      <a:lnTo>
                        <a:pt x="4884" y="3206"/>
                      </a:lnTo>
                      <a:lnTo>
                        <a:pt x="3640" y="2549"/>
                      </a:lnTo>
                      <a:lnTo>
                        <a:pt x="2276" y="2966"/>
                      </a:lnTo>
                      <a:lnTo>
                        <a:pt x="2874" y="3187"/>
                      </a:lnTo>
                      <a:lnTo>
                        <a:pt x="2881" y="4447"/>
                      </a:lnTo>
                      <a:lnTo>
                        <a:pt x="2745" y="4447"/>
                      </a:lnTo>
                      <a:close/>
                      <a:moveTo>
                        <a:pt x="4599" y="4148"/>
                      </a:moveTo>
                      <a:lnTo>
                        <a:pt x="4599" y="3887"/>
                      </a:lnTo>
                      <a:lnTo>
                        <a:pt x="4735" y="3887"/>
                      </a:lnTo>
                      <a:lnTo>
                        <a:pt x="4735" y="4148"/>
                      </a:lnTo>
                      <a:lnTo>
                        <a:pt x="4599" y="4148"/>
                      </a:lnTo>
                      <a:close/>
                      <a:moveTo>
                        <a:pt x="5312" y="4148"/>
                      </a:moveTo>
                      <a:lnTo>
                        <a:pt x="5312" y="3887"/>
                      </a:lnTo>
                      <a:lnTo>
                        <a:pt x="5448" y="3887"/>
                      </a:lnTo>
                      <a:lnTo>
                        <a:pt x="5448" y="4148"/>
                      </a:lnTo>
                      <a:lnTo>
                        <a:pt x="5312" y="4148"/>
                      </a:lnTo>
                      <a:close/>
                      <a:moveTo>
                        <a:pt x="4955" y="4148"/>
                      </a:moveTo>
                      <a:lnTo>
                        <a:pt x="4955" y="3887"/>
                      </a:lnTo>
                      <a:lnTo>
                        <a:pt x="5091" y="3887"/>
                      </a:lnTo>
                      <a:lnTo>
                        <a:pt x="5091" y="4148"/>
                      </a:lnTo>
                      <a:lnTo>
                        <a:pt x="4955" y="4148"/>
                      </a:lnTo>
                      <a:close/>
                      <a:moveTo>
                        <a:pt x="3302" y="4591"/>
                      </a:moveTo>
                      <a:lnTo>
                        <a:pt x="3302" y="3887"/>
                      </a:lnTo>
                      <a:lnTo>
                        <a:pt x="4147" y="3887"/>
                      </a:lnTo>
                      <a:lnTo>
                        <a:pt x="4147" y="4591"/>
                      </a:lnTo>
                      <a:lnTo>
                        <a:pt x="6736" y="4591"/>
                      </a:lnTo>
                      <a:lnTo>
                        <a:pt x="6736" y="4727"/>
                      </a:lnTo>
                      <a:lnTo>
                        <a:pt x="0" y="4727"/>
                      </a:lnTo>
                      <a:lnTo>
                        <a:pt x="0" y="4591"/>
                      </a:lnTo>
                      <a:lnTo>
                        <a:pt x="3302" y="4591"/>
                      </a:lnTo>
                      <a:close/>
                      <a:moveTo>
                        <a:pt x="3667" y="4004"/>
                      </a:moveTo>
                      <a:lnTo>
                        <a:pt x="3419" y="4004"/>
                      </a:lnTo>
                      <a:lnTo>
                        <a:pt x="3419" y="4581"/>
                      </a:lnTo>
                      <a:lnTo>
                        <a:pt x="3667" y="4581"/>
                      </a:lnTo>
                      <a:lnTo>
                        <a:pt x="3667" y="4004"/>
                      </a:lnTo>
                      <a:close/>
                      <a:moveTo>
                        <a:pt x="4030" y="4581"/>
                      </a:moveTo>
                      <a:lnTo>
                        <a:pt x="4030" y="4004"/>
                      </a:lnTo>
                      <a:lnTo>
                        <a:pt x="3784" y="4004"/>
                      </a:lnTo>
                      <a:lnTo>
                        <a:pt x="3784" y="4581"/>
                      </a:lnTo>
                      <a:lnTo>
                        <a:pt x="4030" y="4581"/>
                      </a:lnTo>
                      <a:close/>
                      <a:moveTo>
                        <a:pt x="1426" y="718"/>
                      </a:moveTo>
                      <a:lnTo>
                        <a:pt x="4492" y="718"/>
                      </a:lnTo>
                      <a:lnTo>
                        <a:pt x="4526" y="717"/>
                      </a:lnTo>
                      <a:lnTo>
                        <a:pt x="4553" y="711"/>
                      </a:lnTo>
                      <a:lnTo>
                        <a:pt x="4565" y="708"/>
                      </a:lnTo>
                      <a:lnTo>
                        <a:pt x="4575" y="705"/>
                      </a:lnTo>
                      <a:lnTo>
                        <a:pt x="4583" y="700"/>
                      </a:lnTo>
                      <a:lnTo>
                        <a:pt x="4592" y="694"/>
                      </a:lnTo>
                      <a:lnTo>
                        <a:pt x="4599" y="688"/>
                      </a:lnTo>
                      <a:lnTo>
                        <a:pt x="4604" y="683"/>
                      </a:lnTo>
                      <a:lnTo>
                        <a:pt x="4609" y="676"/>
                      </a:lnTo>
                      <a:lnTo>
                        <a:pt x="4612" y="669"/>
                      </a:lnTo>
                      <a:lnTo>
                        <a:pt x="4614" y="660"/>
                      </a:lnTo>
                      <a:lnTo>
                        <a:pt x="4616" y="654"/>
                      </a:lnTo>
                      <a:lnTo>
                        <a:pt x="4616" y="638"/>
                      </a:lnTo>
                      <a:lnTo>
                        <a:pt x="4612" y="621"/>
                      </a:lnTo>
                      <a:lnTo>
                        <a:pt x="4606" y="606"/>
                      </a:lnTo>
                      <a:lnTo>
                        <a:pt x="4595" y="589"/>
                      </a:lnTo>
                      <a:lnTo>
                        <a:pt x="4583" y="576"/>
                      </a:lnTo>
                      <a:lnTo>
                        <a:pt x="4570" y="560"/>
                      </a:lnTo>
                      <a:lnTo>
                        <a:pt x="4555" y="548"/>
                      </a:lnTo>
                      <a:lnTo>
                        <a:pt x="4538" y="538"/>
                      </a:lnTo>
                      <a:lnTo>
                        <a:pt x="4519" y="530"/>
                      </a:lnTo>
                      <a:lnTo>
                        <a:pt x="4480" y="518"/>
                      </a:lnTo>
                      <a:lnTo>
                        <a:pt x="4436" y="504"/>
                      </a:lnTo>
                      <a:lnTo>
                        <a:pt x="4383" y="491"/>
                      </a:lnTo>
                      <a:lnTo>
                        <a:pt x="4325" y="479"/>
                      </a:lnTo>
                      <a:lnTo>
                        <a:pt x="4258" y="469"/>
                      </a:lnTo>
                      <a:lnTo>
                        <a:pt x="4185" y="460"/>
                      </a:lnTo>
                      <a:lnTo>
                        <a:pt x="4101" y="455"/>
                      </a:lnTo>
                      <a:lnTo>
                        <a:pt x="4010" y="453"/>
                      </a:lnTo>
                      <a:lnTo>
                        <a:pt x="3957" y="455"/>
                      </a:lnTo>
                      <a:lnTo>
                        <a:pt x="3904" y="457"/>
                      </a:lnTo>
                      <a:lnTo>
                        <a:pt x="3799" y="460"/>
                      </a:lnTo>
                      <a:lnTo>
                        <a:pt x="3828" y="436"/>
                      </a:lnTo>
                      <a:lnTo>
                        <a:pt x="3843" y="423"/>
                      </a:lnTo>
                      <a:lnTo>
                        <a:pt x="3857" y="408"/>
                      </a:lnTo>
                      <a:lnTo>
                        <a:pt x="3869" y="389"/>
                      </a:lnTo>
                      <a:lnTo>
                        <a:pt x="3877" y="370"/>
                      </a:lnTo>
                      <a:lnTo>
                        <a:pt x="3882" y="358"/>
                      </a:lnTo>
                      <a:lnTo>
                        <a:pt x="3884" y="348"/>
                      </a:lnTo>
                      <a:lnTo>
                        <a:pt x="3886" y="336"/>
                      </a:lnTo>
                      <a:lnTo>
                        <a:pt x="3886" y="323"/>
                      </a:lnTo>
                      <a:lnTo>
                        <a:pt x="3886" y="309"/>
                      </a:lnTo>
                      <a:lnTo>
                        <a:pt x="3881" y="297"/>
                      </a:lnTo>
                      <a:lnTo>
                        <a:pt x="3874" y="285"/>
                      </a:lnTo>
                      <a:lnTo>
                        <a:pt x="3864" y="273"/>
                      </a:lnTo>
                      <a:lnTo>
                        <a:pt x="3852" y="261"/>
                      </a:lnTo>
                      <a:lnTo>
                        <a:pt x="3837" y="251"/>
                      </a:lnTo>
                      <a:lnTo>
                        <a:pt x="3821" y="241"/>
                      </a:lnTo>
                      <a:lnTo>
                        <a:pt x="3803" y="233"/>
                      </a:lnTo>
                      <a:lnTo>
                        <a:pt x="3782" y="224"/>
                      </a:lnTo>
                      <a:lnTo>
                        <a:pt x="3762" y="216"/>
                      </a:lnTo>
                      <a:lnTo>
                        <a:pt x="3714" y="200"/>
                      </a:lnTo>
                      <a:lnTo>
                        <a:pt x="3665" y="187"/>
                      </a:lnTo>
                      <a:lnTo>
                        <a:pt x="3612" y="175"/>
                      </a:lnTo>
                      <a:lnTo>
                        <a:pt x="3558" y="165"/>
                      </a:lnTo>
                      <a:lnTo>
                        <a:pt x="3506" y="156"/>
                      </a:lnTo>
                      <a:lnTo>
                        <a:pt x="3455" y="149"/>
                      </a:lnTo>
                      <a:lnTo>
                        <a:pt x="3407" y="144"/>
                      </a:lnTo>
                      <a:lnTo>
                        <a:pt x="3327" y="138"/>
                      </a:lnTo>
                      <a:lnTo>
                        <a:pt x="3280" y="136"/>
                      </a:lnTo>
                      <a:lnTo>
                        <a:pt x="3230" y="138"/>
                      </a:lnTo>
                      <a:lnTo>
                        <a:pt x="3154" y="141"/>
                      </a:lnTo>
                      <a:lnTo>
                        <a:pt x="3108" y="144"/>
                      </a:lnTo>
                      <a:lnTo>
                        <a:pt x="3059" y="149"/>
                      </a:lnTo>
                      <a:lnTo>
                        <a:pt x="3006" y="156"/>
                      </a:lnTo>
                      <a:lnTo>
                        <a:pt x="2954" y="163"/>
                      </a:lnTo>
                      <a:lnTo>
                        <a:pt x="2903" y="173"/>
                      </a:lnTo>
                      <a:lnTo>
                        <a:pt x="2854" y="187"/>
                      </a:lnTo>
                      <a:lnTo>
                        <a:pt x="2808" y="200"/>
                      </a:lnTo>
                      <a:lnTo>
                        <a:pt x="2786" y="209"/>
                      </a:lnTo>
                      <a:lnTo>
                        <a:pt x="2767" y="217"/>
                      </a:lnTo>
                      <a:lnTo>
                        <a:pt x="2748" y="228"/>
                      </a:lnTo>
                      <a:lnTo>
                        <a:pt x="2731" y="238"/>
                      </a:lnTo>
                      <a:lnTo>
                        <a:pt x="2716" y="248"/>
                      </a:lnTo>
                      <a:lnTo>
                        <a:pt x="2703" y="260"/>
                      </a:lnTo>
                      <a:lnTo>
                        <a:pt x="2692" y="273"/>
                      </a:lnTo>
                      <a:lnTo>
                        <a:pt x="2684" y="285"/>
                      </a:lnTo>
                      <a:lnTo>
                        <a:pt x="2679" y="301"/>
                      </a:lnTo>
                      <a:lnTo>
                        <a:pt x="2675" y="316"/>
                      </a:lnTo>
                      <a:lnTo>
                        <a:pt x="2675" y="328"/>
                      </a:lnTo>
                      <a:lnTo>
                        <a:pt x="2677" y="340"/>
                      </a:lnTo>
                      <a:lnTo>
                        <a:pt x="2682" y="351"/>
                      </a:lnTo>
                      <a:lnTo>
                        <a:pt x="2689" y="363"/>
                      </a:lnTo>
                      <a:lnTo>
                        <a:pt x="2699" y="374"/>
                      </a:lnTo>
                      <a:lnTo>
                        <a:pt x="2713" y="385"/>
                      </a:lnTo>
                      <a:lnTo>
                        <a:pt x="2728" y="394"/>
                      </a:lnTo>
                      <a:lnTo>
                        <a:pt x="2747" y="402"/>
                      </a:lnTo>
                      <a:lnTo>
                        <a:pt x="2706" y="530"/>
                      </a:lnTo>
                      <a:lnTo>
                        <a:pt x="2635" y="525"/>
                      </a:lnTo>
                      <a:lnTo>
                        <a:pt x="2562" y="523"/>
                      </a:lnTo>
                      <a:lnTo>
                        <a:pt x="2507" y="523"/>
                      </a:lnTo>
                      <a:lnTo>
                        <a:pt x="2453" y="526"/>
                      </a:lnTo>
                      <a:lnTo>
                        <a:pt x="2397" y="531"/>
                      </a:lnTo>
                      <a:lnTo>
                        <a:pt x="2341" y="540"/>
                      </a:lnTo>
                      <a:lnTo>
                        <a:pt x="2287" y="550"/>
                      </a:lnTo>
                      <a:lnTo>
                        <a:pt x="2259" y="557"/>
                      </a:lnTo>
                      <a:lnTo>
                        <a:pt x="2232" y="565"/>
                      </a:lnTo>
                      <a:lnTo>
                        <a:pt x="2205" y="574"/>
                      </a:lnTo>
                      <a:lnTo>
                        <a:pt x="2180" y="584"/>
                      </a:lnTo>
                      <a:lnTo>
                        <a:pt x="2156" y="596"/>
                      </a:lnTo>
                      <a:lnTo>
                        <a:pt x="2130" y="608"/>
                      </a:lnTo>
                      <a:lnTo>
                        <a:pt x="2059" y="594"/>
                      </a:lnTo>
                      <a:lnTo>
                        <a:pt x="1990" y="586"/>
                      </a:lnTo>
                      <a:lnTo>
                        <a:pt x="1917" y="581"/>
                      </a:lnTo>
                      <a:lnTo>
                        <a:pt x="1845" y="579"/>
                      </a:lnTo>
                      <a:lnTo>
                        <a:pt x="1810" y="579"/>
                      </a:lnTo>
                      <a:lnTo>
                        <a:pt x="1754" y="581"/>
                      </a:lnTo>
                      <a:lnTo>
                        <a:pt x="1684" y="586"/>
                      </a:lnTo>
                      <a:lnTo>
                        <a:pt x="1608" y="594"/>
                      </a:lnTo>
                      <a:lnTo>
                        <a:pt x="1569" y="599"/>
                      </a:lnTo>
                      <a:lnTo>
                        <a:pt x="1533" y="606"/>
                      </a:lnTo>
                      <a:lnTo>
                        <a:pt x="1499" y="613"/>
                      </a:lnTo>
                      <a:lnTo>
                        <a:pt x="1467" y="621"/>
                      </a:lnTo>
                      <a:lnTo>
                        <a:pt x="1440" y="632"/>
                      </a:lnTo>
                      <a:lnTo>
                        <a:pt x="1417" y="644"/>
                      </a:lnTo>
                      <a:lnTo>
                        <a:pt x="1409" y="650"/>
                      </a:lnTo>
                      <a:lnTo>
                        <a:pt x="1401" y="655"/>
                      </a:lnTo>
                      <a:lnTo>
                        <a:pt x="1395" y="664"/>
                      </a:lnTo>
                      <a:lnTo>
                        <a:pt x="1392" y="671"/>
                      </a:lnTo>
                      <a:lnTo>
                        <a:pt x="1387" y="683"/>
                      </a:lnTo>
                      <a:lnTo>
                        <a:pt x="1387" y="694"/>
                      </a:lnTo>
                      <a:lnTo>
                        <a:pt x="1390" y="701"/>
                      </a:lnTo>
                      <a:lnTo>
                        <a:pt x="1395" y="708"/>
                      </a:lnTo>
                      <a:lnTo>
                        <a:pt x="1401" y="713"/>
                      </a:lnTo>
                      <a:lnTo>
                        <a:pt x="1409" y="717"/>
                      </a:lnTo>
                      <a:lnTo>
                        <a:pt x="1417" y="718"/>
                      </a:lnTo>
                      <a:lnTo>
                        <a:pt x="1426" y="718"/>
                      </a:lnTo>
                      <a:close/>
                      <a:moveTo>
                        <a:pt x="2548" y="387"/>
                      </a:moveTo>
                      <a:lnTo>
                        <a:pt x="2548" y="387"/>
                      </a:lnTo>
                      <a:lnTo>
                        <a:pt x="2543" y="372"/>
                      </a:lnTo>
                      <a:lnTo>
                        <a:pt x="2538" y="357"/>
                      </a:lnTo>
                      <a:lnTo>
                        <a:pt x="2536" y="340"/>
                      </a:lnTo>
                      <a:lnTo>
                        <a:pt x="2536" y="323"/>
                      </a:lnTo>
                      <a:lnTo>
                        <a:pt x="2538" y="297"/>
                      </a:lnTo>
                      <a:lnTo>
                        <a:pt x="2541" y="273"/>
                      </a:lnTo>
                      <a:lnTo>
                        <a:pt x="2550" y="251"/>
                      </a:lnTo>
                      <a:lnTo>
                        <a:pt x="2560" y="231"/>
                      </a:lnTo>
                      <a:lnTo>
                        <a:pt x="2574" y="211"/>
                      </a:lnTo>
                      <a:lnTo>
                        <a:pt x="2589" y="192"/>
                      </a:lnTo>
                      <a:lnTo>
                        <a:pt x="2607" y="173"/>
                      </a:lnTo>
                      <a:lnTo>
                        <a:pt x="2628" y="156"/>
                      </a:lnTo>
                      <a:lnTo>
                        <a:pt x="2650" y="141"/>
                      </a:lnTo>
                      <a:lnTo>
                        <a:pt x="2674" y="126"/>
                      </a:lnTo>
                      <a:lnTo>
                        <a:pt x="2697" y="112"/>
                      </a:lnTo>
                      <a:lnTo>
                        <a:pt x="2725" y="100"/>
                      </a:lnTo>
                      <a:lnTo>
                        <a:pt x="2753" y="88"/>
                      </a:lnTo>
                      <a:lnTo>
                        <a:pt x="2782" y="78"/>
                      </a:lnTo>
                      <a:lnTo>
                        <a:pt x="2811" y="68"/>
                      </a:lnTo>
                      <a:lnTo>
                        <a:pt x="2842" y="58"/>
                      </a:lnTo>
                      <a:lnTo>
                        <a:pt x="2905" y="42"/>
                      </a:lnTo>
                      <a:lnTo>
                        <a:pt x="2967" y="31"/>
                      </a:lnTo>
                      <a:lnTo>
                        <a:pt x="3030" y="20"/>
                      </a:lnTo>
                      <a:lnTo>
                        <a:pt x="3090" y="12"/>
                      </a:lnTo>
                      <a:lnTo>
                        <a:pt x="3146" y="7"/>
                      </a:lnTo>
                      <a:lnTo>
                        <a:pt x="3197" y="3"/>
                      </a:lnTo>
                      <a:lnTo>
                        <a:pt x="3242" y="0"/>
                      </a:lnTo>
                      <a:lnTo>
                        <a:pt x="3280" y="0"/>
                      </a:lnTo>
                      <a:lnTo>
                        <a:pt x="3315" y="0"/>
                      </a:lnTo>
                      <a:lnTo>
                        <a:pt x="3361" y="2"/>
                      </a:lnTo>
                      <a:lnTo>
                        <a:pt x="3412" y="7"/>
                      </a:lnTo>
                      <a:lnTo>
                        <a:pt x="3468" y="12"/>
                      </a:lnTo>
                      <a:lnTo>
                        <a:pt x="3528" y="19"/>
                      </a:lnTo>
                      <a:lnTo>
                        <a:pt x="3589" y="29"/>
                      </a:lnTo>
                      <a:lnTo>
                        <a:pt x="3651" y="42"/>
                      </a:lnTo>
                      <a:lnTo>
                        <a:pt x="3713" y="58"/>
                      </a:lnTo>
                      <a:lnTo>
                        <a:pt x="3774" y="76"/>
                      </a:lnTo>
                      <a:lnTo>
                        <a:pt x="3801" y="87"/>
                      </a:lnTo>
                      <a:lnTo>
                        <a:pt x="3830" y="98"/>
                      </a:lnTo>
                      <a:lnTo>
                        <a:pt x="3857" y="110"/>
                      </a:lnTo>
                      <a:lnTo>
                        <a:pt x="3881" y="124"/>
                      </a:lnTo>
                      <a:lnTo>
                        <a:pt x="3904" y="139"/>
                      </a:lnTo>
                      <a:lnTo>
                        <a:pt x="3927" y="155"/>
                      </a:lnTo>
                      <a:lnTo>
                        <a:pt x="3947" y="171"/>
                      </a:lnTo>
                      <a:lnTo>
                        <a:pt x="3966" y="188"/>
                      </a:lnTo>
                      <a:lnTo>
                        <a:pt x="3983" y="207"/>
                      </a:lnTo>
                      <a:lnTo>
                        <a:pt x="3996" y="226"/>
                      </a:lnTo>
                      <a:lnTo>
                        <a:pt x="4006" y="248"/>
                      </a:lnTo>
                      <a:lnTo>
                        <a:pt x="4015" y="270"/>
                      </a:lnTo>
                      <a:lnTo>
                        <a:pt x="4020" y="294"/>
                      </a:lnTo>
                      <a:lnTo>
                        <a:pt x="4022" y="318"/>
                      </a:lnTo>
                      <a:lnTo>
                        <a:pt x="4108" y="319"/>
                      </a:lnTo>
                      <a:lnTo>
                        <a:pt x="4190" y="324"/>
                      </a:lnTo>
                      <a:lnTo>
                        <a:pt x="4263" y="331"/>
                      </a:lnTo>
                      <a:lnTo>
                        <a:pt x="4331" y="341"/>
                      </a:lnTo>
                      <a:lnTo>
                        <a:pt x="4393" y="355"/>
                      </a:lnTo>
                      <a:lnTo>
                        <a:pt x="4451" y="368"/>
                      </a:lnTo>
                      <a:lnTo>
                        <a:pt x="4504" y="385"/>
                      </a:lnTo>
                      <a:lnTo>
                        <a:pt x="4550" y="402"/>
                      </a:lnTo>
                      <a:lnTo>
                        <a:pt x="4592" y="423"/>
                      </a:lnTo>
                      <a:lnTo>
                        <a:pt x="4628" y="443"/>
                      </a:lnTo>
                      <a:lnTo>
                        <a:pt x="4660" y="465"/>
                      </a:lnTo>
                      <a:lnTo>
                        <a:pt x="4687" y="489"/>
                      </a:lnTo>
                      <a:lnTo>
                        <a:pt x="4711" y="513"/>
                      </a:lnTo>
                      <a:lnTo>
                        <a:pt x="4729" y="537"/>
                      </a:lnTo>
                      <a:lnTo>
                        <a:pt x="4745" y="562"/>
                      </a:lnTo>
                      <a:lnTo>
                        <a:pt x="4757" y="587"/>
                      </a:lnTo>
                      <a:lnTo>
                        <a:pt x="4763" y="613"/>
                      </a:lnTo>
                      <a:lnTo>
                        <a:pt x="4769" y="637"/>
                      </a:lnTo>
                      <a:lnTo>
                        <a:pt x="4769" y="662"/>
                      </a:lnTo>
                      <a:lnTo>
                        <a:pt x="4767" y="686"/>
                      </a:lnTo>
                      <a:lnTo>
                        <a:pt x="4762" y="708"/>
                      </a:lnTo>
                      <a:lnTo>
                        <a:pt x="4753" y="730"/>
                      </a:lnTo>
                      <a:lnTo>
                        <a:pt x="4741" y="750"/>
                      </a:lnTo>
                      <a:lnTo>
                        <a:pt x="4728" y="771"/>
                      </a:lnTo>
                      <a:lnTo>
                        <a:pt x="4712" y="788"/>
                      </a:lnTo>
                      <a:lnTo>
                        <a:pt x="4694" y="805"/>
                      </a:lnTo>
                      <a:lnTo>
                        <a:pt x="4675" y="818"/>
                      </a:lnTo>
                      <a:lnTo>
                        <a:pt x="4653" y="830"/>
                      </a:lnTo>
                      <a:lnTo>
                        <a:pt x="4629" y="840"/>
                      </a:lnTo>
                      <a:lnTo>
                        <a:pt x="4604" y="847"/>
                      </a:lnTo>
                      <a:lnTo>
                        <a:pt x="4577" y="852"/>
                      </a:lnTo>
                      <a:lnTo>
                        <a:pt x="4550" y="854"/>
                      </a:lnTo>
                      <a:lnTo>
                        <a:pt x="1412" y="854"/>
                      </a:lnTo>
                      <a:lnTo>
                        <a:pt x="1395" y="852"/>
                      </a:lnTo>
                      <a:lnTo>
                        <a:pt x="1378" y="851"/>
                      </a:lnTo>
                      <a:lnTo>
                        <a:pt x="1363" y="847"/>
                      </a:lnTo>
                      <a:lnTo>
                        <a:pt x="1348" y="840"/>
                      </a:lnTo>
                      <a:lnTo>
                        <a:pt x="1333" y="834"/>
                      </a:lnTo>
                      <a:lnTo>
                        <a:pt x="1319" y="827"/>
                      </a:lnTo>
                      <a:lnTo>
                        <a:pt x="1307" y="817"/>
                      </a:lnTo>
                      <a:lnTo>
                        <a:pt x="1295" y="807"/>
                      </a:lnTo>
                      <a:lnTo>
                        <a:pt x="1285" y="796"/>
                      </a:lnTo>
                      <a:lnTo>
                        <a:pt x="1277" y="784"/>
                      </a:lnTo>
                      <a:lnTo>
                        <a:pt x="1268" y="771"/>
                      </a:lnTo>
                      <a:lnTo>
                        <a:pt x="1261" y="757"/>
                      </a:lnTo>
                      <a:lnTo>
                        <a:pt x="1256" y="744"/>
                      </a:lnTo>
                      <a:lnTo>
                        <a:pt x="1251" y="728"/>
                      </a:lnTo>
                      <a:lnTo>
                        <a:pt x="1249" y="713"/>
                      </a:lnTo>
                      <a:lnTo>
                        <a:pt x="1248" y="698"/>
                      </a:lnTo>
                      <a:lnTo>
                        <a:pt x="1248" y="683"/>
                      </a:lnTo>
                      <a:lnTo>
                        <a:pt x="1249" y="666"/>
                      </a:lnTo>
                      <a:lnTo>
                        <a:pt x="1255" y="650"/>
                      </a:lnTo>
                      <a:lnTo>
                        <a:pt x="1260" y="635"/>
                      </a:lnTo>
                      <a:lnTo>
                        <a:pt x="1266" y="618"/>
                      </a:lnTo>
                      <a:lnTo>
                        <a:pt x="1275" y="603"/>
                      </a:lnTo>
                      <a:lnTo>
                        <a:pt x="1287" y="587"/>
                      </a:lnTo>
                      <a:lnTo>
                        <a:pt x="1299" y="572"/>
                      </a:lnTo>
                      <a:lnTo>
                        <a:pt x="1314" y="559"/>
                      </a:lnTo>
                      <a:lnTo>
                        <a:pt x="1331" y="543"/>
                      </a:lnTo>
                      <a:lnTo>
                        <a:pt x="1351" y="531"/>
                      </a:lnTo>
                      <a:lnTo>
                        <a:pt x="1372" y="518"/>
                      </a:lnTo>
                      <a:lnTo>
                        <a:pt x="1395" y="508"/>
                      </a:lnTo>
                      <a:lnTo>
                        <a:pt x="1421" y="496"/>
                      </a:lnTo>
                      <a:lnTo>
                        <a:pt x="1450" y="487"/>
                      </a:lnTo>
                      <a:lnTo>
                        <a:pt x="1480" y="479"/>
                      </a:lnTo>
                      <a:lnTo>
                        <a:pt x="1519" y="470"/>
                      </a:lnTo>
                      <a:lnTo>
                        <a:pt x="1560" y="462"/>
                      </a:lnTo>
                      <a:lnTo>
                        <a:pt x="1603" y="457"/>
                      </a:lnTo>
                      <a:lnTo>
                        <a:pt x="1647" y="452"/>
                      </a:lnTo>
                      <a:lnTo>
                        <a:pt x="1694" y="447"/>
                      </a:lnTo>
                      <a:lnTo>
                        <a:pt x="1743" y="445"/>
                      </a:lnTo>
                      <a:lnTo>
                        <a:pt x="1793" y="443"/>
                      </a:lnTo>
                      <a:lnTo>
                        <a:pt x="1845" y="443"/>
                      </a:lnTo>
                      <a:lnTo>
                        <a:pt x="1917" y="443"/>
                      </a:lnTo>
                      <a:lnTo>
                        <a:pt x="1984" y="448"/>
                      </a:lnTo>
                      <a:lnTo>
                        <a:pt x="2049" y="455"/>
                      </a:lnTo>
                      <a:lnTo>
                        <a:pt x="2110" y="465"/>
                      </a:lnTo>
                      <a:lnTo>
                        <a:pt x="2151" y="448"/>
                      </a:lnTo>
                      <a:lnTo>
                        <a:pt x="2198" y="433"/>
                      </a:lnTo>
                      <a:lnTo>
                        <a:pt x="2248" y="419"/>
                      </a:lnTo>
                      <a:lnTo>
                        <a:pt x="2302" y="408"/>
                      </a:lnTo>
                      <a:lnTo>
                        <a:pt x="2360" y="399"/>
                      </a:lnTo>
                      <a:lnTo>
                        <a:pt x="2421" y="392"/>
                      </a:lnTo>
                      <a:lnTo>
                        <a:pt x="2484" y="389"/>
                      </a:lnTo>
                      <a:lnTo>
                        <a:pt x="2548" y="387"/>
                      </a:lnTo>
                      <a:close/>
                      <a:moveTo>
                        <a:pt x="2015" y="3975"/>
                      </a:moveTo>
                      <a:lnTo>
                        <a:pt x="2015" y="3713"/>
                      </a:lnTo>
                      <a:lnTo>
                        <a:pt x="2151" y="3713"/>
                      </a:lnTo>
                      <a:lnTo>
                        <a:pt x="2151" y="3975"/>
                      </a:lnTo>
                      <a:lnTo>
                        <a:pt x="2015" y="3975"/>
                      </a:lnTo>
                      <a:close/>
                      <a:moveTo>
                        <a:pt x="1659" y="3975"/>
                      </a:moveTo>
                      <a:lnTo>
                        <a:pt x="1659" y="3713"/>
                      </a:lnTo>
                      <a:lnTo>
                        <a:pt x="1794" y="3713"/>
                      </a:lnTo>
                      <a:lnTo>
                        <a:pt x="1794" y="3975"/>
                      </a:lnTo>
                      <a:lnTo>
                        <a:pt x="1659" y="3975"/>
                      </a:lnTo>
                      <a:close/>
                    </a:path>
                  </a:pathLst>
                </a:custGeom>
                <a:solidFill>
                  <a:schemeClr val="accent1"/>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61" name="Group 160"/>
              <p:cNvGrpSpPr/>
              <p:nvPr/>
            </p:nvGrpSpPr>
            <p:grpSpPr>
              <a:xfrm>
                <a:off x="9492911" y="2013077"/>
                <a:ext cx="646887" cy="646887"/>
                <a:chOff x="9807408" y="3650691"/>
                <a:chExt cx="684476" cy="684476"/>
              </a:xfrm>
            </p:grpSpPr>
            <p:sp>
              <p:nvSpPr>
                <p:cNvPr id="224" name="Oval 223"/>
                <p:cNvSpPr/>
                <p:nvPr/>
              </p:nvSpPr>
              <p:spPr>
                <a:xfrm>
                  <a:off x="9807408" y="3650691"/>
                  <a:ext cx="684476" cy="684476"/>
                </a:xfrm>
                <a:prstGeom prst="ellipse">
                  <a:avLst/>
                </a:prstGeom>
                <a:solidFill>
                  <a:srgbClr val="00A3AE"/>
                </a:solidFill>
                <a:ln w="12700">
                  <a:noFill/>
                  <a:prstDash val="solid"/>
                  <a:round/>
                  <a:headEnd/>
                  <a:tailEnd/>
                </a:ln>
              </p:spPr>
              <p:txBody>
                <a:bodyPr wrap="none" lIns="0" tIns="0" rIns="0" bIns="429126" anchor="t"/>
                <a:lstStyle/>
                <a:p>
                  <a:pPr algn="ctr" defTabSz="558057">
                    <a:lnSpc>
                      <a:spcPct val="90000"/>
                    </a:lnSpc>
                    <a:defRPr/>
                  </a:pPr>
                  <a:r>
                    <a:rPr lang="de-DE" sz="716" b="1" kern="0" dirty="0">
                      <a:solidFill>
                        <a:srgbClr val="F0F0F0"/>
                      </a:solidFill>
                      <a:latin typeface="+mj-lt"/>
                    </a:rPr>
                    <a:t>Retail/</a:t>
                  </a:r>
                  <a:br>
                    <a:rPr lang="de-DE" sz="716" b="1" kern="0" dirty="0">
                      <a:solidFill>
                        <a:srgbClr val="F0F0F0"/>
                      </a:solidFill>
                      <a:latin typeface="+mj-lt"/>
                    </a:rPr>
                  </a:br>
                  <a:r>
                    <a:rPr lang="de-DE" sz="716" b="1" kern="0" dirty="0" smtClean="0">
                      <a:solidFill>
                        <a:srgbClr val="F0F0F0"/>
                      </a:solidFill>
                      <a:latin typeface="+mj-lt"/>
                    </a:rPr>
                    <a:t>consumer</a:t>
                  </a:r>
                  <a:endParaRPr lang="de-DE" sz="716" b="1" kern="0" dirty="0">
                    <a:solidFill>
                      <a:srgbClr val="F0F0F0"/>
                    </a:solidFill>
                    <a:latin typeface="+mj-lt"/>
                  </a:endParaRPr>
                </a:p>
              </p:txBody>
            </p:sp>
            <p:sp>
              <p:nvSpPr>
                <p:cNvPr id="225" name="Freeform 71"/>
                <p:cNvSpPr>
                  <a:spLocks noChangeAspect="1" noEditPoints="1"/>
                </p:cNvSpPr>
                <p:nvPr/>
              </p:nvSpPr>
              <p:spPr bwMode="auto">
                <a:xfrm>
                  <a:off x="9882410" y="4016534"/>
                  <a:ext cx="224749" cy="184581"/>
                </a:xfrm>
                <a:custGeom>
                  <a:avLst/>
                  <a:gdLst>
                    <a:gd name="T0" fmla="*/ 2147483647 w 5802"/>
                    <a:gd name="T1" fmla="*/ 2147483647 h 4763"/>
                    <a:gd name="T2" fmla="*/ 2147483647 w 5802"/>
                    <a:gd name="T3" fmla="*/ 2147483647 h 4763"/>
                    <a:gd name="T4" fmla="*/ 2147483647 w 5802"/>
                    <a:gd name="T5" fmla="*/ 2147483647 h 4763"/>
                    <a:gd name="T6" fmla="*/ 2147483647 w 5802"/>
                    <a:gd name="T7" fmla="*/ 2147483647 h 4763"/>
                    <a:gd name="T8" fmla="*/ 2147483647 w 5802"/>
                    <a:gd name="T9" fmla="*/ 2147483647 h 4763"/>
                    <a:gd name="T10" fmla="*/ 2147483647 w 5802"/>
                    <a:gd name="T11" fmla="*/ 2147483647 h 4763"/>
                    <a:gd name="T12" fmla="*/ 2147483647 w 5802"/>
                    <a:gd name="T13" fmla="*/ 2147483647 h 4763"/>
                    <a:gd name="T14" fmla="*/ 2147483647 w 5802"/>
                    <a:gd name="T15" fmla="*/ 2147483647 h 4763"/>
                    <a:gd name="T16" fmla="*/ 2147483647 w 5802"/>
                    <a:gd name="T17" fmla="*/ 2147483647 h 4763"/>
                    <a:gd name="T18" fmla="*/ 2147483647 w 5802"/>
                    <a:gd name="T19" fmla="*/ 2147483647 h 4763"/>
                    <a:gd name="T20" fmla="*/ 2147483647 w 5802"/>
                    <a:gd name="T21" fmla="*/ 2147483647 h 4763"/>
                    <a:gd name="T22" fmla="*/ 2147483647 w 5802"/>
                    <a:gd name="T23" fmla="*/ 2147483647 h 4763"/>
                    <a:gd name="T24" fmla="*/ 2147483647 w 5802"/>
                    <a:gd name="T25" fmla="*/ 2147483647 h 4763"/>
                    <a:gd name="T26" fmla="*/ 2147483647 w 5802"/>
                    <a:gd name="T27" fmla="*/ 2147483647 h 4763"/>
                    <a:gd name="T28" fmla="*/ 2147483647 w 5802"/>
                    <a:gd name="T29" fmla="*/ 2147483647 h 4763"/>
                    <a:gd name="T30" fmla="*/ 0 w 5802"/>
                    <a:gd name="T31" fmla="*/ 2147483647 h 4763"/>
                    <a:gd name="T32" fmla="*/ 2147483647 w 5802"/>
                    <a:gd name="T33" fmla="*/ 2147483647 h 4763"/>
                    <a:gd name="T34" fmla="*/ 2147483647 w 5802"/>
                    <a:gd name="T35" fmla="*/ 2147483647 h 4763"/>
                    <a:gd name="T36" fmla="*/ 2147483647 w 5802"/>
                    <a:gd name="T37" fmla="*/ 2147483647 h 4763"/>
                    <a:gd name="T38" fmla="*/ 2147483647 w 5802"/>
                    <a:gd name="T39" fmla="*/ 0 h 4763"/>
                    <a:gd name="T40" fmla="*/ 2147483647 w 5802"/>
                    <a:gd name="T41" fmla="*/ 2147483647 h 4763"/>
                    <a:gd name="T42" fmla="*/ 2147483647 w 5802"/>
                    <a:gd name="T43" fmla="*/ 2147483647 h 4763"/>
                    <a:gd name="T44" fmla="*/ 2147483647 w 5802"/>
                    <a:gd name="T45" fmla="*/ 2147483647 h 4763"/>
                    <a:gd name="T46" fmla="*/ 2147483647 w 5802"/>
                    <a:gd name="T47" fmla="*/ 2147483647 h 4763"/>
                    <a:gd name="T48" fmla="*/ 2147483647 w 5802"/>
                    <a:gd name="T49" fmla="*/ 2147483647 h 4763"/>
                    <a:gd name="T50" fmla="*/ 2147483647 w 5802"/>
                    <a:gd name="T51" fmla="*/ 2147483647 h 4763"/>
                    <a:gd name="T52" fmla="*/ 2147483647 w 5802"/>
                    <a:gd name="T53" fmla="*/ 2147483647 h 4763"/>
                    <a:gd name="T54" fmla="*/ 2147483647 w 5802"/>
                    <a:gd name="T55" fmla="*/ 2147483647 h 4763"/>
                    <a:gd name="T56" fmla="*/ 2147483647 w 5802"/>
                    <a:gd name="T57" fmla="*/ 2147483647 h 4763"/>
                    <a:gd name="T58" fmla="*/ 2147483647 w 5802"/>
                    <a:gd name="T59" fmla="*/ 2147483647 h 4763"/>
                    <a:gd name="T60" fmla="*/ 2147483647 w 5802"/>
                    <a:gd name="T61" fmla="*/ 2147483647 h 4763"/>
                    <a:gd name="T62" fmla="*/ 2147483647 w 5802"/>
                    <a:gd name="T63" fmla="*/ 2147483647 h 4763"/>
                    <a:gd name="T64" fmla="*/ 2147483647 w 5802"/>
                    <a:gd name="T65" fmla="*/ 2147483647 h 4763"/>
                    <a:gd name="T66" fmla="*/ 2147483647 w 5802"/>
                    <a:gd name="T67" fmla="*/ 2147483647 h 4763"/>
                    <a:gd name="T68" fmla="*/ 2147483647 w 5802"/>
                    <a:gd name="T69" fmla="*/ 2147483647 h 4763"/>
                    <a:gd name="T70" fmla="*/ 2147483647 w 5802"/>
                    <a:gd name="T71" fmla="*/ 2147483647 h 4763"/>
                    <a:gd name="T72" fmla="*/ 2147483647 w 5802"/>
                    <a:gd name="T73" fmla="*/ 2147483647 h 4763"/>
                    <a:gd name="T74" fmla="*/ 2147483647 w 5802"/>
                    <a:gd name="T75" fmla="*/ 2147483647 h 4763"/>
                    <a:gd name="T76" fmla="*/ 2147483647 w 5802"/>
                    <a:gd name="T77" fmla="*/ 2147483647 h 4763"/>
                    <a:gd name="T78" fmla="*/ 2147483647 w 5802"/>
                    <a:gd name="T79" fmla="*/ 2147483647 h 4763"/>
                    <a:gd name="T80" fmla="*/ 2147483647 w 5802"/>
                    <a:gd name="T81" fmla="*/ 2147483647 h 4763"/>
                    <a:gd name="T82" fmla="*/ 2147483647 w 5802"/>
                    <a:gd name="T83" fmla="*/ 2147483647 h 4763"/>
                    <a:gd name="T84" fmla="*/ 2147483647 w 5802"/>
                    <a:gd name="T85" fmla="*/ 2147483647 h 4763"/>
                    <a:gd name="T86" fmla="*/ 2147483647 w 5802"/>
                    <a:gd name="T87" fmla="*/ 2147483647 h 4763"/>
                    <a:gd name="T88" fmla="*/ 2147483647 w 5802"/>
                    <a:gd name="T89" fmla="*/ 2147483647 h 4763"/>
                    <a:gd name="T90" fmla="*/ 2147483647 w 5802"/>
                    <a:gd name="T91" fmla="*/ 2147483647 h 4763"/>
                    <a:gd name="T92" fmla="*/ 2147483647 w 5802"/>
                    <a:gd name="T93" fmla="*/ 2147483647 h 4763"/>
                    <a:gd name="T94" fmla="*/ 2147483647 w 5802"/>
                    <a:gd name="T95" fmla="*/ 2147483647 h 4763"/>
                    <a:gd name="T96" fmla="*/ 2147483647 w 5802"/>
                    <a:gd name="T97" fmla="*/ 2147483647 h 4763"/>
                    <a:gd name="T98" fmla="*/ 2147483647 w 5802"/>
                    <a:gd name="T99" fmla="*/ 2147483647 h 4763"/>
                    <a:gd name="T100" fmla="*/ 2147483647 w 5802"/>
                    <a:gd name="T101" fmla="*/ 2147483647 h 4763"/>
                    <a:gd name="T102" fmla="*/ 2147483647 w 5802"/>
                    <a:gd name="T103" fmla="*/ 2147483647 h 4763"/>
                    <a:gd name="T104" fmla="*/ 2147483647 w 5802"/>
                    <a:gd name="T105" fmla="*/ 2147483647 h 4763"/>
                    <a:gd name="T106" fmla="*/ 2147483647 w 5802"/>
                    <a:gd name="T107" fmla="*/ 2147483647 h 4763"/>
                    <a:gd name="T108" fmla="*/ 2147483647 w 5802"/>
                    <a:gd name="T109" fmla="*/ 2147483647 h 47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02"/>
                    <a:gd name="T166" fmla="*/ 0 h 4763"/>
                    <a:gd name="T167" fmla="*/ 5802 w 5802"/>
                    <a:gd name="T168" fmla="*/ 4763 h 47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02" h="4763">
                      <a:moveTo>
                        <a:pt x="1835" y="889"/>
                      </a:moveTo>
                      <a:lnTo>
                        <a:pt x="5297" y="889"/>
                      </a:lnTo>
                      <a:lnTo>
                        <a:pt x="5279" y="1015"/>
                      </a:lnTo>
                      <a:lnTo>
                        <a:pt x="1887" y="1015"/>
                      </a:lnTo>
                      <a:lnTo>
                        <a:pt x="1835" y="889"/>
                      </a:lnTo>
                      <a:close/>
                      <a:moveTo>
                        <a:pt x="2060" y="1420"/>
                      </a:moveTo>
                      <a:lnTo>
                        <a:pt x="5231" y="1366"/>
                      </a:lnTo>
                      <a:lnTo>
                        <a:pt x="5213" y="1492"/>
                      </a:lnTo>
                      <a:lnTo>
                        <a:pt x="2112" y="1546"/>
                      </a:lnTo>
                      <a:lnTo>
                        <a:pt x="2060" y="1420"/>
                      </a:lnTo>
                      <a:close/>
                      <a:moveTo>
                        <a:pt x="2278" y="1934"/>
                      </a:moveTo>
                      <a:lnTo>
                        <a:pt x="5166" y="1827"/>
                      </a:lnTo>
                      <a:lnTo>
                        <a:pt x="5149" y="1955"/>
                      </a:lnTo>
                      <a:lnTo>
                        <a:pt x="2331" y="2059"/>
                      </a:lnTo>
                      <a:lnTo>
                        <a:pt x="2278" y="1934"/>
                      </a:lnTo>
                      <a:close/>
                      <a:moveTo>
                        <a:pt x="2496" y="2451"/>
                      </a:moveTo>
                      <a:lnTo>
                        <a:pt x="5103" y="2289"/>
                      </a:lnTo>
                      <a:lnTo>
                        <a:pt x="5086" y="2416"/>
                      </a:lnTo>
                      <a:lnTo>
                        <a:pt x="2548" y="2574"/>
                      </a:lnTo>
                      <a:lnTo>
                        <a:pt x="2496" y="2451"/>
                      </a:lnTo>
                      <a:close/>
                      <a:moveTo>
                        <a:pt x="5802" y="889"/>
                      </a:moveTo>
                      <a:lnTo>
                        <a:pt x="5522" y="2918"/>
                      </a:lnTo>
                      <a:lnTo>
                        <a:pt x="2249" y="3135"/>
                      </a:lnTo>
                      <a:lnTo>
                        <a:pt x="1297" y="889"/>
                      </a:lnTo>
                      <a:lnTo>
                        <a:pt x="1571" y="889"/>
                      </a:lnTo>
                      <a:lnTo>
                        <a:pt x="2410" y="2873"/>
                      </a:lnTo>
                      <a:lnTo>
                        <a:pt x="5301" y="2681"/>
                      </a:lnTo>
                      <a:lnTo>
                        <a:pt x="5549" y="889"/>
                      </a:lnTo>
                      <a:lnTo>
                        <a:pt x="5802" y="889"/>
                      </a:lnTo>
                      <a:close/>
                      <a:moveTo>
                        <a:pt x="1952" y="4366"/>
                      </a:moveTo>
                      <a:lnTo>
                        <a:pt x="1952" y="4366"/>
                      </a:lnTo>
                      <a:lnTo>
                        <a:pt x="1953" y="4330"/>
                      </a:lnTo>
                      <a:lnTo>
                        <a:pt x="1958" y="4294"/>
                      </a:lnTo>
                      <a:lnTo>
                        <a:pt x="1968" y="4259"/>
                      </a:lnTo>
                      <a:lnTo>
                        <a:pt x="1979" y="4226"/>
                      </a:lnTo>
                      <a:lnTo>
                        <a:pt x="1991" y="4195"/>
                      </a:lnTo>
                      <a:lnTo>
                        <a:pt x="2009" y="4163"/>
                      </a:lnTo>
                      <a:lnTo>
                        <a:pt x="2027" y="4135"/>
                      </a:lnTo>
                      <a:lnTo>
                        <a:pt x="2048" y="4108"/>
                      </a:lnTo>
                      <a:lnTo>
                        <a:pt x="2071" y="4083"/>
                      </a:lnTo>
                      <a:lnTo>
                        <a:pt x="2097" y="4059"/>
                      </a:lnTo>
                      <a:lnTo>
                        <a:pt x="2125" y="4039"/>
                      </a:lnTo>
                      <a:lnTo>
                        <a:pt x="2155" y="4020"/>
                      </a:lnTo>
                      <a:lnTo>
                        <a:pt x="2185" y="4004"/>
                      </a:lnTo>
                      <a:lnTo>
                        <a:pt x="2218" y="3992"/>
                      </a:lnTo>
                      <a:lnTo>
                        <a:pt x="2251" y="3982"/>
                      </a:lnTo>
                      <a:lnTo>
                        <a:pt x="2286" y="3974"/>
                      </a:lnTo>
                      <a:lnTo>
                        <a:pt x="2286" y="3826"/>
                      </a:lnTo>
                      <a:lnTo>
                        <a:pt x="1420" y="3826"/>
                      </a:lnTo>
                      <a:lnTo>
                        <a:pt x="1757" y="3069"/>
                      </a:lnTo>
                      <a:lnTo>
                        <a:pt x="669" y="496"/>
                      </a:lnTo>
                      <a:lnTo>
                        <a:pt x="387" y="378"/>
                      </a:lnTo>
                      <a:lnTo>
                        <a:pt x="379" y="387"/>
                      </a:lnTo>
                      <a:lnTo>
                        <a:pt x="368" y="395"/>
                      </a:lnTo>
                      <a:lnTo>
                        <a:pt x="357" y="401"/>
                      </a:lnTo>
                      <a:lnTo>
                        <a:pt x="346" y="408"/>
                      </a:lnTo>
                      <a:lnTo>
                        <a:pt x="334" y="412"/>
                      </a:lnTo>
                      <a:lnTo>
                        <a:pt x="321" y="416"/>
                      </a:lnTo>
                      <a:lnTo>
                        <a:pt x="309" y="419"/>
                      </a:lnTo>
                      <a:lnTo>
                        <a:pt x="294" y="419"/>
                      </a:lnTo>
                      <a:lnTo>
                        <a:pt x="124" y="419"/>
                      </a:lnTo>
                      <a:lnTo>
                        <a:pt x="112" y="419"/>
                      </a:lnTo>
                      <a:lnTo>
                        <a:pt x="99" y="417"/>
                      </a:lnTo>
                      <a:lnTo>
                        <a:pt x="88" y="414"/>
                      </a:lnTo>
                      <a:lnTo>
                        <a:pt x="76" y="409"/>
                      </a:lnTo>
                      <a:lnTo>
                        <a:pt x="65" y="405"/>
                      </a:lnTo>
                      <a:lnTo>
                        <a:pt x="55" y="398"/>
                      </a:lnTo>
                      <a:lnTo>
                        <a:pt x="46" y="390"/>
                      </a:lnTo>
                      <a:lnTo>
                        <a:pt x="36" y="382"/>
                      </a:lnTo>
                      <a:lnTo>
                        <a:pt x="28" y="373"/>
                      </a:lnTo>
                      <a:lnTo>
                        <a:pt x="20" y="364"/>
                      </a:lnTo>
                      <a:lnTo>
                        <a:pt x="14" y="354"/>
                      </a:lnTo>
                      <a:lnTo>
                        <a:pt x="9" y="343"/>
                      </a:lnTo>
                      <a:lnTo>
                        <a:pt x="5" y="332"/>
                      </a:lnTo>
                      <a:lnTo>
                        <a:pt x="2" y="320"/>
                      </a:lnTo>
                      <a:lnTo>
                        <a:pt x="0" y="307"/>
                      </a:lnTo>
                      <a:lnTo>
                        <a:pt x="0" y="294"/>
                      </a:lnTo>
                      <a:lnTo>
                        <a:pt x="0" y="124"/>
                      </a:lnTo>
                      <a:lnTo>
                        <a:pt x="0" y="112"/>
                      </a:lnTo>
                      <a:lnTo>
                        <a:pt x="2" y="99"/>
                      </a:lnTo>
                      <a:lnTo>
                        <a:pt x="5" y="87"/>
                      </a:lnTo>
                      <a:lnTo>
                        <a:pt x="9" y="76"/>
                      </a:lnTo>
                      <a:lnTo>
                        <a:pt x="14" y="65"/>
                      </a:lnTo>
                      <a:lnTo>
                        <a:pt x="20" y="55"/>
                      </a:lnTo>
                      <a:lnTo>
                        <a:pt x="28" y="44"/>
                      </a:lnTo>
                      <a:lnTo>
                        <a:pt x="36" y="36"/>
                      </a:lnTo>
                      <a:lnTo>
                        <a:pt x="46" y="28"/>
                      </a:lnTo>
                      <a:lnTo>
                        <a:pt x="55" y="20"/>
                      </a:lnTo>
                      <a:lnTo>
                        <a:pt x="65" y="14"/>
                      </a:lnTo>
                      <a:lnTo>
                        <a:pt x="76" y="9"/>
                      </a:lnTo>
                      <a:lnTo>
                        <a:pt x="88" y="5"/>
                      </a:lnTo>
                      <a:lnTo>
                        <a:pt x="99" y="2"/>
                      </a:lnTo>
                      <a:lnTo>
                        <a:pt x="112" y="0"/>
                      </a:lnTo>
                      <a:lnTo>
                        <a:pt x="124" y="0"/>
                      </a:lnTo>
                      <a:lnTo>
                        <a:pt x="294" y="0"/>
                      </a:lnTo>
                      <a:lnTo>
                        <a:pt x="307" y="0"/>
                      </a:lnTo>
                      <a:lnTo>
                        <a:pt x="320" y="2"/>
                      </a:lnTo>
                      <a:lnTo>
                        <a:pt x="331" y="5"/>
                      </a:lnTo>
                      <a:lnTo>
                        <a:pt x="342" y="8"/>
                      </a:lnTo>
                      <a:lnTo>
                        <a:pt x="353" y="13"/>
                      </a:lnTo>
                      <a:lnTo>
                        <a:pt x="362" y="19"/>
                      </a:lnTo>
                      <a:lnTo>
                        <a:pt x="371" y="27"/>
                      </a:lnTo>
                      <a:lnTo>
                        <a:pt x="381" y="33"/>
                      </a:lnTo>
                      <a:lnTo>
                        <a:pt x="389" y="42"/>
                      </a:lnTo>
                      <a:lnTo>
                        <a:pt x="395" y="50"/>
                      </a:lnTo>
                      <a:lnTo>
                        <a:pt x="403" y="61"/>
                      </a:lnTo>
                      <a:lnTo>
                        <a:pt x="408" y="71"/>
                      </a:lnTo>
                      <a:lnTo>
                        <a:pt x="412" y="82"/>
                      </a:lnTo>
                      <a:lnTo>
                        <a:pt x="416" y="93"/>
                      </a:lnTo>
                      <a:lnTo>
                        <a:pt x="419" y="105"/>
                      </a:lnTo>
                      <a:lnTo>
                        <a:pt x="419" y="118"/>
                      </a:lnTo>
                      <a:lnTo>
                        <a:pt x="861" y="304"/>
                      </a:lnTo>
                      <a:lnTo>
                        <a:pt x="2031" y="3072"/>
                      </a:lnTo>
                      <a:lnTo>
                        <a:pt x="1807" y="3575"/>
                      </a:lnTo>
                      <a:lnTo>
                        <a:pt x="5187" y="3575"/>
                      </a:lnTo>
                      <a:lnTo>
                        <a:pt x="5187" y="3826"/>
                      </a:lnTo>
                      <a:lnTo>
                        <a:pt x="4688" y="3826"/>
                      </a:lnTo>
                      <a:lnTo>
                        <a:pt x="4688" y="3974"/>
                      </a:lnTo>
                      <a:lnTo>
                        <a:pt x="4722" y="3982"/>
                      </a:lnTo>
                      <a:lnTo>
                        <a:pt x="4757" y="3992"/>
                      </a:lnTo>
                      <a:lnTo>
                        <a:pt x="4788" y="4004"/>
                      </a:lnTo>
                      <a:lnTo>
                        <a:pt x="4820" y="4020"/>
                      </a:lnTo>
                      <a:lnTo>
                        <a:pt x="4850" y="4039"/>
                      </a:lnTo>
                      <a:lnTo>
                        <a:pt x="4876" y="4059"/>
                      </a:lnTo>
                      <a:lnTo>
                        <a:pt x="4902" y="4083"/>
                      </a:lnTo>
                      <a:lnTo>
                        <a:pt x="4925" y="4108"/>
                      </a:lnTo>
                      <a:lnTo>
                        <a:pt x="4947" y="4135"/>
                      </a:lnTo>
                      <a:lnTo>
                        <a:pt x="4966" y="4163"/>
                      </a:lnTo>
                      <a:lnTo>
                        <a:pt x="4982" y="4195"/>
                      </a:lnTo>
                      <a:lnTo>
                        <a:pt x="4996" y="4226"/>
                      </a:lnTo>
                      <a:lnTo>
                        <a:pt x="5007" y="4259"/>
                      </a:lnTo>
                      <a:lnTo>
                        <a:pt x="5015" y="4294"/>
                      </a:lnTo>
                      <a:lnTo>
                        <a:pt x="5020" y="4330"/>
                      </a:lnTo>
                      <a:lnTo>
                        <a:pt x="5021" y="4366"/>
                      </a:lnTo>
                      <a:lnTo>
                        <a:pt x="5021" y="4387"/>
                      </a:lnTo>
                      <a:lnTo>
                        <a:pt x="5020" y="4407"/>
                      </a:lnTo>
                      <a:lnTo>
                        <a:pt x="5017" y="4428"/>
                      </a:lnTo>
                      <a:lnTo>
                        <a:pt x="5013" y="4447"/>
                      </a:lnTo>
                      <a:lnTo>
                        <a:pt x="5009" y="4466"/>
                      </a:lnTo>
                      <a:lnTo>
                        <a:pt x="5004" y="4484"/>
                      </a:lnTo>
                      <a:lnTo>
                        <a:pt x="4998" y="4503"/>
                      </a:lnTo>
                      <a:lnTo>
                        <a:pt x="4991" y="4521"/>
                      </a:lnTo>
                      <a:lnTo>
                        <a:pt x="4974" y="4555"/>
                      </a:lnTo>
                      <a:lnTo>
                        <a:pt x="4954" y="4588"/>
                      </a:lnTo>
                      <a:lnTo>
                        <a:pt x="4932" y="4620"/>
                      </a:lnTo>
                      <a:lnTo>
                        <a:pt x="4906" y="4647"/>
                      </a:lnTo>
                      <a:lnTo>
                        <a:pt x="4878" y="4673"/>
                      </a:lnTo>
                      <a:lnTo>
                        <a:pt x="4847" y="4695"/>
                      </a:lnTo>
                      <a:lnTo>
                        <a:pt x="4813" y="4716"/>
                      </a:lnTo>
                      <a:lnTo>
                        <a:pt x="4779" y="4732"/>
                      </a:lnTo>
                      <a:lnTo>
                        <a:pt x="4762" y="4739"/>
                      </a:lnTo>
                      <a:lnTo>
                        <a:pt x="4743" y="4746"/>
                      </a:lnTo>
                      <a:lnTo>
                        <a:pt x="4724" y="4750"/>
                      </a:lnTo>
                      <a:lnTo>
                        <a:pt x="4705" y="4755"/>
                      </a:lnTo>
                      <a:lnTo>
                        <a:pt x="4686" y="4758"/>
                      </a:lnTo>
                      <a:lnTo>
                        <a:pt x="4666" y="4761"/>
                      </a:lnTo>
                      <a:lnTo>
                        <a:pt x="4645" y="4763"/>
                      </a:lnTo>
                      <a:lnTo>
                        <a:pt x="4625" y="4763"/>
                      </a:lnTo>
                      <a:lnTo>
                        <a:pt x="4604" y="4763"/>
                      </a:lnTo>
                      <a:lnTo>
                        <a:pt x="4584" y="4761"/>
                      </a:lnTo>
                      <a:lnTo>
                        <a:pt x="4565" y="4758"/>
                      </a:lnTo>
                      <a:lnTo>
                        <a:pt x="4544" y="4755"/>
                      </a:lnTo>
                      <a:lnTo>
                        <a:pt x="4525" y="4750"/>
                      </a:lnTo>
                      <a:lnTo>
                        <a:pt x="4507" y="4746"/>
                      </a:lnTo>
                      <a:lnTo>
                        <a:pt x="4489" y="4739"/>
                      </a:lnTo>
                      <a:lnTo>
                        <a:pt x="4470" y="4732"/>
                      </a:lnTo>
                      <a:lnTo>
                        <a:pt x="4436" y="4716"/>
                      </a:lnTo>
                      <a:lnTo>
                        <a:pt x="4403" y="4695"/>
                      </a:lnTo>
                      <a:lnTo>
                        <a:pt x="4373" y="4673"/>
                      </a:lnTo>
                      <a:lnTo>
                        <a:pt x="4344" y="4647"/>
                      </a:lnTo>
                      <a:lnTo>
                        <a:pt x="4319" y="4620"/>
                      </a:lnTo>
                      <a:lnTo>
                        <a:pt x="4296" y="4588"/>
                      </a:lnTo>
                      <a:lnTo>
                        <a:pt x="4275" y="4555"/>
                      </a:lnTo>
                      <a:lnTo>
                        <a:pt x="4259" y="4521"/>
                      </a:lnTo>
                      <a:lnTo>
                        <a:pt x="4252" y="4503"/>
                      </a:lnTo>
                      <a:lnTo>
                        <a:pt x="4245" y="4484"/>
                      </a:lnTo>
                      <a:lnTo>
                        <a:pt x="4241" y="4466"/>
                      </a:lnTo>
                      <a:lnTo>
                        <a:pt x="4236" y="4447"/>
                      </a:lnTo>
                      <a:lnTo>
                        <a:pt x="4233" y="4428"/>
                      </a:lnTo>
                      <a:lnTo>
                        <a:pt x="4230" y="4407"/>
                      </a:lnTo>
                      <a:lnTo>
                        <a:pt x="4228" y="4387"/>
                      </a:lnTo>
                      <a:lnTo>
                        <a:pt x="4228" y="4366"/>
                      </a:lnTo>
                      <a:lnTo>
                        <a:pt x="4230" y="4330"/>
                      </a:lnTo>
                      <a:lnTo>
                        <a:pt x="4234" y="4294"/>
                      </a:lnTo>
                      <a:lnTo>
                        <a:pt x="4242" y="4259"/>
                      </a:lnTo>
                      <a:lnTo>
                        <a:pt x="4253" y="4226"/>
                      </a:lnTo>
                      <a:lnTo>
                        <a:pt x="4267" y="4195"/>
                      </a:lnTo>
                      <a:lnTo>
                        <a:pt x="4283" y="4163"/>
                      </a:lnTo>
                      <a:lnTo>
                        <a:pt x="4302" y="4135"/>
                      </a:lnTo>
                      <a:lnTo>
                        <a:pt x="4324" y="4108"/>
                      </a:lnTo>
                      <a:lnTo>
                        <a:pt x="4348" y="4083"/>
                      </a:lnTo>
                      <a:lnTo>
                        <a:pt x="4373" y="4059"/>
                      </a:lnTo>
                      <a:lnTo>
                        <a:pt x="4401" y="4039"/>
                      </a:lnTo>
                      <a:lnTo>
                        <a:pt x="4429" y="4020"/>
                      </a:lnTo>
                      <a:lnTo>
                        <a:pt x="4461" y="4004"/>
                      </a:lnTo>
                      <a:lnTo>
                        <a:pt x="4494" y="3992"/>
                      </a:lnTo>
                      <a:lnTo>
                        <a:pt x="4527" y="3982"/>
                      </a:lnTo>
                      <a:lnTo>
                        <a:pt x="4562" y="3974"/>
                      </a:lnTo>
                      <a:lnTo>
                        <a:pt x="4562" y="3826"/>
                      </a:lnTo>
                      <a:lnTo>
                        <a:pt x="2411" y="3826"/>
                      </a:lnTo>
                      <a:lnTo>
                        <a:pt x="2411" y="3974"/>
                      </a:lnTo>
                      <a:lnTo>
                        <a:pt x="2448" y="3982"/>
                      </a:lnTo>
                      <a:lnTo>
                        <a:pt x="2481" y="3992"/>
                      </a:lnTo>
                      <a:lnTo>
                        <a:pt x="2514" y="4004"/>
                      </a:lnTo>
                      <a:lnTo>
                        <a:pt x="2544" y="4020"/>
                      </a:lnTo>
                      <a:lnTo>
                        <a:pt x="2574" y="4039"/>
                      </a:lnTo>
                      <a:lnTo>
                        <a:pt x="2600" y="4059"/>
                      </a:lnTo>
                      <a:lnTo>
                        <a:pt x="2627" y="4083"/>
                      </a:lnTo>
                      <a:lnTo>
                        <a:pt x="2651" y="4108"/>
                      </a:lnTo>
                      <a:lnTo>
                        <a:pt x="2671" y="4135"/>
                      </a:lnTo>
                      <a:lnTo>
                        <a:pt x="2690" y="4163"/>
                      </a:lnTo>
                      <a:lnTo>
                        <a:pt x="2707" y="4195"/>
                      </a:lnTo>
                      <a:lnTo>
                        <a:pt x="2720" y="4226"/>
                      </a:lnTo>
                      <a:lnTo>
                        <a:pt x="2731" y="4259"/>
                      </a:lnTo>
                      <a:lnTo>
                        <a:pt x="2739" y="4294"/>
                      </a:lnTo>
                      <a:lnTo>
                        <a:pt x="2745" y="4330"/>
                      </a:lnTo>
                      <a:lnTo>
                        <a:pt x="2747" y="4366"/>
                      </a:lnTo>
                      <a:lnTo>
                        <a:pt x="2745" y="4387"/>
                      </a:lnTo>
                      <a:lnTo>
                        <a:pt x="2744" y="4407"/>
                      </a:lnTo>
                      <a:lnTo>
                        <a:pt x="2742" y="4428"/>
                      </a:lnTo>
                      <a:lnTo>
                        <a:pt x="2737" y="4447"/>
                      </a:lnTo>
                      <a:lnTo>
                        <a:pt x="2734" y="4466"/>
                      </a:lnTo>
                      <a:lnTo>
                        <a:pt x="2728" y="4484"/>
                      </a:lnTo>
                      <a:lnTo>
                        <a:pt x="2722" y="4503"/>
                      </a:lnTo>
                      <a:lnTo>
                        <a:pt x="2715" y="4521"/>
                      </a:lnTo>
                      <a:lnTo>
                        <a:pt x="2698" y="4555"/>
                      </a:lnTo>
                      <a:lnTo>
                        <a:pt x="2679" y="4588"/>
                      </a:lnTo>
                      <a:lnTo>
                        <a:pt x="2655" y="4620"/>
                      </a:lnTo>
                      <a:lnTo>
                        <a:pt x="2630" y="4647"/>
                      </a:lnTo>
                      <a:lnTo>
                        <a:pt x="2602" y="4673"/>
                      </a:lnTo>
                      <a:lnTo>
                        <a:pt x="2570" y="4695"/>
                      </a:lnTo>
                      <a:lnTo>
                        <a:pt x="2539" y="4716"/>
                      </a:lnTo>
                      <a:lnTo>
                        <a:pt x="2504" y="4732"/>
                      </a:lnTo>
                      <a:lnTo>
                        <a:pt x="2485" y="4739"/>
                      </a:lnTo>
                      <a:lnTo>
                        <a:pt x="2467" y="4746"/>
                      </a:lnTo>
                      <a:lnTo>
                        <a:pt x="2448" y="4750"/>
                      </a:lnTo>
                      <a:lnTo>
                        <a:pt x="2429" y="4755"/>
                      </a:lnTo>
                      <a:lnTo>
                        <a:pt x="2410" y="4758"/>
                      </a:lnTo>
                      <a:lnTo>
                        <a:pt x="2389" y="4761"/>
                      </a:lnTo>
                      <a:lnTo>
                        <a:pt x="2369" y="4763"/>
                      </a:lnTo>
                      <a:lnTo>
                        <a:pt x="2349" y="4763"/>
                      </a:lnTo>
                      <a:lnTo>
                        <a:pt x="2328" y="4763"/>
                      </a:lnTo>
                      <a:lnTo>
                        <a:pt x="2309" y="4761"/>
                      </a:lnTo>
                      <a:lnTo>
                        <a:pt x="2289" y="4758"/>
                      </a:lnTo>
                      <a:lnTo>
                        <a:pt x="2270" y="4755"/>
                      </a:lnTo>
                      <a:lnTo>
                        <a:pt x="2249" y="4750"/>
                      </a:lnTo>
                      <a:lnTo>
                        <a:pt x="2230" y="4746"/>
                      </a:lnTo>
                      <a:lnTo>
                        <a:pt x="2213" y="4739"/>
                      </a:lnTo>
                      <a:lnTo>
                        <a:pt x="2194" y="4732"/>
                      </a:lnTo>
                      <a:lnTo>
                        <a:pt x="2160" y="4716"/>
                      </a:lnTo>
                      <a:lnTo>
                        <a:pt x="2127" y="4695"/>
                      </a:lnTo>
                      <a:lnTo>
                        <a:pt x="2097" y="4673"/>
                      </a:lnTo>
                      <a:lnTo>
                        <a:pt x="2068" y="4647"/>
                      </a:lnTo>
                      <a:lnTo>
                        <a:pt x="2043" y="4620"/>
                      </a:lnTo>
                      <a:lnTo>
                        <a:pt x="2020" y="4588"/>
                      </a:lnTo>
                      <a:lnTo>
                        <a:pt x="2001" y="4555"/>
                      </a:lnTo>
                      <a:lnTo>
                        <a:pt x="1983" y="4521"/>
                      </a:lnTo>
                      <a:lnTo>
                        <a:pt x="1977" y="4503"/>
                      </a:lnTo>
                      <a:lnTo>
                        <a:pt x="1971" y="4484"/>
                      </a:lnTo>
                      <a:lnTo>
                        <a:pt x="1964" y="4466"/>
                      </a:lnTo>
                      <a:lnTo>
                        <a:pt x="1960" y="4447"/>
                      </a:lnTo>
                      <a:lnTo>
                        <a:pt x="1957" y="4428"/>
                      </a:lnTo>
                      <a:lnTo>
                        <a:pt x="1955" y="4407"/>
                      </a:lnTo>
                      <a:lnTo>
                        <a:pt x="1953" y="4387"/>
                      </a:lnTo>
                      <a:lnTo>
                        <a:pt x="1952" y="4366"/>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sp>
              <p:nvSpPr>
                <p:cNvPr id="226" name="Freeform 53"/>
                <p:cNvSpPr>
                  <a:spLocks noChangeAspect="1" noEditPoints="1"/>
                </p:cNvSpPr>
                <p:nvPr/>
              </p:nvSpPr>
              <p:spPr bwMode="auto">
                <a:xfrm>
                  <a:off x="10181969" y="3984563"/>
                  <a:ext cx="178989" cy="234061"/>
                </a:xfrm>
                <a:custGeom>
                  <a:avLst/>
                  <a:gdLst>
                    <a:gd name="T0" fmla="*/ 998 w 1950"/>
                    <a:gd name="T1" fmla="*/ 750 h 2550"/>
                    <a:gd name="T2" fmla="*/ 923 w 1950"/>
                    <a:gd name="T3" fmla="*/ 377 h 2550"/>
                    <a:gd name="T4" fmla="*/ 1033 w 1950"/>
                    <a:gd name="T5" fmla="*/ 392 h 2550"/>
                    <a:gd name="T6" fmla="*/ 1178 w 1950"/>
                    <a:gd name="T7" fmla="*/ 371 h 2550"/>
                    <a:gd name="T8" fmla="*/ 1175 w 1950"/>
                    <a:gd name="T9" fmla="*/ 136 h 2550"/>
                    <a:gd name="T10" fmla="*/ 1054 w 1950"/>
                    <a:gd name="T11" fmla="*/ 8 h 2550"/>
                    <a:gd name="T12" fmla="*/ 857 w 1950"/>
                    <a:gd name="T13" fmla="*/ 56 h 2550"/>
                    <a:gd name="T14" fmla="*/ 805 w 1950"/>
                    <a:gd name="T15" fmla="*/ 335 h 2550"/>
                    <a:gd name="T16" fmla="*/ 881 w 1950"/>
                    <a:gd name="T17" fmla="*/ 209 h 2550"/>
                    <a:gd name="T18" fmla="*/ 961 w 1950"/>
                    <a:gd name="T19" fmla="*/ 197 h 2550"/>
                    <a:gd name="T20" fmla="*/ 1107 w 1950"/>
                    <a:gd name="T21" fmla="*/ 198 h 2550"/>
                    <a:gd name="T22" fmla="*/ 1066 w 1950"/>
                    <a:gd name="T23" fmla="*/ 341 h 2550"/>
                    <a:gd name="T24" fmla="*/ 951 w 1950"/>
                    <a:gd name="T25" fmla="*/ 360 h 2550"/>
                    <a:gd name="T26" fmla="*/ 881 w 1950"/>
                    <a:gd name="T27" fmla="*/ 243 h 2550"/>
                    <a:gd name="T28" fmla="*/ 360 w 1950"/>
                    <a:gd name="T29" fmla="*/ 472 h 2550"/>
                    <a:gd name="T30" fmla="*/ 501 w 1950"/>
                    <a:gd name="T31" fmla="*/ 492 h 2550"/>
                    <a:gd name="T32" fmla="*/ 591 w 1950"/>
                    <a:gd name="T33" fmla="*/ 356 h 2550"/>
                    <a:gd name="T34" fmla="*/ 540 w 1950"/>
                    <a:gd name="T35" fmla="*/ 144 h 2550"/>
                    <a:gd name="T36" fmla="*/ 405 w 1950"/>
                    <a:gd name="T37" fmla="*/ 126 h 2550"/>
                    <a:gd name="T38" fmla="*/ 267 w 1950"/>
                    <a:gd name="T39" fmla="*/ 229 h 2550"/>
                    <a:gd name="T40" fmla="*/ 404 w 1950"/>
                    <a:gd name="T41" fmla="*/ 289 h 2550"/>
                    <a:gd name="T42" fmla="*/ 552 w 1950"/>
                    <a:gd name="T43" fmla="*/ 257 h 2550"/>
                    <a:gd name="T44" fmla="*/ 534 w 1950"/>
                    <a:gd name="T45" fmla="*/ 428 h 2550"/>
                    <a:gd name="T46" fmla="*/ 424 w 1950"/>
                    <a:gd name="T47" fmla="*/ 472 h 2550"/>
                    <a:gd name="T48" fmla="*/ 334 w 1950"/>
                    <a:gd name="T49" fmla="*/ 371 h 2550"/>
                    <a:gd name="T50" fmla="*/ 447 w 1950"/>
                    <a:gd name="T51" fmla="*/ 567 h 2550"/>
                    <a:gd name="T52" fmla="*/ 100 w 1950"/>
                    <a:gd name="T53" fmla="*/ 1431 h 2550"/>
                    <a:gd name="T54" fmla="*/ 136 w 1950"/>
                    <a:gd name="T55" fmla="*/ 1435 h 2550"/>
                    <a:gd name="T56" fmla="*/ 119 w 1950"/>
                    <a:gd name="T57" fmla="*/ 1403 h 2550"/>
                    <a:gd name="T58" fmla="*/ 1913 w 1950"/>
                    <a:gd name="T59" fmla="*/ 1333 h 2550"/>
                    <a:gd name="T60" fmla="*/ 1599 w 1950"/>
                    <a:gd name="T61" fmla="*/ 815 h 2550"/>
                    <a:gd name="T62" fmla="*/ 1548 w 1950"/>
                    <a:gd name="T63" fmla="*/ 835 h 2550"/>
                    <a:gd name="T64" fmla="*/ 1359 w 1950"/>
                    <a:gd name="T65" fmla="*/ 558 h 2550"/>
                    <a:gd name="T66" fmla="*/ 1231 w 1950"/>
                    <a:gd name="T67" fmla="*/ 456 h 2550"/>
                    <a:gd name="T68" fmla="*/ 817 w 1950"/>
                    <a:gd name="T69" fmla="*/ 537 h 2550"/>
                    <a:gd name="T70" fmla="*/ 676 w 1950"/>
                    <a:gd name="T71" fmla="*/ 504 h 2550"/>
                    <a:gd name="T72" fmla="*/ 744 w 1950"/>
                    <a:gd name="T73" fmla="*/ 1355 h 2550"/>
                    <a:gd name="T74" fmla="*/ 87 w 1950"/>
                    <a:gd name="T75" fmla="*/ 725 h 2550"/>
                    <a:gd name="T76" fmla="*/ 106 w 1950"/>
                    <a:gd name="T77" fmla="*/ 622 h 2550"/>
                    <a:gd name="T78" fmla="*/ 60 w 1950"/>
                    <a:gd name="T79" fmla="*/ 1535 h 2550"/>
                    <a:gd name="T80" fmla="*/ 846 w 1950"/>
                    <a:gd name="T81" fmla="*/ 2024 h 2550"/>
                    <a:gd name="T82" fmla="*/ 1403 w 1950"/>
                    <a:gd name="T83" fmla="*/ 2059 h 2550"/>
                    <a:gd name="T84" fmla="*/ 186 w 1950"/>
                    <a:gd name="T85" fmla="*/ 1505 h 2550"/>
                    <a:gd name="T86" fmla="*/ 1714 w 1950"/>
                    <a:gd name="T87" fmla="*/ 905 h 2550"/>
                    <a:gd name="T88" fmla="*/ 1366 w 1950"/>
                    <a:gd name="T89" fmla="*/ 1202 h 2550"/>
                    <a:gd name="T90" fmla="*/ 1563 w 1950"/>
                    <a:gd name="T91" fmla="*/ 871 h 2550"/>
                    <a:gd name="T92" fmla="*/ 1785 w 1950"/>
                    <a:gd name="T93" fmla="*/ 689 h 2550"/>
                    <a:gd name="T94" fmla="*/ 1854 w 1950"/>
                    <a:gd name="T95" fmla="*/ 1323 h 2550"/>
                    <a:gd name="T96" fmla="*/ 1526 w 1950"/>
                    <a:gd name="T97" fmla="*/ 539 h 2550"/>
                    <a:gd name="T98" fmla="*/ 1669 w 1950"/>
                    <a:gd name="T99" fmla="*/ 533 h 2550"/>
                    <a:gd name="T100" fmla="*/ 1722 w 1950"/>
                    <a:gd name="T101" fmla="*/ 469 h 2550"/>
                    <a:gd name="T102" fmla="*/ 1711 w 1950"/>
                    <a:gd name="T103" fmla="*/ 380 h 2550"/>
                    <a:gd name="T104" fmla="*/ 1646 w 1950"/>
                    <a:gd name="T105" fmla="*/ 195 h 2550"/>
                    <a:gd name="T106" fmla="*/ 1488 w 1950"/>
                    <a:gd name="T107" fmla="*/ 186 h 2550"/>
                    <a:gd name="T108" fmla="*/ 1410 w 1950"/>
                    <a:gd name="T109" fmla="*/ 380 h 2550"/>
                    <a:gd name="T110" fmla="*/ 1410 w 1950"/>
                    <a:gd name="T111" fmla="*/ 468 h 2550"/>
                    <a:gd name="T112" fmla="*/ 1453 w 1950"/>
                    <a:gd name="T113" fmla="*/ 533 h 2550"/>
                    <a:gd name="T114" fmla="*/ 1529 w 1950"/>
                    <a:gd name="T115" fmla="*/ 334 h 2550"/>
                    <a:gd name="T116" fmla="*/ 1625 w 1950"/>
                    <a:gd name="T117" fmla="*/ 255 h 2550"/>
                    <a:gd name="T118" fmla="*/ 1665 w 1950"/>
                    <a:gd name="T119" fmla="*/ 406 h 2550"/>
                    <a:gd name="T120" fmla="*/ 1591 w 1950"/>
                    <a:gd name="T121" fmla="*/ 508 h 2550"/>
                    <a:gd name="T122" fmla="*/ 1486 w 1950"/>
                    <a:gd name="T123" fmla="*/ 479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550">
                      <a:moveTo>
                        <a:pt x="1157" y="444"/>
                      </a:moveTo>
                      <a:lnTo>
                        <a:pt x="1106" y="436"/>
                      </a:lnTo>
                      <a:lnTo>
                        <a:pt x="998" y="663"/>
                      </a:lnTo>
                      <a:lnTo>
                        <a:pt x="889" y="433"/>
                      </a:lnTo>
                      <a:lnTo>
                        <a:pt x="847" y="442"/>
                      </a:lnTo>
                      <a:lnTo>
                        <a:pt x="847" y="442"/>
                      </a:lnTo>
                      <a:lnTo>
                        <a:pt x="847" y="476"/>
                      </a:lnTo>
                      <a:lnTo>
                        <a:pt x="847" y="476"/>
                      </a:lnTo>
                      <a:lnTo>
                        <a:pt x="846" y="516"/>
                      </a:lnTo>
                      <a:lnTo>
                        <a:pt x="910" y="536"/>
                      </a:lnTo>
                      <a:lnTo>
                        <a:pt x="857" y="584"/>
                      </a:lnTo>
                      <a:lnTo>
                        <a:pt x="998" y="750"/>
                      </a:lnTo>
                      <a:lnTo>
                        <a:pt x="1147" y="584"/>
                      </a:lnTo>
                      <a:lnTo>
                        <a:pt x="1095" y="536"/>
                      </a:lnTo>
                      <a:lnTo>
                        <a:pt x="1158" y="516"/>
                      </a:lnTo>
                      <a:lnTo>
                        <a:pt x="1158" y="516"/>
                      </a:lnTo>
                      <a:lnTo>
                        <a:pt x="1157" y="444"/>
                      </a:lnTo>
                      <a:lnTo>
                        <a:pt x="1157" y="444"/>
                      </a:lnTo>
                      <a:close/>
                      <a:moveTo>
                        <a:pt x="877" y="380"/>
                      </a:moveTo>
                      <a:lnTo>
                        <a:pt x="877" y="380"/>
                      </a:lnTo>
                      <a:lnTo>
                        <a:pt x="892" y="380"/>
                      </a:lnTo>
                      <a:lnTo>
                        <a:pt x="905" y="379"/>
                      </a:lnTo>
                      <a:lnTo>
                        <a:pt x="915" y="378"/>
                      </a:lnTo>
                      <a:lnTo>
                        <a:pt x="923" y="377"/>
                      </a:lnTo>
                      <a:lnTo>
                        <a:pt x="923" y="377"/>
                      </a:lnTo>
                      <a:lnTo>
                        <a:pt x="938" y="386"/>
                      </a:lnTo>
                      <a:lnTo>
                        <a:pt x="956" y="392"/>
                      </a:lnTo>
                      <a:lnTo>
                        <a:pt x="965" y="396"/>
                      </a:lnTo>
                      <a:lnTo>
                        <a:pt x="974" y="397"/>
                      </a:lnTo>
                      <a:lnTo>
                        <a:pt x="985" y="398"/>
                      </a:lnTo>
                      <a:lnTo>
                        <a:pt x="995" y="399"/>
                      </a:lnTo>
                      <a:lnTo>
                        <a:pt x="995" y="399"/>
                      </a:lnTo>
                      <a:lnTo>
                        <a:pt x="1005" y="398"/>
                      </a:lnTo>
                      <a:lnTo>
                        <a:pt x="1014" y="397"/>
                      </a:lnTo>
                      <a:lnTo>
                        <a:pt x="1024" y="395"/>
                      </a:lnTo>
                      <a:lnTo>
                        <a:pt x="1033" y="392"/>
                      </a:lnTo>
                      <a:lnTo>
                        <a:pt x="1042" y="389"/>
                      </a:lnTo>
                      <a:lnTo>
                        <a:pt x="1051" y="386"/>
                      </a:lnTo>
                      <a:lnTo>
                        <a:pt x="1068" y="376"/>
                      </a:lnTo>
                      <a:lnTo>
                        <a:pt x="1068" y="376"/>
                      </a:lnTo>
                      <a:lnTo>
                        <a:pt x="1097" y="378"/>
                      </a:lnTo>
                      <a:lnTo>
                        <a:pt x="1131" y="378"/>
                      </a:lnTo>
                      <a:lnTo>
                        <a:pt x="1147" y="378"/>
                      </a:lnTo>
                      <a:lnTo>
                        <a:pt x="1161" y="377"/>
                      </a:lnTo>
                      <a:lnTo>
                        <a:pt x="1171" y="374"/>
                      </a:lnTo>
                      <a:lnTo>
                        <a:pt x="1176" y="373"/>
                      </a:lnTo>
                      <a:lnTo>
                        <a:pt x="1178" y="371"/>
                      </a:lnTo>
                      <a:lnTo>
                        <a:pt x="1178" y="371"/>
                      </a:lnTo>
                      <a:lnTo>
                        <a:pt x="1181" y="368"/>
                      </a:lnTo>
                      <a:lnTo>
                        <a:pt x="1184" y="361"/>
                      </a:lnTo>
                      <a:lnTo>
                        <a:pt x="1186" y="352"/>
                      </a:lnTo>
                      <a:lnTo>
                        <a:pt x="1187" y="341"/>
                      </a:lnTo>
                      <a:lnTo>
                        <a:pt x="1189" y="314"/>
                      </a:lnTo>
                      <a:lnTo>
                        <a:pt x="1189" y="281"/>
                      </a:lnTo>
                      <a:lnTo>
                        <a:pt x="1188" y="246"/>
                      </a:lnTo>
                      <a:lnTo>
                        <a:pt x="1186" y="211"/>
                      </a:lnTo>
                      <a:lnTo>
                        <a:pt x="1183" y="178"/>
                      </a:lnTo>
                      <a:lnTo>
                        <a:pt x="1178" y="148"/>
                      </a:lnTo>
                      <a:lnTo>
                        <a:pt x="1178" y="148"/>
                      </a:lnTo>
                      <a:lnTo>
                        <a:pt x="1175" y="136"/>
                      </a:lnTo>
                      <a:lnTo>
                        <a:pt x="1171" y="123"/>
                      </a:lnTo>
                      <a:lnTo>
                        <a:pt x="1167" y="109"/>
                      </a:lnTo>
                      <a:lnTo>
                        <a:pt x="1162" y="96"/>
                      </a:lnTo>
                      <a:lnTo>
                        <a:pt x="1156" y="83"/>
                      </a:lnTo>
                      <a:lnTo>
                        <a:pt x="1148" y="71"/>
                      </a:lnTo>
                      <a:lnTo>
                        <a:pt x="1139" y="60"/>
                      </a:lnTo>
                      <a:lnTo>
                        <a:pt x="1129" y="48"/>
                      </a:lnTo>
                      <a:lnTo>
                        <a:pt x="1117" y="38"/>
                      </a:lnTo>
                      <a:lnTo>
                        <a:pt x="1104" y="28"/>
                      </a:lnTo>
                      <a:lnTo>
                        <a:pt x="1089" y="20"/>
                      </a:lnTo>
                      <a:lnTo>
                        <a:pt x="1073" y="13"/>
                      </a:lnTo>
                      <a:lnTo>
                        <a:pt x="1054" y="8"/>
                      </a:lnTo>
                      <a:lnTo>
                        <a:pt x="1035" y="3"/>
                      </a:lnTo>
                      <a:lnTo>
                        <a:pt x="1013" y="1"/>
                      </a:lnTo>
                      <a:lnTo>
                        <a:pt x="989" y="0"/>
                      </a:lnTo>
                      <a:lnTo>
                        <a:pt x="989" y="0"/>
                      </a:lnTo>
                      <a:lnTo>
                        <a:pt x="964" y="1"/>
                      </a:lnTo>
                      <a:lnTo>
                        <a:pt x="943" y="4"/>
                      </a:lnTo>
                      <a:lnTo>
                        <a:pt x="924" y="10"/>
                      </a:lnTo>
                      <a:lnTo>
                        <a:pt x="907" y="17"/>
                      </a:lnTo>
                      <a:lnTo>
                        <a:pt x="892" y="25"/>
                      </a:lnTo>
                      <a:lnTo>
                        <a:pt x="879" y="35"/>
                      </a:lnTo>
                      <a:lnTo>
                        <a:pt x="868" y="45"/>
                      </a:lnTo>
                      <a:lnTo>
                        <a:pt x="857" y="56"/>
                      </a:lnTo>
                      <a:lnTo>
                        <a:pt x="850" y="69"/>
                      </a:lnTo>
                      <a:lnTo>
                        <a:pt x="843" y="80"/>
                      </a:lnTo>
                      <a:lnTo>
                        <a:pt x="837" y="92"/>
                      </a:lnTo>
                      <a:lnTo>
                        <a:pt x="832" y="105"/>
                      </a:lnTo>
                      <a:lnTo>
                        <a:pt x="828" y="116"/>
                      </a:lnTo>
                      <a:lnTo>
                        <a:pt x="826" y="127"/>
                      </a:lnTo>
                      <a:lnTo>
                        <a:pt x="821" y="147"/>
                      </a:lnTo>
                      <a:lnTo>
                        <a:pt x="821" y="147"/>
                      </a:lnTo>
                      <a:lnTo>
                        <a:pt x="816" y="195"/>
                      </a:lnTo>
                      <a:lnTo>
                        <a:pt x="809" y="257"/>
                      </a:lnTo>
                      <a:lnTo>
                        <a:pt x="805" y="314"/>
                      </a:lnTo>
                      <a:lnTo>
                        <a:pt x="805" y="335"/>
                      </a:lnTo>
                      <a:lnTo>
                        <a:pt x="805" y="347"/>
                      </a:lnTo>
                      <a:lnTo>
                        <a:pt x="805" y="347"/>
                      </a:lnTo>
                      <a:lnTo>
                        <a:pt x="807" y="352"/>
                      </a:lnTo>
                      <a:lnTo>
                        <a:pt x="810" y="358"/>
                      </a:lnTo>
                      <a:lnTo>
                        <a:pt x="815" y="363"/>
                      </a:lnTo>
                      <a:lnTo>
                        <a:pt x="821" y="369"/>
                      </a:lnTo>
                      <a:lnTo>
                        <a:pt x="830" y="373"/>
                      </a:lnTo>
                      <a:lnTo>
                        <a:pt x="843" y="377"/>
                      </a:lnTo>
                      <a:lnTo>
                        <a:pt x="859" y="379"/>
                      </a:lnTo>
                      <a:lnTo>
                        <a:pt x="877" y="380"/>
                      </a:lnTo>
                      <a:lnTo>
                        <a:pt x="877" y="380"/>
                      </a:lnTo>
                      <a:close/>
                      <a:moveTo>
                        <a:pt x="881" y="209"/>
                      </a:moveTo>
                      <a:lnTo>
                        <a:pt x="881" y="209"/>
                      </a:lnTo>
                      <a:lnTo>
                        <a:pt x="882" y="191"/>
                      </a:lnTo>
                      <a:lnTo>
                        <a:pt x="886" y="174"/>
                      </a:lnTo>
                      <a:lnTo>
                        <a:pt x="886" y="174"/>
                      </a:lnTo>
                      <a:lnTo>
                        <a:pt x="890" y="180"/>
                      </a:lnTo>
                      <a:lnTo>
                        <a:pt x="895" y="184"/>
                      </a:lnTo>
                      <a:lnTo>
                        <a:pt x="901" y="189"/>
                      </a:lnTo>
                      <a:lnTo>
                        <a:pt x="910" y="192"/>
                      </a:lnTo>
                      <a:lnTo>
                        <a:pt x="920" y="196"/>
                      </a:lnTo>
                      <a:lnTo>
                        <a:pt x="932" y="197"/>
                      </a:lnTo>
                      <a:lnTo>
                        <a:pt x="945" y="198"/>
                      </a:lnTo>
                      <a:lnTo>
                        <a:pt x="961" y="197"/>
                      </a:lnTo>
                      <a:lnTo>
                        <a:pt x="961" y="197"/>
                      </a:lnTo>
                      <a:lnTo>
                        <a:pt x="979" y="193"/>
                      </a:lnTo>
                      <a:lnTo>
                        <a:pt x="994" y="189"/>
                      </a:lnTo>
                      <a:lnTo>
                        <a:pt x="1019" y="179"/>
                      </a:lnTo>
                      <a:lnTo>
                        <a:pt x="1034" y="174"/>
                      </a:lnTo>
                      <a:lnTo>
                        <a:pt x="1051" y="170"/>
                      </a:lnTo>
                      <a:lnTo>
                        <a:pt x="1073" y="168"/>
                      </a:lnTo>
                      <a:lnTo>
                        <a:pt x="1100" y="166"/>
                      </a:lnTo>
                      <a:lnTo>
                        <a:pt x="1100" y="166"/>
                      </a:lnTo>
                      <a:lnTo>
                        <a:pt x="1104" y="177"/>
                      </a:lnTo>
                      <a:lnTo>
                        <a:pt x="1106" y="187"/>
                      </a:lnTo>
                      <a:lnTo>
                        <a:pt x="1107" y="198"/>
                      </a:lnTo>
                      <a:lnTo>
                        <a:pt x="1108" y="209"/>
                      </a:lnTo>
                      <a:lnTo>
                        <a:pt x="1108" y="243"/>
                      </a:lnTo>
                      <a:lnTo>
                        <a:pt x="1108" y="243"/>
                      </a:lnTo>
                      <a:lnTo>
                        <a:pt x="1107" y="255"/>
                      </a:lnTo>
                      <a:lnTo>
                        <a:pt x="1106" y="269"/>
                      </a:lnTo>
                      <a:lnTo>
                        <a:pt x="1103" y="280"/>
                      </a:lnTo>
                      <a:lnTo>
                        <a:pt x="1099" y="292"/>
                      </a:lnTo>
                      <a:lnTo>
                        <a:pt x="1094" y="304"/>
                      </a:lnTo>
                      <a:lnTo>
                        <a:pt x="1088" y="314"/>
                      </a:lnTo>
                      <a:lnTo>
                        <a:pt x="1081" y="324"/>
                      </a:lnTo>
                      <a:lnTo>
                        <a:pt x="1075" y="333"/>
                      </a:lnTo>
                      <a:lnTo>
                        <a:pt x="1066" y="341"/>
                      </a:lnTo>
                      <a:lnTo>
                        <a:pt x="1058" y="347"/>
                      </a:lnTo>
                      <a:lnTo>
                        <a:pt x="1048" y="354"/>
                      </a:lnTo>
                      <a:lnTo>
                        <a:pt x="1037" y="360"/>
                      </a:lnTo>
                      <a:lnTo>
                        <a:pt x="1027" y="363"/>
                      </a:lnTo>
                      <a:lnTo>
                        <a:pt x="1017" y="367"/>
                      </a:lnTo>
                      <a:lnTo>
                        <a:pt x="1006" y="369"/>
                      </a:lnTo>
                      <a:lnTo>
                        <a:pt x="995" y="369"/>
                      </a:lnTo>
                      <a:lnTo>
                        <a:pt x="995" y="369"/>
                      </a:lnTo>
                      <a:lnTo>
                        <a:pt x="983" y="369"/>
                      </a:lnTo>
                      <a:lnTo>
                        <a:pt x="972" y="367"/>
                      </a:lnTo>
                      <a:lnTo>
                        <a:pt x="961" y="363"/>
                      </a:lnTo>
                      <a:lnTo>
                        <a:pt x="951" y="360"/>
                      </a:lnTo>
                      <a:lnTo>
                        <a:pt x="941" y="354"/>
                      </a:lnTo>
                      <a:lnTo>
                        <a:pt x="932" y="347"/>
                      </a:lnTo>
                      <a:lnTo>
                        <a:pt x="923" y="341"/>
                      </a:lnTo>
                      <a:lnTo>
                        <a:pt x="915" y="333"/>
                      </a:lnTo>
                      <a:lnTo>
                        <a:pt x="907" y="324"/>
                      </a:lnTo>
                      <a:lnTo>
                        <a:pt x="900" y="314"/>
                      </a:lnTo>
                      <a:lnTo>
                        <a:pt x="895" y="304"/>
                      </a:lnTo>
                      <a:lnTo>
                        <a:pt x="890" y="292"/>
                      </a:lnTo>
                      <a:lnTo>
                        <a:pt x="886" y="280"/>
                      </a:lnTo>
                      <a:lnTo>
                        <a:pt x="883" y="269"/>
                      </a:lnTo>
                      <a:lnTo>
                        <a:pt x="881" y="255"/>
                      </a:lnTo>
                      <a:lnTo>
                        <a:pt x="881" y="243"/>
                      </a:lnTo>
                      <a:lnTo>
                        <a:pt x="881" y="209"/>
                      </a:lnTo>
                      <a:close/>
                      <a:moveTo>
                        <a:pt x="304" y="362"/>
                      </a:moveTo>
                      <a:lnTo>
                        <a:pt x="304" y="362"/>
                      </a:lnTo>
                      <a:lnTo>
                        <a:pt x="306" y="377"/>
                      </a:lnTo>
                      <a:lnTo>
                        <a:pt x="309" y="391"/>
                      </a:lnTo>
                      <a:lnTo>
                        <a:pt x="314" y="405"/>
                      </a:lnTo>
                      <a:lnTo>
                        <a:pt x="320" y="418"/>
                      </a:lnTo>
                      <a:lnTo>
                        <a:pt x="325" y="431"/>
                      </a:lnTo>
                      <a:lnTo>
                        <a:pt x="333" y="442"/>
                      </a:lnTo>
                      <a:lnTo>
                        <a:pt x="341" y="453"/>
                      </a:lnTo>
                      <a:lnTo>
                        <a:pt x="350" y="463"/>
                      </a:lnTo>
                      <a:lnTo>
                        <a:pt x="360" y="472"/>
                      </a:lnTo>
                      <a:lnTo>
                        <a:pt x="370" y="480"/>
                      </a:lnTo>
                      <a:lnTo>
                        <a:pt x="381" y="487"/>
                      </a:lnTo>
                      <a:lnTo>
                        <a:pt x="394" y="494"/>
                      </a:lnTo>
                      <a:lnTo>
                        <a:pt x="406" y="498"/>
                      </a:lnTo>
                      <a:lnTo>
                        <a:pt x="420" y="501"/>
                      </a:lnTo>
                      <a:lnTo>
                        <a:pt x="433" y="504"/>
                      </a:lnTo>
                      <a:lnTo>
                        <a:pt x="447" y="505"/>
                      </a:lnTo>
                      <a:lnTo>
                        <a:pt x="447" y="505"/>
                      </a:lnTo>
                      <a:lnTo>
                        <a:pt x="461" y="504"/>
                      </a:lnTo>
                      <a:lnTo>
                        <a:pt x="475" y="501"/>
                      </a:lnTo>
                      <a:lnTo>
                        <a:pt x="488" y="498"/>
                      </a:lnTo>
                      <a:lnTo>
                        <a:pt x="501" y="492"/>
                      </a:lnTo>
                      <a:lnTo>
                        <a:pt x="513" y="487"/>
                      </a:lnTo>
                      <a:lnTo>
                        <a:pt x="524" y="479"/>
                      </a:lnTo>
                      <a:lnTo>
                        <a:pt x="536" y="470"/>
                      </a:lnTo>
                      <a:lnTo>
                        <a:pt x="546" y="461"/>
                      </a:lnTo>
                      <a:lnTo>
                        <a:pt x="555" y="451"/>
                      </a:lnTo>
                      <a:lnTo>
                        <a:pt x="563" y="440"/>
                      </a:lnTo>
                      <a:lnTo>
                        <a:pt x="570" y="427"/>
                      </a:lnTo>
                      <a:lnTo>
                        <a:pt x="576" y="414"/>
                      </a:lnTo>
                      <a:lnTo>
                        <a:pt x="582" y="400"/>
                      </a:lnTo>
                      <a:lnTo>
                        <a:pt x="585" y="387"/>
                      </a:lnTo>
                      <a:lnTo>
                        <a:pt x="588" y="372"/>
                      </a:lnTo>
                      <a:lnTo>
                        <a:pt x="591" y="356"/>
                      </a:lnTo>
                      <a:lnTo>
                        <a:pt x="612" y="254"/>
                      </a:lnTo>
                      <a:lnTo>
                        <a:pt x="612" y="254"/>
                      </a:lnTo>
                      <a:lnTo>
                        <a:pt x="613" y="238"/>
                      </a:lnTo>
                      <a:lnTo>
                        <a:pt x="613" y="221"/>
                      </a:lnTo>
                      <a:lnTo>
                        <a:pt x="610" y="207"/>
                      </a:lnTo>
                      <a:lnTo>
                        <a:pt x="605" y="192"/>
                      </a:lnTo>
                      <a:lnTo>
                        <a:pt x="600" y="180"/>
                      </a:lnTo>
                      <a:lnTo>
                        <a:pt x="592" y="170"/>
                      </a:lnTo>
                      <a:lnTo>
                        <a:pt x="583" y="161"/>
                      </a:lnTo>
                      <a:lnTo>
                        <a:pt x="577" y="159"/>
                      </a:lnTo>
                      <a:lnTo>
                        <a:pt x="573" y="156"/>
                      </a:lnTo>
                      <a:lnTo>
                        <a:pt x="540" y="144"/>
                      </a:lnTo>
                      <a:lnTo>
                        <a:pt x="532" y="126"/>
                      </a:lnTo>
                      <a:lnTo>
                        <a:pt x="532" y="126"/>
                      </a:lnTo>
                      <a:lnTo>
                        <a:pt x="530" y="123"/>
                      </a:lnTo>
                      <a:lnTo>
                        <a:pt x="525" y="119"/>
                      </a:lnTo>
                      <a:lnTo>
                        <a:pt x="520" y="117"/>
                      </a:lnTo>
                      <a:lnTo>
                        <a:pt x="514" y="115"/>
                      </a:lnTo>
                      <a:lnTo>
                        <a:pt x="506" y="112"/>
                      </a:lnTo>
                      <a:lnTo>
                        <a:pt x="497" y="112"/>
                      </a:lnTo>
                      <a:lnTo>
                        <a:pt x="477" y="112"/>
                      </a:lnTo>
                      <a:lnTo>
                        <a:pt x="455" y="115"/>
                      </a:lnTo>
                      <a:lnTo>
                        <a:pt x="431" y="119"/>
                      </a:lnTo>
                      <a:lnTo>
                        <a:pt x="405" y="126"/>
                      </a:lnTo>
                      <a:lnTo>
                        <a:pt x="379" y="134"/>
                      </a:lnTo>
                      <a:lnTo>
                        <a:pt x="354" y="145"/>
                      </a:lnTo>
                      <a:lnTo>
                        <a:pt x="332" y="156"/>
                      </a:lnTo>
                      <a:lnTo>
                        <a:pt x="321" y="163"/>
                      </a:lnTo>
                      <a:lnTo>
                        <a:pt x="311" y="170"/>
                      </a:lnTo>
                      <a:lnTo>
                        <a:pt x="300" y="178"/>
                      </a:lnTo>
                      <a:lnTo>
                        <a:pt x="293" y="186"/>
                      </a:lnTo>
                      <a:lnTo>
                        <a:pt x="285" y="193"/>
                      </a:lnTo>
                      <a:lnTo>
                        <a:pt x="279" y="202"/>
                      </a:lnTo>
                      <a:lnTo>
                        <a:pt x="273" y="210"/>
                      </a:lnTo>
                      <a:lnTo>
                        <a:pt x="270" y="219"/>
                      </a:lnTo>
                      <a:lnTo>
                        <a:pt x="267" y="229"/>
                      </a:lnTo>
                      <a:lnTo>
                        <a:pt x="267" y="238"/>
                      </a:lnTo>
                      <a:lnTo>
                        <a:pt x="267" y="248"/>
                      </a:lnTo>
                      <a:lnTo>
                        <a:pt x="270" y="259"/>
                      </a:lnTo>
                      <a:lnTo>
                        <a:pt x="304" y="362"/>
                      </a:lnTo>
                      <a:close/>
                      <a:moveTo>
                        <a:pt x="333" y="283"/>
                      </a:moveTo>
                      <a:lnTo>
                        <a:pt x="333" y="283"/>
                      </a:lnTo>
                      <a:lnTo>
                        <a:pt x="344" y="287"/>
                      </a:lnTo>
                      <a:lnTo>
                        <a:pt x="358" y="288"/>
                      </a:lnTo>
                      <a:lnTo>
                        <a:pt x="370" y="289"/>
                      </a:lnTo>
                      <a:lnTo>
                        <a:pt x="384" y="290"/>
                      </a:lnTo>
                      <a:lnTo>
                        <a:pt x="384" y="290"/>
                      </a:lnTo>
                      <a:lnTo>
                        <a:pt x="404" y="289"/>
                      </a:lnTo>
                      <a:lnTo>
                        <a:pt x="423" y="286"/>
                      </a:lnTo>
                      <a:lnTo>
                        <a:pt x="442" y="281"/>
                      </a:lnTo>
                      <a:lnTo>
                        <a:pt x="460" y="273"/>
                      </a:lnTo>
                      <a:lnTo>
                        <a:pt x="478" y="265"/>
                      </a:lnTo>
                      <a:lnTo>
                        <a:pt x="494" y="255"/>
                      </a:lnTo>
                      <a:lnTo>
                        <a:pt x="510" y="243"/>
                      </a:lnTo>
                      <a:lnTo>
                        <a:pt x="523" y="229"/>
                      </a:lnTo>
                      <a:lnTo>
                        <a:pt x="523" y="229"/>
                      </a:lnTo>
                      <a:lnTo>
                        <a:pt x="534" y="236"/>
                      </a:lnTo>
                      <a:lnTo>
                        <a:pt x="540" y="242"/>
                      </a:lnTo>
                      <a:lnTo>
                        <a:pt x="547" y="248"/>
                      </a:lnTo>
                      <a:lnTo>
                        <a:pt x="552" y="257"/>
                      </a:lnTo>
                      <a:lnTo>
                        <a:pt x="557" y="270"/>
                      </a:lnTo>
                      <a:lnTo>
                        <a:pt x="560" y="286"/>
                      </a:lnTo>
                      <a:lnTo>
                        <a:pt x="561" y="306"/>
                      </a:lnTo>
                      <a:lnTo>
                        <a:pt x="561" y="344"/>
                      </a:lnTo>
                      <a:lnTo>
                        <a:pt x="561" y="344"/>
                      </a:lnTo>
                      <a:lnTo>
                        <a:pt x="560" y="358"/>
                      </a:lnTo>
                      <a:lnTo>
                        <a:pt x="559" y="371"/>
                      </a:lnTo>
                      <a:lnTo>
                        <a:pt x="556" y="383"/>
                      </a:lnTo>
                      <a:lnTo>
                        <a:pt x="552" y="396"/>
                      </a:lnTo>
                      <a:lnTo>
                        <a:pt x="547" y="407"/>
                      </a:lnTo>
                      <a:lnTo>
                        <a:pt x="541" y="418"/>
                      </a:lnTo>
                      <a:lnTo>
                        <a:pt x="534" y="428"/>
                      </a:lnTo>
                      <a:lnTo>
                        <a:pt x="528" y="437"/>
                      </a:lnTo>
                      <a:lnTo>
                        <a:pt x="519" y="445"/>
                      </a:lnTo>
                      <a:lnTo>
                        <a:pt x="510" y="453"/>
                      </a:lnTo>
                      <a:lnTo>
                        <a:pt x="501" y="460"/>
                      </a:lnTo>
                      <a:lnTo>
                        <a:pt x="491" y="465"/>
                      </a:lnTo>
                      <a:lnTo>
                        <a:pt x="480" y="469"/>
                      </a:lnTo>
                      <a:lnTo>
                        <a:pt x="469" y="472"/>
                      </a:lnTo>
                      <a:lnTo>
                        <a:pt x="458" y="474"/>
                      </a:lnTo>
                      <a:lnTo>
                        <a:pt x="447" y="474"/>
                      </a:lnTo>
                      <a:lnTo>
                        <a:pt x="447" y="474"/>
                      </a:lnTo>
                      <a:lnTo>
                        <a:pt x="435" y="474"/>
                      </a:lnTo>
                      <a:lnTo>
                        <a:pt x="424" y="472"/>
                      </a:lnTo>
                      <a:lnTo>
                        <a:pt x="413" y="469"/>
                      </a:lnTo>
                      <a:lnTo>
                        <a:pt x="403" y="465"/>
                      </a:lnTo>
                      <a:lnTo>
                        <a:pt x="393" y="460"/>
                      </a:lnTo>
                      <a:lnTo>
                        <a:pt x="384" y="453"/>
                      </a:lnTo>
                      <a:lnTo>
                        <a:pt x="375" y="445"/>
                      </a:lnTo>
                      <a:lnTo>
                        <a:pt x="367" y="437"/>
                      </a:lnTo>
                      <a:lnTo>
                        <a:pt x="359" y="428"/>
                      </a:lnTo>
                      <a:lnTo>
                        <a:pt x="352" y="418"/>
                      </a:lnTo>
                      <a:lnTo>
                        <a:pt x="347" y="407"/>
                      </a:lnTo>
                      <a:lnTo>
                        <a:pt x="341" y="396"/>
                      </a:lnTo>
                      <a:lnTo>
                        <a:pt x="338" y="383"/>
                      </a:lnTo>
                      <a:lnTo>
                        <a:pt x="334" y="371"/>
                      </a:lnTo>
                      <a:lnTo>
                        <a:pt x="333" y="358"/>
                      </a:lnTo>
                      <a:lnTo>
                        <a:pt x="332" y="344"/>
                      </a:lnTo>
                      <a:lnTo>
                        <a:pt x="333" y="283"/>
                      </a:lnTo>
                      <a:close/>
                      <a:moveTo>
                        <a:pt x="447" y="1322"/>
                      </a:moveTo>
                      <a:lnTo>
                        <a:pt x="510" y="1249"/>
                      </a:lnTo>
                      <a:lnTo>
                        <a:pt x="471" y="642"/>
                      </a:lnTo>
                      <a:lnTo>
                        <a:pt x="471" y="642"/>
                      </a:lnTo>
                      <a:lnTo>
                        <a:pt x="479" y="635"/>
                      </a:lnTo>
                      <a:lnTo>
                        <a:pt x="486" y="627"/>
                      </a:lnTo>
                      <a:lnTo>
                        <a:pt x="491" y="618"/>
                      </a:lnTo>
                      <a:lnTo>
                        <a:pt x="493" y="608"/>
                      </a:lnTo>
                      <a:lnTo>
                        <a:pt x="447" y="567"/>
                      </a:lnTo>
                      <a:lnTo>
                        <a:pt x="401" y="608"/>
                      </a:lnTo>
                      <a:lnTo>
                        <a:pt x="401" y="608"/>
                      </a:lnTo>
                      <a:lnTo>
                        <a:pt x="403" y="618"/>
                      </a:lnTo>
                      <a:lnTo>
                        <a:pt x="408" y="627"/>
                      </a:lnTo>
                      <a:lnTo>
                        <a:pt x="414" y="635"/>
                      </a:lnTo>
                      <a:lnTo>
                        <a:pt x="422" y="642"/>
                      </a:lnTo>
                      <a:lnTo>
                        <a:pt x="384" y="1249"/>
                      </a:lnTo>
                      <a:lnTo>
                        <a:pt x="447" y="1322"/>
                      </a:lnTo>
                      <a:close/>
                      <a:moveTo>
                        <a:pt x="99" y="1423"/>
                      </a:moveTo>
                      <a:lnTo>
                        <a:pt x="99" y="1423"/>
                      </a:lnTo>
                      <a:lnTo>
                        <a:pt x="99" y="1427"/>
                      </a:lnTo>
                      <a:lnTo>
                        <a:pt x="100" y="1431"/>
                      </a:lnTo>
                      <a:lnTo>
                        <a:pt x="102" y="1435"/>
                      </a:lnTo>
                      <a:lnTo>
                        <a:pt x="105" y="1437"/>
                      </a:lnTo>
                      <a:lnTo>
                        <a:pt x="108" y="1439"/>
                      </a:lnTo>
                      <a:lnTo>
                        <a:pt x="111" y="1441"/>
                      </a:lnTo>
                      <a:lnTo>
                        <a:pt x="115" y="1443"/>
                      </a:lnTo>
                      <a:lnTo>
                        <a:pt x="119" y="1444"/>
                      </a:lnTo>
                      <a:lnTo>
                        <a:pt x="119" y="1444"/>
                      </a:lnTo>
                      <a:lnTo>
                        <a:pt x="123" y="1443"/>
                      </a:lnTo>
                      <a:lnTo>
                        <a:pt x="127" y="1441"/>
                      </a:lnTo>
                      <a:lnTo>
                        <a:pt x="131" y="1439"/>
                      </a:lnTo>
                      <a:lnTo>
                        <a:pt x="133" y="1437"/>
                      </a:lnTo>
                      <a:lnTo>
                        <a:pt x="136" y="1435"/>
                      </a:lnTo>
                      <a:lnTo>
                        <a:pt x="137" y="1431"/>
                      </a:lnTo>
                      <a:lnTo>
                        <a:pt x="138" y="1427"/>
                      </a:lnTo>
                      <a:lnTo>
                        <a:pt x="140" y="1423"/>
                      </a:lnTo>
                      <a:lnTo>
                        <a:pt x="140" y="1423"/>
                      </a:lnTo>
                      <a:lnTo>
                        <a:pt x="138" y="1419"/>
                      </a:lnTo>
                      <a:lnTo>
                        <a:pt x="137" y="1416"/>
                      </a:lnTo>
                      <a:lnTo>
                        <a:pt x="136" y="1412"/>
                      </a:lnTo>
                      <a:lnTo>
                        <a:pt x="133" y="1409"/>
                      </a:lnTo>
                      <a:lnTo>
                        <a:pt x="131" y="1407"/>
                      </a:lnTo>
                      <a:lnTo>
                        <a:pt x="127" y="1404"/>
                      </a:lnTo>
                      <a:lnTo>
                        <a:pt x="123" y="1403"/>
                      </a:lnTo>
                      <a:lnTo>
                        <a:pt x="119" y="1403"/>
                      </a:lnTo>
                      <a:lnTo>
                        <a:pt x="119" y="1403"/>
                      </a:lnTo>
                      <a:lnTo>
                        <a:pt x="115" y="1403"/>
                      </a:lnTo>
                      <a:lnTo>
                        <a:pt x="111" y="1404"/>
                      </a:lnTo>
                      <a:lnTo>
                        <a:pt x="108" y="1407"/>
                      </a:lnTo>
                      <a:lnTo>
                        <a:pt x="105" y="1409"/>
                      </a:lnTo>
                      <a:lnTo>
                        <a:pt x="102" y="1412"/>
                      </a:lnTo>
                      <a:lnTo>
                        <a:pt x="100" y="1416"/>
                      </a:lnTo>
                      <a:lnTo>
                        <a:pt x="99" y="1419"/>
                      </a:lnTo>
                      <a:lnTo>
                        <a:pt x="99" y="1423"/>
                      </a:lnTo>
                      <a:lnTo>
                        <a:pt x="99" y="1423"/>
                      </a:lnTo>
                      <a:close/>
                      <a:moveTo>
                        <a:pt x="1844" y="1519"/>
                      </a:moveTo>
                      <a:lnTo>
                        <a:pt x="1913" y="1333"/>
                      </a:lnTo>
                      <a:lnTo>
                        <a:pt x="1879" y="729"/>
                      </a:lnTo>
                      <a:lnTo>
                        <a:pt x="1879" y="729"/>
                      </a:lnTo>
                      <a:lnTo>
                        <a:pt x="1877" y="713"/>
                      </a:lnTo>
                      <a:lnTo>
                        <a:pt x="1872" y="697"/>
                      </a:lnTo>
                      <a:lnTo>
                        <a:pt x="1864" y="682"/>
                      </a:lnTo>
                      <a:lnTo>
                        <a:pt x="1855" y="670"/>
                      </a:lnTo>
                      <a:lnTo>
                        <a:pt x="1845" y="659"/>
                      </a:lnTo>
                      <a:lnTo>
                        <a:pt x="1832" y="649"/>
                      </a:lnTo>
                      <a:lnTo>
                        <a:pt x="1818" y="640"/>
                      </a:lnTo>
                      <a:lnTo>
                        <a:pt x="1803" y="633"/>
                      </a:lnTo>
                      <a:lnTo>
                        <a:pt x="1657" y="580"/>
                      </a:lnTo>
                      <a:lnTo>
                        <a:pt x="1599" y="815"/>
                      </a:lnTo>
                      <a:lnTo>
                        <a:pt x="1599" y="815"/>
                      </a:lnTo>
                      <a:lnTo>
                        <a:pt x="1597" y="821"/>
                      </a:lnTo>
                      <a:lnTo>
                        <a:pt x="1593" y="825"/>
                      </a:lnTo>
                      <a:lnTo>
                        <a:pt x="1590" y="830"/>
                      </a:lnTo>
                      <a:lnTo>
                        <a:pt x="1585" y="833"/>
                      </a:lnTo>
                      <a:lnTo>
                        <a:pt x="1581" y="835"/>
                      </a:lnTo>
                      <a:lnTo>
                        <a:pt x="1575" y="838"/>
                      </a:lnTo>
                      <a:lnTo>
                        <a:pt x="1570" y="839"/>
                      </a:lnTo>
                      <a:lnTo>
                        <a:pt x="1564" y="839"/>
                      </a:lnTo>
                      <a:lnTo>
                        <a:pt x="1558" y="839"/>
                      </a:lnTo>
                      <a:lnTo>
                        <a:pt x="1553" y="838"/>
                      </a:lnTo>
                      <a:lnTo>
                        <a:pt x="1548" y="835"/>
                      </a:lnTo>
                      <a:lnTo>
                        <a:pt x="1543" y="833"/>
                      </a:lnTo>
                      <a:lnTo>
                        <a:pt x="1539" y="830"/>
                      </a:lnTo>
                      <a:lnTo>
                        <a:pt x="1535" y="825"/>
                      </a:lnTo>
                      <a:lnTo>
                        <a:pt x="1533" y="821"/>
                      </a:lnTo>
                      <a:lnTo>
                        <a:pt x="1530" y="815"/>
                      </a:lnTo>
                      <a:lnTo>
                        <a:pt x="1472" y="584"/>
                      </a:lnTo>
                      <a:lnTo>
                        <a:pt x="1366" y="611"/>
                      </a:lnTo>
                      <a:lnTo>
                        <a:pt x="1366" y="609"/>
                      </a:lnTo>
                      <a:lnTo>
                        <a:pt x="1366" y="609"/>
                      </a:lnTo>
                      <a:lnTo>
                        <a:pt x="1366" y="590"/>
                      </a:lnTo>
                      <a:lnTo>
                        <a:pt x="1364" y="573"/>
                      </a:lnTo>
                      <a:lnTo>
                        <a:pt x="1359" y="558"/>
                      </a:lnTo>
                      <a:lnTo>
                        <a:pt x="1355" y="543"/>
                      </a:lnTo>
                      <a:lnTo>
                        <a:pt x="1348" y="530"/>
                      </a:lnTo>
                      <a:lnTo>
                        <a:pt x="1340" y="518"/>
                      </a:lnTo>
                      <a:lnTo>
                        <a:pt x="1331" y="507"/>
                      </a:lnTo>
                      <a:lnTo>
                        <a:pt x="1321" y="497"/>
                      </a:lnTo>
                      <a:lnTo>
                        <a:pt x="1311" y="489"/>
                      </a:lnTo>
                      <a:lnTo>
                        <a:pt x="1300" y="481"/>
                      </a:lnTo>
                      <a:lnTo>
                        <a:pt x="1287" y="474"/>
                      </a:lnTo>
                      <a:lnTo>
                        <a:pt x="1274" y="469"/>
                      </a:lnTo>
                      <a:lnTo>
                        <a:pt x="1260" y="464"/>
                      </a:lnTo>
                      <a:lnTo>
                        <a:pt x="1246" y="460"/>
                      </a:lnTo>
                      <a:lnTo>
                        <a:pt x="1231" y="456"/>
                      </a:lnTo>
                      <a:lnTo>
                        <a:pt x="1216" y="454"/>
                      </a:lnTo>
                      <a:lnTo>
                        <a:pt x="1186" y="449"/>
                      </a:lnTo>
                      <a:lnTo>
                        <a:pt x="1186" y="449"/>
                      </a:lnTo>
                      <a:lnTo>
                        <a:pt x="1187" y="526"/>
                      </a:lnTo>
                      <a:lnTo>
                        <a:pt x="1187" y="537"/>
                      </a:lnTo>
                      <a:lnTo>
                        <a:pt x="1177" y="541"/>
                      </a:lnTo>
                      <a:lnTo>
                        <a:pt x="1152" y="549"/>
                      </a:lnTo>
                      <a:lnTo>
                        <a:pt x="1188" y="580"/>
                      </a:lnTo>
                      <a:lnTo>
                        <a:pt x="998" y="795"/>
                      </a:lnTo>
                      <a:lnTo>
                        <a:pt x="816" y="580"/>
                      </a:lnTo>
                      <a:lnTo>
                        <a:pt x="852" y="549"/>
                      </a:lnTo>
                      <a:lnTo>
                        <a:pt x="817" y="537"/>
                      </a:lnTo>
                      <a:lnTo>
                        <a:pt x="817" y="526"/>
                      </a:lnTo>
                      <a:lnTo>
                        <a:pt x="817" y="526"/>
                      </a:lnTo>
                      <a:lnTo>
                        <a:pt x="818" y="447"/>
                      </a:lnTo>
                      <a:lnTo>
                        <a:pt x="779" y="455"/>
                      </a:lnTo>
                      <a:lnTo>
                        <a:pt x="779" y="455"/>
                      </a:lnTo>
                      <a:lnTo>
                        <a:pt x="755" y="461"/>
                      </a:lnTo>
                      <a:lnTo>
                        <a:pt x="733" y="469"/>
                      </a:lnTo>
                      <a:lnTo>
                        <a:pt x="712" y="478"/>
                      </a:lnTo>
                      <a:lnTo>
                        <a:pt x="702" y="483"/>
                      </a:lnTo>
                      <a:lnTo>
                        <a:pt x="693" y="489"/>
                      </a:lnTo>
                      <a:lnTo>
                        <a:pt x="685" y="496"/>
                      </a:lnTo>
                      <a:lnTo>
                        <a:pt x="676" y="504"/>
                      </a:lnTo>
                      <a:lnTo>
                        <a:pt x="670" y="512"/>
                      </a:lnTo>
                      <a:lnTo>
                        <a:pt x="663" y="521"/>
                      </a:lnTo>
                      <a:lnTo>
                        <a:pt x="656" y="530"/>
                      </a:lnTo>
                      <a:lnTo>
                        <a:pt x="652" y="540"/>
                      </a:lnTo>
                      <a:lnTo>
                        <a:pt x="647" y="551"/>
                      </a:lnTo>
                      <a:lnTo>
                        <a:pt x="642" y="563"/>
                      </a:lnTo>
                      <a:lnTo>
                        <a:pt x="577" y="544"/>
                      </a:lnTo>
                      <a:lnTo>
                        <a:pt x="552" y="598"/>
                      </a:lnTo>
                      <a:lnTo>
                        <a:pt x="637" y="622"/>
                      </a:lnTo>
                      <a:lnTo>
                        <a:pt x="637" y="1202"/>
                      </a:lnTo>
                      <a:lnTo>
                        <a:pt x="778" y="1202"/>
                      </a:lnTo>
                      <a:lnTo>
                        <a:pt x="744" y="1355"/>
                      </a:lnTo>
                      <a:lnTo>
                        <a:pt x="708" y="1319"/>
                      </a:lnTo>
                      <a:lnTo>
                        <a:pt x="695" y="1222"/>
                      </a:lnTo>
                      <a:lnTo>
                        <a:pt x="695" y="1222"/>
                      </a:lnTo>
                      <a:lnTo>
                        <a:pt x="674" y="1222"/>
                      </a:lnTo>
                      <a:lnTo>
                        <a:pt x="686" y="1329"/>
                      </a:lnTo>
                      <a:lnTo>
                        <a:pt x="712" y="1354"/>
                      </a:lnTo>
                      <a:lnTo>
                        <a:pt x="209" y="1354"/>
                      </a:lnTo>
                      <a:lnTo>
                        <a:pt x="187" y="808"/>
                      </a:lnTo>
                      <a:lnTo>
                        <a:pt x="158" y="810"/>
                      </a:lnTo>
                      <a:lnTo>
                        <a:pt x="185" y="1476"/>
                      </a:lnTo>
                      <a:lnTo>
                        <a:pt x="61" y="1476"/>
                      </a:lnTo>
                      <a:lnTo>
                        <a:pt x="87" y="725"/>
                      </a:lnTo>
                      <a:lnTo>
                        <a:pt x="87" y="725"/>
                      </a:lnTo>
                      <a:lnTo>
                        <a:pt x="88" y="717"/>
                      </a:lnTo>
                      <a:lnTo>
                        <a:pt x="90" y="711"/>
                      </a:lnTo>
                      <a:lnTo>
                        <a:pt x="93" y="703"/>
                      </a:lnTo>
                      <a:lnTo>
                        <a:pt x="98" y="696"/>
                      </a:lnTo>
                      <a:lnTo>
                        <a:pt x="102" y="690"/>
                      </a:lnTo>
                      <a:lnTo>
                        <a:pt x="109" y="685"/>
                      </a:lnTo>
                      <a:lnTo>
                        <a:pt x="116" y="680"/>
                      </a:lnTo>
                      <a:lnTo>
                        <a:pt x="124" y="677"/>
                      </a:lnTo>
                      <a:lnTo>
                        <a:pt x="343" y="605"/>
                      </a:lnTo>
                      <a:lnTo>
                        <a:pt x="318" y="552"/>
                      </a:lnTo>
                      <a:lnTo>
                        <a:pt x="106" y="622"/>
                      </a:lnTo>
                      <a:lnTo>
                        <a:pt x="106" y="622"/>
                      </a:lnTo>
                      <a:lnTo>
                        <a:pt x="90" y="629"/>
                      </a:lnTo>
                      <a:lnTo>
                        <a:pt x="75" y="638"/>
                      </a:lnTo>
                      <a:lnTo>
                        <a:pt x="62" y="648"/>
                      </a:lnTo>
                      <a:lnTo>
                        <a:pt x="51" y="661"/>
                      </a:lnTo>
                      <a:lnTo>
                        <a:pt x="42" y="675"/>
                      </a:lnTo>
                      <a:lnTo>
                        <a:pt x="35" y="690"/>
                      </a:lnTo>
                      <a:lnTo>
                        <a:pt x="29" y="706"/>
                      </a:lnTo>
                      <a:lnTo>
                        <a:pt x="28" y="714"/>
                      </a:lnTo>
                      <a:lnTo>
                        <a:pt x="28" y="723"/>
                      </a:lnTo>
                      <a:lnTo>
                        <a:pt x="0" y="1535"/>
                      </a:lnTo>
                      <a:lnTo>
                        <a:pt x="60" y="1535"/>
                      </a:lnTo>
                      <a:lnTo>
                        <a:pt x="162" y="1753"/>
                      </a:lnTo>
                      <a:lnTo>
                        <a:pt x="225" y="2550"/>
                      </a:lnTo>
                      <a:lnTo>
                        <a:pt x="432" y="2550"/>
                      </a:lnTo>
                      <a:lnTo>
                        <a:pt x="432" y="1558"/>
                      </a:lnTo>
                      <a:lnTo>
                        <a:pt x="461" y="1558"/>
                      </a:lnTo>
                      <a:lnTo>
                        <a:pt x="461" y="2550"/>
                      </a:lnTo>
                      <a:lnTo>
                        <a:pt x="657" y="2550"/>
                      </a:lnTo>
                      <a:lnTo>
                        <a:pt x="691" y="2024"/>
                      </a:lnTo>
                      <a:lnTo>
                        <a:pt x="787" y="2024"/>
                      </a:lnTo>
                      <a:lnTo>
                        <a:pt x="860" y="2550"/>
                      </a:lnTo>
                      <a:lnTo>
                        <a:pt x="918" y="2550"/>
                      </a:lnTo>
                      <a:lnTo>
                        <a:pt x="846" y="2024"/>
                      </a:lnTo>
                      <a:lnTo>
                        <a:pt x="987" y="2024"/>
                      </a:lnTo>
                      <a:lnTo>
                        <a:pt x="987" y="2550"/>
                      </a:lnTo>
                      <a:lnTo>
                        <a:pt x="1018" y="2550"/>
                      </a:lnTo>
                      <a:lnTo>
                        <a:pt x="1018" y="2024"/>
                      </a:lnTo>
                      <a:lnTo>
                        <a:pt x="1157" y="2024"/>
                      </a:lnTo>
                      <a:lnTo>
                        <a:pt x="1085" y="2550"/>
                      </a:lnTo>
                      <a:lnTo>
                        <a:pt x="1144" y="2550"/>
                      </a:lnTo>
                      <a:lnTo>
                        <a:pt x="1212" y="2059"/>
                      </a:lnTo>
                      <a:lnTo>
                        <a:pt x="1374" y="2059"/>
                      </a:lnTo>
                      <a:lnTo>
                        <a:pt x="1443" y="2550"/>
                      </a:lnTo>
                      <a:lnTo>
                        <a:pt x="1472" y="2550"/>
                      </a:lnTo>
                      <a:lnTo>
                        <a:pt x="1403" y="2059"/>
                      </a:lnTo>
                      <a:lnTo>
                        <a:pt x="1552" y="2059"/>
                      </a:lnTo>
                      <a:lnTo>
                        <a:pt x="1549" y="2550"/>
                      </a:lnTo>
                      <a:lnTo>
                        <a:pt x="1579" y="2550"/>
                      </a:lnTo>
                      <a:lnTo>
                        <a:pt x="1582" y="2059"/>
                      </a:lnTo>
                      <a:lnTo>
                        <a:pt x="1710" y="2059"/>
                      </a:lnTo>
                      <a:lnTo>
                        <a:pt x="1642" y="2550"/>
                      </a:lnTo>
                      <a:lnTo>
                        <a:pt x="1701" y="2550"/>
                      </a:lnTo>
                      <a:lnTo>
                        <a:pt x="1770" y="2059"/>
                      </a:lnTo>
                      <a:lnTo>
                        <a:pt x="1950" y="2059"/>
                      </a:lnTo>
                      <a:lnTo>
                        <a:pt x="1844" y="1519"/>
                      </a:lnTo>
                      <a:close/>
                      <a:moveTo>
                        <a:pt x="109" y="1505"/>
                      </a:moveTo>
                      <a:lnTo>
                        <a:pt x="186" y="1505"/>
                      </a:lnTo>
                      <a:lnTo>
                        <a:pt x="192" y="1680"/>
                      </a:lnTo>
                      <a:lnTo>
                        <a:pt x="109" y="1505"/>
                      </a:lnTo>
                      <a:close/>
                      <a:moveTo>
                        <a:pt x="1197" y="1109"/>
                      </a:moveTo>
                      <a:lnTo>
                        <a:pt x="807" y="1109"/>
                      </a:lnTo>
                      <a:lnTo>
                        <a:pt x="807" y="1084"/>
                      </a:lnTo>
                      <a:lnTo>
                        <a:pt x="1197" y="1084"/>
                      </a:lnTo>
                      <a:lnTo>
                        <a:pt x="1197" y="1109"/>
                      </a:lnTo>
                      <a:close/>
                      <a:moveTo>
                        <a:pt x="1743" y="1253"/>
                      </a:moveTo>
                      <a:lnTo>
                        <a:pt x="1743" y="907"/>
                      </a:lnTo>
                      <a:lnTo>
                        <a:pt x="1759" y="823"/>
                      </a:lnTo>
                      <a:lnTo>
                        <a:pt x="1729" y="817"/>
                      </a:lnTo>
                      <a:lnTo>
                        <a:pt x="1714" y="905"/>
                      </a:lnTo>
                      <a:lnTo>
                        <a:pt x="1714" y="1212"/>
                      </a:lnTo>
                      <a:lnTo>
                        <a:pt x="1387" y="1212"/>
                      </a:lnTo>
                      <a:lnTo>
                        <a:pt x="1309" y="1579"/>
                      </a:lnTo>
                      <a:lnTo>
                        <a:pt x="1266" y="1385"/>
                      </a:lnTo>
                      <a:lnTo>
                        <a:pt x="1322" y="1329"/>
                      </a:lnTo>
                      <a:lnTo>
                        <a:pt x="1336" y="1222"/>
                      </a:lnTo>
                      <a:lnTo>
                        <a:pt x="1313" y="1222"/>
                      </a:lnTo>
                      <a:lnTo>
                        <a:pt x="1313" y="1222"/>
                      </a:lnTo>
                      <a:lnTo>
                        <a:pt x="1301" y="1319"/>
                      </a:lnTo>
                      <a:lnTo>
                        <a:pt x="1260" y="1359"/>
                      </a:lnTo>
                      <a:lnTo>
                        <a:pt x="1226" y="1202"/>
                      </a:lnTo>
                      <a:lnTo>
                        <a:pt x="1366" y="1202"/>
                      </a:lnTo>
                      <a:lnTo>
                        <a:pt x="1366" y="670"/>
                      </a:lnTo>
                      <a:lnTo>
                        <a:pt x="1457" y="646"/>
                      </a:lnTo>
                      <a:lnTo>
                        <a:pt x="1502" y="823"/>
                      </a:lnTo>
                      <a:lnTo>
                        <a:pt x="1502" y="823"/>
                      </a:lnTo>
                      <a:lnTo>
                        <a:pt x="1506" y="833"/>
                      </a:lnTo>
                      <a:lnTo>
                        <a:pt x="1511" y="842"/>
                      </a:lnTo>
                      <a:lnTo>
                        <a:pt x="1518" y="850"/>
                      </a:lnTo>
                      <a:lnTo>
                        <a:pt x="1525" y="858"/>
                      </a:lnTo>
                      <a:lnTo>
                        <a:pt x="1534" y="862"/>
                      </a:lnTo>
                      <a:lnTo>
                        <a:pt x="1544" y="867"/>
                      </a:lnTo>
                      <a:lnTo>
                        <a:pt x="1553" y="870"/>
                      </a:lnTo>
                      <a:lnTo>
                        <a:pt x="1563" y="871"/>
                      </a:lnTo>
                      <a:lnTo>
                        <a:pt x="1573" y="870"/>
                      </a:lnTo>
                      <a:lnTo>
                        <a:pt x="1583" y="869"/>
                      </a:lnTo>
                      <a:lnTo>
                        <a:pt x="1593" y="866"/>
                      </a:lnTo>
                      <a:lnTo>
                        <a:pt x="1602" y="860"/>
                      </a:lnTo>
                      <a:lnTo>
                        <a:pt x="1610" y="853"/>
                      </a:lnTo>
                      <a:lnTo>
                        <a:pt x="1617" y="846"/>
                      </a:lnTo>
                      <a:lnTo>
                        <a:pt x="1623" y="835"/>
                      </a:lnTo>
                      <a:lnTo>
                        <a:pt x="1627" y="823"/>
                      </a:lnTo>
                      <a:lnTo>
                        <a:pt x="1671" y="648"/>
                      </a:lnTo>
                      <a:lnTo>
                        <a:pt x="1776" y="685"/>
                      </a:lnTo>
                      <a:lnTo>
                        <a:pt x="1776" y="685"/>
                      </a:lnTo>
                      <a:lnTo>
                        <a:pt x="1785" y="689"/>
                      </a:lnTo>
                      <a:lnTo>
                        <a:pt x="1794" y="694"/>
                      </a:lnTo>
                      <a:lnTo>
                        <a:pt x="1801" y="699"/>
                      </a:lnTo>
                      <a:lnTo>
                        <a:pt x="1807" y="705"/>
                      </a:lnTo>
                      <a:lnTo>
                        <a:pt x="1813" y="712"/>
                      </a:lnTo>
                      <a:lnTo>
                        <a:pt x="1816" y="718"/>
                      </a:lnTo>
                      <a:lnTo>
                        <a:pt x="1818" y="725"/>
                      </a:lnTo>
                      <a:lnTo>
                        <a:pt x="1819" y="732"/>
                      </a:lnTo>
                      <a:lnTo>
                        <a:pt x="1852" y="1294"/>
                      </a:lnTo>
                      <a:lnTo>
                        <a:pt x="1753" y="1294"/>
                      </a:lnTo>
                      <a:lnTo>
                        <a:pt x="1743" y="1253"/>
                      </a:lnTo>
                      <a:close/>
                      <a:moveTo>
                        <a:pt x="1759" y="1323"/>
                      </a:moveTo>
                      <a:lnTo>
                        <a:pt x="1854" y="1323"/>
                      </a:lnTo>
                      <a:lnTo>
                        <a:pt x="1854" y="1324"/>
                      </a:lnTo>
                      <a:lnTo>
                        <a:pt x="1795" y="1483"/>
                      </a:lnTo>
                      <a:lnTo>
                        <a:pt x="1759" y="1323"/>
                      </a:lnTo>
                      <a:close/>
                      <a:moveTo>
                        <a:pt x="1453" y="533"/>
                      </a:moveTo>
                      <a:lnTo>
                        <a:pt x="1453" y="533"/>
                      </a:lnTo>
                      <a:lnTo>
                        <a:pt x="1464" y="533"/>
                      </a:lnTo>
                      <a:lnTo>
                        <a:pt x="1474" y="531"/>
                      </a:lnTo>
                      <a:lnTo>
                        <a:pt x="1485" y="528"/>
                      </a:lnTo>
                      <a:lnTo>
                        <a:pt x="1494" y="524"/>
                      </a:lnTo>
                      <a:lnTo>
                        <a:pt x="1494" y="524"/>
                      </a:lnTo>
                      <a:lnTo>
                        <a:pt x="1510" y="533"/>
                      </a:lnTo>
                      <a:lnTo>
                        <a:pt x="1526" y="539"/>
                      </a:lnTo>
                      <a:lnTo>
                        <a:pt x="1543" y="542"/>
                      </a:lnTo>
                      <a:lnTo>
                        <a:pt x="1561" y="543"/>
                      </a:lnTo>
                      <a:lnTo>
                        <a:pt x="1561" y="543"/>
                      </a:lnTo>
                      <a:lnTo>
                        <a:pt x="1579" y="542"/>
                      </a:lnTo>
                      <a:lnTo>
                        <a:pt x="1596" y="539"/>
                      </a:lnTo>
                      <a:lnTo>
                        <a:pt x="1611" y="533"/>
                      </a:lnTo>
                      <a:lnTo>
                        <a:pt x="1627" y="524"/>
                      </a:lnTo>
                      <a:lnTo>
                        <a:pt x="1627" y="524"/>
                      </a:lnTo>
                      <a:lnTo>
                        <a:pt x="1636" y="528"/>
                      </a:lnTo>
                      <a:lnTo>
                        <a:pt x="1646" y="531"/>
                      </a:lnTo>
                      <a:lnTo>
                        <a:pt x="1657" y="533"/>
                      </a:lnTo>
                      <a:lnTo>
                        <a:pt x="1669" y="533"/>
                      </a:lnTo>
                      <a:lnTo>
                        <a:pt x="1669" y="533"/>
                      </a:lnTo>
                      <a:lnTo>
                        <a:pt x="1681" y="531"/>
                      </a:lnTo>
                      <a:lnTo>
                        <a:pt x="1693" y="526"/>
                      </a:lnTo>
                      <a:lnTo>
                        <a:pt x="1704" y="521"/>
                      </a:lnTo>
                      <a:lnTo>
                        <a:pt x="1713" y="513"/>
                      </a:lnTo>
                      <a:lnTo>
                        <a:pt x="1720" y="503"/>
                      </a:lnTo>
                      <a:lnTo>
                        <a:pt x="1727" y="492"/>
                      </a:lnTo>
                      <a:lnTo>
                        <a:pt x="1732" y="481"/>
                      </a:lnTo>
                      <a:lnTo>
                        <a:pt x="1734" y="469"/>
                      </a:lnTo>
                      <a:lnTo>
                        <a:pt x="1733" y="469"/>
                      </a:lnTo>
                      <a:lnTo>
                        <a:pt x="1733" y="469"/>
                      </a:lnTo>
                      <a:lnTo>
                        <a:pt x="1722" y="469"/>
                      </a:lnTo>
                      <a:lnTo>
                        <a:pt x="1711" y="468"/>
                      </a:lnTo>
                      <a:lnTo>
                        <a:pt x="1700" y="464"/>
                      </a:lnTo>
                      <a:lnTo>
                        <a:pt x="1690" y="460"/>
                      </a:lnTo>
                      <a:lnTo>
                        <a:pt x="1690" y="460"/>
                      </a:lnTo>
                      <a:lnTo>
                        <a:pt x="1695" y="452"/>
                      </a:lnTo>
                      <a:lnTo>
                        <a:pt x="1699" y="444"/>
                      </a:lnTo>
                      <a:lnTo>
                        <a:pt x="1704" y="435"/>
                      </a:lnTo>
                      <a:lnTo>
                        <a:pt x="1706" y="425"/>
                      </a:lnTo>
                      <a:lnTo>
                        <a:pt x="1708" y="415"/>
                      </a:lnTo>
                      <a:lnTo>
                        <a:pt x="1710" y="405"/>
                      </a:lnTo>
                      <a:lnTo>
                        <a:pt x="1711" y="392"/>
                      </a:lnTo>
                      <a:lnTo>
                        <a:pt x="1711" y="380"/>
                      </a:lnTo>
                      <a:lnTo>
                        <a:pt x="1711" y="345"/>
                      </a:lnTo>
                      <a:lnTo>
                        <a:pt x="1711" y="345"/>
                      </a:lnTo>
                      <a:lnTo>
                        <a:pt x="1711" y="327"/>
                      </a:lnTo>
                      <a:lnTo>
                        <a:pt x="1709" y="309"/>
                      </a:lnTo>
                      <a:lnTo>
                        <a:pt x="1705" y="292"/>
                      </a:lnTo>
                      <a:lnTo>
                        <a:pt x="1700" y="275"/>
                      </a:lnTo>
                      <a:lnTo>
                        <a:pt x="1695" y="260"/>
                      </a:lnTo>
                      <a:lnTo>
                        <a:pt x="1687" y="244"/>
                      </a:lnTo>
                      <a:lnTo>
                        <a:pt x="1678" y="230"/>
                      </a:lnTo>
                      <a:lnTo>
                        <a:pt x="1669" y="217"/>
                      </a:lnTo>
                      <a:lnTo>
                        <a:pt x="1659" y="206"/>
                      </a:lnTo>
                      <a:lnTo>
                        <a:pt x="1646" y="195"/>
                      </a:lnTo>
                      <a:lnTo>
                        <a:pt x="1634" y="186"/>
                      </a:lnTo>
                      <a:lnTo>
                        <a:pt x="1620" y="178"/>
                      </a:lnTo>
                      <a:lnTo>
                        <a:pt x="1607" y="171"/>
                      </a:lnTo>
                      <a:lnTo>
                        <a:pt x="1592" y="166"/>
                      </a:lnTo>
                      <a:lnTo>
                        <a:pt x="1576" y="164"/>
                      </a:lnTo>
                      <a:lnTo>
                        <a:pt x="1561" y="163"/>
                      </a:lnTo>
                      <a:lnTo>
                        <a:pt x="1561" y="163"/>
                      </a:lnTo>
                      <a:lnTo>
                        <a:pt x="1545" y="164"/>
                      </a:lnTo>
                      <a:lnTo>
                        <a:pt x="1529" y="166"/>
                      </a:lnTo>
                      <a:lnTo>
                        <a:pt x="1515" y="171"/>
                      </a:lnTo>
                      <a:lnTo>
                        <a:pt x="1501" y="178"/>
                      </a:lnTo>
                      <a:lnTo>
                        <a:pt x="1488" y="186"/>
                      </a:lnTo>
                      <a:lnTo>
                        <a:pt x="1475" y="195"/>
                      </a:lnTo>
                      <a:lnTo>
                        <a:pt x="1463" y="206"/>
                      </a:lnTo>
                      <a:lnTo>
                        <a:pt x="1453" y="217"/>
                      </a:lnTo>
                      <a:lnTo>
                        <a:pt x="1443" y="230"/>
                      </a:lnTo>
                      <a:lnTo>
                        <a:pt x="1435" y="244"/>
                      </a:lnTo>
                      <a:lnTo>
                        <a:pt x="1427" y="260"/>
                      </a:lnTo>
                      <a:lnTo>
                        <a:pt x="1421" y="275"/>
                      </a:lnTo>
                      <a:lnTo>
                        <a:pt x="1416" y="292"/>
                      </a:lnTo>
                      <a:lnTo>
                        <a:pt x="1412" y="309"/>
                      </a:lnTo>
                      <a:lnTo>
                        <a:pt x="1410" y="327"/>
                      </a:lnTo>
                      <a:lnTo>
                        <a:pt x="1410" y="345"/>
                      </a:lnTo>
                      <a:lnTo>
                        <a:pt x="1410" y="380"/>
                      </a:lnTo>
                      <a:lnTo>
                        <a:pt x="1410" y="380"/>
                      </a:lnTo>
                      <a:lnTo>
                        <a:pt x="1410" y="392"/>
                      </a:lnTo>
                      <a:lnTo>
                        <a:pt x="1411" y="405"/>
                      </a:lnTo>
                      <a:lnTo>
                        <a:pt x="1412" y="415"/>
                      </a:lnTo>
                      <a:lnTo>
                        <a:pt x="1416" y="425"/>
                      </a:lnTo>
                      <a:lnTo>
                        <a:pt x="1418" y="435"/>
                      </a:lnTo>
                      <a:lnTo>
                        <a:pt x="1422" y="444"/>
                      </a:lnTo>
                      <a:lnTo>
                        <a:pt x="1426" y="452"/>
                      </a:lnTo>
                      <a:lnTo>
                        <a:pt x="1431" y="460"/>
                      </a:lnTo>
                      <a:lnTo>
                        <a:pt x="1431" y="460"/>
                      </a:lnTo>
                      <a:lnTo>
                        <a:pt x="1421" y="464"/>
                      </a:lnTo>
                      <a:lnTo>
                        <a:pt x="1410" y="468"/>
                      </a:lnTo>
                      <a:lnTo>
                        <a:pt x="1400" y="469"/>
                      </a:lnTo>
                      <a:lnTo>
                        <a:pt x="1389" y="469"/>
                      </a:lnTo>
                      <a:lnTo>
                        <a:pt x="1387" y="469"/>
                      </a:lnTo>
                      <a:lnTo>
                        <a:pt x="1387" y="469"/>
                      </a:lnTo>
                      <a:lnTo>
                        <a:pt x="1390" y="481"/>
                      </a:lnTo>
                      <a:lnTo>
                        <a:pt x="1394" y="492"/>
                      </a:lnTo>
                      <a:lnTo>
                        <a:pt x="1401" y="503"/>
                      </a:lnTo>
                      <a:lnTo>
                        <a:pt x="1409" y="513"/>
                      </a:lnTo>
                      <a:lnTo>
                        <a:pt x="1418" y="521"/>
                      </a:lnTo>
                      <a:lnTo>
                        <a:pt x="1428" y="526"/>
                      </a:lnTo>
                      <a:lnTo>
                        <a:pt x="1440" y="531"/>
                      </a:lnTo>
                      <a:lnTo>
                        <a:pt x="1453" y="533"/>
                      </a:lnTo>
                      <a:lnTo>
                        <a:pt x="1453" y="533"/>
                      </a:lnTo>
                      <a:close/>
                      <a:moveTo>
                        <a:pt x="1455" y="351"/>
                      </a:moveTo>
                      <a:lnTo>
                        <a:pt x="1455" y="351"/>
                      </a:lnTo>
                      <a:lnTo>
                        <a:pt x="1456" y="337"/>
                      </a:lnTo>
                      <a:lnTo>
                        <a:pt x="1456" y="337"/>
                      </a:lnTo>
                      <a:lnTo>
                        <a:pt x="1470" y="340"/>
                      </a:lnTo>
                      <a:lnTo>
                        <a:pt x="1484" y="341"/>
                      </a:lnTo>
                      <a:lnTo>
                        <a:pt x="1484" y="341"/>
                      </a:lnTo>
                      <a:lnTo>
                        <a:pt x="1497" y="340"/>
                      </a:lnTo>
                      <a:lnTo>
                        <a:pt x="1507" y="338"/>
                      </a:lnTo>
                      <a:lnTo>
                        <a:pt x="1518" y="336"/>
                      </a:lnTo>
                      <a:lnTo>
                        <a:pt x="1529" y="334"/>
                      </a:lnTo>
                      <a:lnTo>
                        <a:pt x="1539" y="331"/>
                      </a:lnTo>
                      <a:lnTo>
                        <a:pt x="1549" y="326"/>
                      </a:lnTo>
                      <a:lnTo>
                        <a:pt x="1558" y="322"/>
                      </a:lnTo>
                      <a:lnTo>
                        <a:pt x="1569" y="317"/>
                      </a:lnTo>
                      <a:lnTo>
                        <a:pt x="1576" y="310"/>
                      </a:lnTo>
                      <a:lnTo>
                        <a:pt x="1585" y="305"/>
                      </a:lnTo>
                      <a:lnTo>
                        <a:pt x="1593" y="297"/>
                      </a:lnTo>
                      <a:lnTo>
                        <a:pt x="1601" y="290"/>
                      </a:lnTo>
                      <a:lnTo>
                        <a:pt x="1608" y="281"/>
                      </a:lnTo>
                      <a:lnTo>
                        <a:pt x="1615" y="273"/>
                      </a:lnTo>
                      <a:lnTo>
                        <a:pt x="1620" y="264"/>
                      </a:lnTo>
                      <a:lnTo>
                        <a:pt x="1625" y="255"/>
                      </a:lnTo>
                      <a:lnTo>
                        <a:pt x="1625" y="255"/>
                      </a:lnTo>
                      <a:lnTo>
                        <a:pt x="1634" y="264"/>
                      </a:lnTo>
                      <a:lnTo>
                        <a:pt x="1642" y="273"/>
                      </a:lnTo>
                      <a:lnTo>
                        <a:pt x="1650" y="284"/>
                      </a:lnTo>
                      <a:lnTo>
                        <a:pt x="1655" y="296"/>
                      </a:lnTo>
                      <a:lnTo>
                        <a:pt x="1660" y="309"/>
                      </a:lnTo>
                      <a:lnTo>
                        <a:pt x="1663" y="322"/>
                      </a:lnTo>
                      <a:lnTo>
                        <a:pt x="1665" y="336"/>
                      </a:lnTo>
                      <a:lnTo>
                        <a:pt x="1666" y="351"/>
                      </a:lnTo>
                      <a:lnTo>
                        <a:pt x="1666" y="394"/>
                      </a:lnTo>
                      <a:lnTo>
                        <a:pt x="1666" y="394"/>
                      </a:lnTo>
                      <a:lnTo>
                        <a:pt x="1665" y="406"/>
                      </a:lnTo>
                      <a:lnTo>
                        <a:pt x="1664" y="418"/>
                      </a:lnTo>
                      <a:lnTo>
                        <a:pt x="1662" y="429"/>
                      </a:lnTo>
                      <a:lnTo>
                        <a:pt x="1657" y="441"/>
                      </a:lnTo>
                      <a:lnTo>
                        <a:pt x="1653" y="452"/>
                      </a:lnTo>
                      <a:lnTo>
                        <a:pt x="1647" y="461"/>
                      </a:lnTo>
                      <a:lnTo>
                        <a:pt x="1642" y="471"/>
                      </a:lnTo>
                      <a:lnTo>
                        <a:pt x="1635" y="479"/>
                      </a:lnTo>
                      <a:lnTo>
                        <a:pt x="1627" y="487"/>
                      </a:lnTo>
                      <a:lnTo>
                        <a:pt x="1619" y="494"/>
                      </a:lnTo>
                      <a:lnTo>
                        <a:pt x="1610" y="500"/>
                      </a:lnTo>
                      <a:lnTo>
                        <a:pt x="1601" y="505"/>
                      </a:lnTo>
                      <a:lnTo>
                        <a:pt x="1591" y="508"/>
                      </a:lnTo>
                      <a:lnTo>
                        <a:pt x="1581" y="512"/>
                      </a:lnTo>
                      <a:lnTo>
                        <a:pt x="1571" y="514"/>
                      </a:lnTo>
                      <a:lnTo>
                        <a:pt x="1561" y="514"/>
                      </a:lnTo>
                      <a:lnTo>
                        <a:pt x="1561" y="514"/>
                      </a:lnTo>
                      <a:lnTo>
                        <a:pt x="1551" y="514"/>
                      </a:lnTo>
                      <a:lnTo>
                        <a:pt x="1539" y="512"/>
                      </a:lnTo>
                      <a:lnTo>
                        <a:pt x="1530" y="508"/>
                      </a:lnTo>
                      <a:lnTo>
                        <a:pt x="1520" y="505"/>
                      </a:lnTo>
                      <a:lnTo>
                        <a:pt x="1511" y="500"/>
                      </a:lnTo>
                      <a:lnTo>
                        <a:pt x="1502" y="494"/>
                      </a:lnTo>
                      <a:lnTo>
                        <a:pt x="1494" y="487"/>
                      </a:lnTo>
                      <a:lnTo>
                        <a:pt x="1486" y="479"/>
                      </a:lnTo>
                      <a:lnTo>
                        <a:pt x="1480" y="471"/>
                      </a:lnTo>
                      <a:lnTo>
                        <a:pt x="1473" y="461"/>
                      </a:lnTo>
                      <a:lnTo>
                        <a:pt x="1468" y="452"/>
                      </a:lnTo>
                      <a:lnTo>
                        <a:pt x="1464" y="441"/>
                      </a:lnTo>
                      <a:lnTo>
                        <a:pt x="1459" y="429"/>
                      </a:lnTo>
                      <a:lnTo>
                        <a:pt x="1457" y="418"/>
                      </a:lnTo>
                      <a:lnTo>
                        <a:pt x="1455" y="406"/>
                      </a:lnTo>
                      <a:lnTo>
                        <a:pt x="1455" y="394"/>
                      </a:lnTo>
                      <a:lnTo>
                        <a:pt x="1455" y="351"/>
                      </a:lnTo>
                      <a:close/>
                    </a:path>
                  </a:pathLst>
                </a:custGeom>
                <a:solidFill>
                  <a:srgbClr val="F0F0F0"/>
                </a:solidFill>
                <a:ln>
                  <a:noFill/>
                </a:ln>
              </p:spPr>
              <p:txBody>
                <a:bodyPr vert="horz" wrap="square" lIns="72666" tIns="36332" rIns="72666" bIns="36332" numCol="1" anchor="t" anchorCtr="0" compatLnSpc="1">
                  <a:prstTxWarp prst="textNoShape">
                    <a:avLst/>
                  </a:prstTxWarp>
                </a:bodyPr>
                <a:lstStyle/>
                <a:p>
                  <a:pPr defTabSz="791108">
                    <a:defRPr/>
                  </a:pPr>
                  <a:endParaRPr lang="de-DE" sz="1557" kern="0" dirty="0">
                    <a:solidFill>
                      <a:srgbClr val="000000"/>
                    </a:solidFill>
                    <a:latin typeface="+mj-lt"/>
                  </a:endParaRPr>
                </a:p>
              </p:txBody>
            </p:sp>
          </p:grpSp>
          <p:grpSp>
            <p:nvGrpSpPr>
              <p:cNvPr id="162" name="Group 161"/>
              <p:cNvGrpSpPr/>
              <p:nvPr/>
            </p:nvGrpSpPr>
            <p:grpSpPr>
              <a:xfrm>
                <a:off x="8846024" y="3564267"/>
                <a:ext cx="646887" cy="646887"/>
                <a:chOff x="9182007" y="4324151"/>
                <a:chExt cx="684476" cy="684476"/>
              </a:xfrm>
            </p:grpSpPr>
            <p:sp>
              <p:nvSpPr>
                <p:cNvPr id="222" name="Oval 221"/>
                <p:cNvSpPr/>
                <p:nvPr/>
              </p:nvSpPr>
              <p:spPr>
                <a:xfrm>
                  <a:off x="9182007" y="4324151"/>
                  <a:ext cx="684476" cy="684476"/>
                </a:xfrm>
                <a:prstGeom prst="ellipse">
                  <a:avLst/>
                </a:prstGeom>
                <a:solidFill>
                  <a:srgbClr val="FFF27F"/>
                </a:solidFill>
                <a:ln w="12700">
                  <a:noFill/>
                  <a:prstDash val="solid"/>
                  <a:round/>
                  <a:headEnd/>
                  <a:tailEnd/>
                </a:ln>
              </p:spPr>
              <p:txBody>
                <a:bodyPr wrap="none" lIns="0" tIns="28609" rIns="0" bIns="0" anchor="t"/>
                <a:lstStyle/>
                <a:p>
                  <a:pPr algn="ctr" defTabSz="558057">
                    <a:lnSpc>
                      <a:spcPct val="90000"/>
                    </a:lnSpc>
                    <a:defRPr/>
                  </a:pPr>
                  <a:r>
                    <a:rPr lang="de-DE" sz="716" b="1" kern="0" dirty="0">
                      <a:solidFill>
                        <a:schemeClr val="accent1"/>
                      </a:solidFill>
                      <a:latin typeface="+mj-lt"/>
                    </a:rPr>
                    <a:t>Customer</a:t>
                  </a:r>
                </a:p>
              </p:txBody>
            </p:sp>
            <p:sp>
              <p:nvSpPr>
                <p:cNvPr id="223" name="Freeform 13"/>
                <p:cNvSpPr>
                  <a:spLocks noChangeAspect="1" noEditPoints="1"/>
                </p:cNvSpPr>
                <p:nvPr/>
              </p:nvSpPr>
              <p:spPr bwMode="auto">
                <a:xfrm>
                  <a:off x="9339126" y="4631259"/>
                  <a:ext cx="370275" cy="259856"/>
                </a:xfrm>
                <a:custGeom>
                  <a:avLst/>
                  <a:gdLst>
                    <a:gd name="T0" fmla="*/ 2147483647 w 6736"/>
                    <a:gd name="T1" fmla="*/ 2147483647 h 4727"/>
                    <a:gd name="T2" fmla="*/ 2147483647 w 6736"/>
                    <a:gd name="T3" fmla="*/ 2147483647 h 4727"/>
                    <a:gd name="T4" fmla="*/ 2147483647 w 6736"/>
                    <a:gd name="T5" fmla="*/ 2147483647 h 4727"/>
                    <a:gd name="T6" fmla="*/ 2147483647 w 6736"/>
                    <a:gd name="T7" fmla="*/ 2147483647 h 4727"/>
                    <a:gd name="T8" fmla="*/ 2147483647 w 6736"/>
                    <a:gd name="T9" fmla="*/ 2147483647 h 4727"/>
                    <a:gd name="T10" fmla="*/ 2147483647 w 6736"/>
                    <a:gd name="T11" fmla="*/ 2147483647 h 4727"/>
                    <a:gd name="T12" fmla="*/ 2147483647 w 6736"/>
                    <a:gd name="T13" fmla="*/ 2147483647 h 4727"/>
                    <a:gd name="T14" fmla="*/ 2147483647 w 6736"/>
                    <a:gd name="T15" fmla="*/ 2147483647 h 4727"/>
                    <a:gd name="T16" fmla="*/ 2147483647 w 6736"/>
                    <a:gd name="T17" fmla="*/ 2147483647 h 4727"/>
                    <a:gd name="T18" fmla="*/ 0 w 6736"/>
                    <a:gd name="T19" fmla="*/ 2147483647 h 4727"/>
                    <a:gd name="T20" fmla="*/ 2147483647 w 6736"/>
                    <a:gd name="T21" fmla="*/ 2147483647 h 4727"/>
                    <a:gd name="T22" fmla="*/ 2147483647 w 6736"/>
                    <a:gd name="T23" fmla="*/ 2147483647 h 4727"/>
                    <a:gd name="T24" fmla="*/ 2147483647 w 6736"/>
                    <a:gd name="T25" fmla="*/ 2147483647 h 4727"/>
                    <a:gd name="T26" fmla="*/ 2147483647 w 6736"/>
                    <a:gd name="T27" fmla="*/ 2147483647 h 4727"/>
                    <a:gd name="T28" fmla="*/ 2147483647 w 6736"/>
                    <a:gd name="T29" fmla="*/ 2147483647 h 4727"/>
                    <a:gd name="T30" fmla="*/ 2147483647 w 6736"/>
                    <a:gd name="T31" fmla="*/ 2147483647 h 4727"/>
                    <a:gd name="T32" fmla="*/ 2147483647 w 6736"/>
                    <a:gd name="T33" fmla="*/ 2147483647 h 4727"/>
                    <a:gd name="T34" fmla="*/ 2147483647 w 6736"/>
                    <a:gd name="T35" fmla="*/ 2147483647 h 4727"/>
                    <a:gd name="T36" fmla="*/ 2147483647 w 6736"/>
                    <a:gd name="T37" fmla="*/ 2147483647 h 4727"/>
                    <a:gd name="T38" fmla="*/ 2147483647 w 6736"/>
                    <a:gd name="T39" fmla="*/ 2147483647 h 4727"/>
                    <a:gd name="T40" fmla="*/ 2147483647 w 6736"/>
                    <a:gd name="T41" fmla="*/ 2147483647 h 4727"/>
                    <a:gd name="T42" fmla="*/ 2147483647 w 6736"/>
                    <a:gd name="T43" fmla="*/ 2147483647 h 4727"/>
                    <a:gd name="T44" fmla="*/ 2147483647 w 6736"/>
                    <a:gd name="T45" fmla="*/ 2147483647 h 4727"/>
                    <a:gd name="T46" fmla="*/ 2147483647 w 6736"/>
                    <a:gd name="T47" fmla="*/ 2147483647 h 4727"/>
                    <a:gd name="T48" fmla="*/ 2147483647 w 6736"/>
                    <a:gd name="T49" fmla="*/ 2147483647 h 4727"/>
                    <a:gd name="T50" fmla="*/ 2147483647 w 6736"/>
                    <a:gd name="T51" fmla="*/ 2147483647 h 4727"/>
                    <a:gd name="T52" fmla="*/ 2147483647 w 6736"/>
                    <a:gd name="T53" fmla="*/ 2147483647 h 4727"/>
                    <a:gd name="T54" fmla="*/ 2147483647 w 6736"/>
                    <a:gd name="T55" fmla="*/ 2147483647 h 4727"/>
                    <a:gd name="T56" fmla="*/ 2147483647 w 6736"/>
                    <a:gd name="T57" fmla="*/ 2147483647 h 4727"/>
                    <a:gd name="T58" fmla="*/ 2147483647 w 6736"/>
                    <a:gd name="T59" fmla="*/ 2147483647 h 4727"/>
                    <a:gd name="T60" fmla="*/ 2147483647 w 6736"/>
                    <a:gd name="T61" fmla="*/ 2147483647 h 4727"/>
                    <a:gd name="T62" fmla="*/ 2147483647 w 6736"/>
                    <a:gd name="T63" fmla="*/ 2147483647 h 4727"/>
                    <a:gd name="T64" fmla="*/ 2147483647 w 6736"/>
                    <a:gd name="T65" fmla="*/ 2147483647 h 4727"/>
                    <a:gd name="T66" fmla="*/ 2147483647 w 6736"/>
                    <a:gd name="T67" fmla="*/ 2147483647 h 4727"/>
                    <a:gd name="T68" fmla="*/ 2147483647 w 6736"/>
                    <a:gd name="T69" fmla="*/ 2147483647 h 4727"/>
                    <a:gd name="T70" fmla="*/ 2147483647 w 6736"/>
                    <a:gd name="T71" fmla="*/ 2147483647 h 4727"/>
                    <a:gd name="T72" fmla="*/ 2147483647 w 6736"/>
                    <a:gd name="T73" fmla="*/ 2147483647 h 4727"/>
                    <a:gd name="T74" fmla="*/ 2147483647 w 6736"/>
                    <a:gd name="T75" fmla="*/ 2147483647 h 4727"/>
                    <a:gd name="T76" fmla="*/ 2147483647 w 6736"/>
                    <a:gd name="T77" fmla="*/ 2147483647 h 4727"/>
                    <a:gd name="T78" fmla="*/ 2147483647 w 6736"/>
                    <a:gd name="T79" fmla="*/ 2147483647 h 4727"/>
                    <a:gd name="T80" fmla="*/ 2147483647 w 6736"/>
                    <a:gd name="T81" fmla="*/ 0 h 4727"/>
                    <a:gd name="T82" fmla="*/ 2147483647 w 6736"/>
                    <a:gd name="T83" fmla="*/ 2147483647 h 4727"/>
                    <a:gd name="T84" fmla="*/ 2147483647 w 6736"/>
                    <a:gd name="T85" fmla="*/ 2147483647 h 4727"/>
                    <a:gd name="T86" fmla="*/ 2147483647 w 6736"/>
                    <a:gd name="T87" fmla="*/ 2147483647 h 4727"/>
                    <a:gd name="T88" fmla="*/ 2147483647 w 6736"/>
                    <a:gd name="T89" fmla="*/ 2147483647 h 4727"/>
                    <a:gd name="T90" fmla="*/ 2147483647 w 6736"/>
                    <a:gd name="T91" fmla="*/ 2147483647 h 4727"/>
                    <a:gd name="T92" fmla="*/ 2147483647 w 6736"/>
                    <a:gd name="T93" fmla="*/ 2147483647 h 4727"/>
                    <a:gd name="T94" fmla="*/ 2147483647 w 6736"/>
                    <a:gd name="T95" fmla="*/ 2147483647 h 4727"/>
                    <a:gd name="T96" fmla="*/ 2147483647 w 6736"/>
                    <a:gd name="T97" fmla="*/ 2147483647 h 4727"/>
                    <a:gd name="T98" fmla="*/ 2147483647 w 6736"/>
                    <a:gd name="T99" fmla="*/ 2147483647 h 4727"/>
                    <a:gd name="T100" fmla="*/ 2147483647 w 6736"/>
                    <a:gd name="T101" fmla="*/ 2147483647 h 4727"/>
                    <a:gd name="T102" fmla="*/ 2147483647 w 6736"/>
                    <a:gd name="T103" fmla="*/ 2147483647 h 4727"/>
                    <a:gd name="T104" fmla="*/ 2147483647 w 6736"/>
                    <a:gd name="T105" fmla="*/ 2147483647 h 4727"/>
                    <a:gd name="T106" fmla="*/ 2147483647 w 6736"/>
                    <a:gd name="T107" fmla="*/ 2147483647 h 4727"/>
                    <a:gd name="T108" fmla="*/ 2147483647 w 6736"/>
                    <a:gd name="T109" fmla="*/ 2147483647 h 4727"/>
                    <a:gd name="T110" fmla="*/ 2147483647 w 6736"/>
                    <a:gd name="T111" fmla="*/ 2147483647 h 4727"/>
                    <a:gd name="T112" fmla="*/ 2147483647 w 6736"/>
                    <a:gd name="T113" fmla="*/ 2147483647 h 4727"/>
                    <a:gd name="T114" fmla="*/ 2147483647 w 6736"/>
                    <a:gd name="T115" fmla="*/ 2147483647 h 4727"/>
                    <a:gd name="T116" fmla="*/ 2147483647 w 6736"/>
                    <a:gd name="T117" fmla="*/ 2147483647 h 4727"/>
                    <a:gd name="T118" fmla="*/ 2147483647 w 6736"/>
                    <a:gd name="T119" fmla="*/ 2147483647 h 4727"/>
                    <a:gd name="T120" fmla="*/ 2147483647 w 6736"/>
                    <a:gd name="T121" fmla="*/ 2147483647 h 47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736"/>
                    <a:gd name="T184" fmla="*/ 0 h 4727"/>
                    <a:gd name="T185" fmla="*/ 6736 w 6736"/>
                    <a:gd name="T186" fmla="*/ 4727 h 47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736" h="4727">
                      <a:moveTo>
                        <a:pt x="1302" y="3975"/>
                      </a:moveTo>
                      <a:lnTo>
                        <a:pt x="1302" y="3713"/>
                      </a:lnTo>
                      <a:lnTo>
                        <a:pt x="1438" y="3713"/>
                      </a:lnTo>
                      <a:lnTo>
                        <a:pt x="1438" y="3975"/>
                      </a:lnTo>
                      <a:lnTo>
                        <a:pt x="1302" y="3975"/>
                      </a:lnTo>
                      <a:close/>
                      <a:moveTo>
                        <a:pt x="2533" y="3206"/>
                      </a:moveTo>
                      <a:lnTo>
                        <a:pt x="750" y="2593"/>
                      </a:lnTo>
                      <a:lnTo>
                        <a:pt x="750" y="3206"/>
                      </a:lnTo>
                      <a:lnTo>
                        <a:pt x="2533" y="3206"/>
                      </a:lnTo>
                      <a:close/>
                      <a:moveTo>
                        <a:pt x="1453" y="2537"/>
                      </a:moveTo>
                      <a:lnTo>
                        <a:pt x="1635" y="2596"/>
                      </a:lnTo>
                      <a:lnTo>
                        <a:pt x="1584" y="1229"/>
                      </a:lnTo>
                      <a:lnTo>
                        <a:pt x="1502" y="1229"/>
                      </a:lnTo>
                      <a:lnTo>
                        <a:pt x="1453" y="2537"/>
                      </a:lnTo>
                      <a:close/>
                      <a:moveTo>
                        <a:pt x="2745" y="4447"/>
                      </a:moveTo>
                      <a:lnTo>
                        <a:pt x="2738" y="3342"/>
                      </a:lnTo>
                      <a:lnTo>
                        <a:pt x="750" y="3342"/>
                      </a:lnTo>
                      <a:lnTo>
                        <a:pt x="750" y="4447"/>
                      </a:lnTo>
                      <a:lnTo>
                        <a:pt x="479" y="4447"/>
                      </a:lnTo>
                      <a:lnTo>
                        <a:pt x="479" y="2219"/>
                      </a:lnTo>
                      <a:lnTo>
                        <a:pt x="1319" y="2493"/>
                      </a:lnTo>
                      <a:lnTo>
                        <a:pt x="1372" y="1093"/>
                      </a:lnTo>
                      <a:lnTo>
                        <a:pt x="1715" y="1093"/>
                      </a:lnTo>
                      <a:lnTo>
                        <a:pt x="1774" y="2640"/>
                      </a:lnTo>
                      <a:lnTo>
                        <a:pt x="2083" y="2742"/>
                      </a:lnTo>
                      <a:lnTo>
                        <a:pt x="3645" y="2263"/>
                      </a:lnTo>
                      <a:lnTo>
                        <a:pt x="6281" y="3136"/>
                      </a:lnTo>
                      <a:lnTo>
                        <a:pt x="6288" y="4447"/>
                      </a:lnTo>
                      <a:lnTo>
                        <a:pt x="6016" y="4449"/>
                      </a:lnTo>
                      <a:lnTo>
                        <a:pt x="6011" y="3342"/>
                      </a:lnTo>
                      <a:lnTo>
                        <a:pt x="3303" y="3342"/>
                      </a:lnTo>
                      <a:lnTo>
                        <a:pt x="3303" y="3206"/>
                      </a:lnTo>
                      <a:lnTo>
                        <a:pt x="4884" y="3206"/>
                      </a:lnTo>
                      <a:lnTo>
                        <a:pt x="3640" y="2549"/>
                      </a:lnTo>
                      <a:lnTo>
                        <a:pt x="2276" y="2966"/>
                      </a:lnTo>
                      <a:lnTo>
                        <a:pt x="2874" y="3187"/>
                      </a:lnTo>
                      <a:lnTo>
                        <a:pt x="2881" y="4447"/>
                      </a:lnTo>
                      <a:lnTo>
                        <a:pt x="2745" y="4447"/>
                      </a:lnTo>
                      <a:close/>
                      <a:moveTo>
                        <a:pt x="4599" y="4148"/>
                      </a:moveTo>
                      <a:lnTo>
                        <a:pt x="4599" y="3887"/>
                      </a:lnTo>
                      <a:lnTo>
                        <a:pt x="4735" y="3887"/>
                      </a:lnTo>
                      <a:lnTo>
                        <a:pt x="4735" y="4148"/>
                      </a:lnTo>
                      <a:lnTo>
                        <a:pt x="4599" y="4148"/>
                      </a:lnTo>
                      <a:close/>
                      <a:moveTo>
                        <a:pt x="5312" y="4148"/>
                      </a:moveTo>
                      <a:lnTo>
                        <a:pt x="5312" y="3887"/>
                      </a:lnTo>
                      <a:lnTo>
                        <a:pt x="5448" y="3887"/>
                      </a:lnTo>
                      <a:lnTo>
                        <a:pt x="5448" y="4148"/>
                      </a:lnTo>
                      <a:lnTo>
                        <a:pt x="5312" y="4148"/>
                      </a:lnTo>
                      <a:close/>
                      <a:moveTo>
                        <a:pt x="4955" y="4148"/>
                      </a:moveTo>
                      <a:lnTo>
                        <a:pt x="4955" y="3887"/>
                      </a:lnTo>
                      <a:lnTo>
                        <a:pt x="5091" y="3887"/>
                      </a:lnTo>
                      <a:lnTo>
                        <a:pt x="5091" y="4148"/>
                      </a:lnTo>
                      <a:lnTo>
                        <a:pt x="4955" y="4148"/>
                      </a:lnTo>
                      <a:close/>
                      <a:moveTo>
                        <a:pt x="3302" y="4591"/>
                      </a:moveTo>
                      <a:lnTo>
                        <a:pt x="3302" y="3887"/>
                      </a:lnTo>
                      <a:lnTo>
                        <a:pt x="4147" y="3887"/>
                      </a:lnTo>
                      <a:lnTo>
                        <a:pt x="4147" y="4591"/>
                      </a:lnTo>
                      <a:lnTo>
                        <a:pt x="6736" y="4591"/>
                      </a:lnTo>
                      <a:lnTo>
                        <a:pt x="6736" y="4727"/>
                      </a:lnTo>
                      <a:lnTo>
                        <a:pt x="0" y="4727"/>
                      </a:lnTo>
                      <a:lnTo>
                        <a:pt x="0" y="4591"/>
                      </a:lnTo>
                      <a:lnTo>
                        <a:pt x="3302" y="4591"/>
                      </a:lnTo>
                      <a:close/>
                      <a:moveTo>
                        <a:pt x="3667" y="4004"/>
                      </a:moveTo>
                      <a:lnTo>
                        <a:pt x="3419" y="4004"/>
                      </a:lnTo>
                      <a:lnTo>
                        <a:pt x="3419" y="4581"/>
                      </a:lnTo>
                      <a:lnTo>
                        <a:pt x="3667" y="4581"/>
                      </a:lnTo>
                      <a:lnTo>
                        <a:pt x="3667" y="4004"/>
                      </a:lnTo>
                      <a:close/>
                      <a:moveTo>
                        <a:pt x="4030" y="4581"/>
                      </a:moveTo>
                      <a:lnTo>
                        <a:pt x="4030" y="4004"/>
                      </a:lnTo>
                      <a:lnTo>
                        <a:pt x="3784" y="4004"/>
                      </a:lnTo>
                      <a:lnTo>
                        <a:pt x="3784" y="4581"/>
                      </a:lnTo>
                      <a:lnTo>
                        <a:pt x="4030" y="4581"/>
                      </a:lnTo>
                      <a:close/>
                      <a:moveTo>
                        <a:pt x="1426" y="718"/>
                      </a:moveTo>
                      <a:lnTo>
                        <a:pt x="4492" y="718"/>
                      </a:lnTo>
                      <a:lnTo>
                        <a:pt x="4526" y="717"/>
                      </a:lnTo>
                      <a:lnTo>
                        <a:pt x="4553" y="711"/>
                      </a:lnTo>
                      <a:lnTo>
                        <a:pt x="4565" y="708"/>
                      </a:lnTo>
                      <a:lnTo>
                        <a:pt x="4575" y="705"/>
                      </a:lnTo>
                      <a:lnTo>
                        <a:pt x="4583" y="700"/>
                      </a:lnTo>
                      <a:lnTo>
                        <a:pt x="4592" y="694"/>
                      </a:lnTo>
                      <a:lnTo>
                        <a:pt x="4599" y="688"/>
                      </a:lnTo>
                      <a:lnTo>
                        <a:pt x="4604" y="683"/>
                      </a:lnTo>
                      <a:lnTo>
                        <a:pt x="4609" y="676"/>
                      </a:lnTo>
                      <a:lnTo>
                        <a:pt x="4612" y="669"/>
                      </a:lnTo>
                      <a:lnTo>
                        <a:pt x="4614" y="660"/>
                      </a:lnTo>
                      <a:lnTo>
                        <a:pt x="4616" y="654"/>
                      </a:lnTo>
                      <a:lnTo>
                        <a:pt x="4616" y="638"/>
                      </a:lnTo>
                      <a:lnTo>
                        <a:pt x="4612" y="621"/>
                      </a:lnTo>
                      <a:lnTo>
                        <a:pt x="4606" y="606"/>
                      </a:lnTo>
                      <a:lnTo>
                        <a:pt x="4595" y="589"/>
                      </a:lnTo>
                      <a:lnTo>
                        <a:pt x="4583" y="576"/>
                      </a:lnTo>
                      <a:lnTo>
                        <a:pt x="4570" y="560"/>
                      </a:lnTo>
                      <a:lnTo>
                        <a:pt x="4555" y="548"/>
                      </a:lnTo>
                      <a:lnTo>
                        <a:pt x="4538" y="538"/>
                      </a:lnTo>
                      <a:lnTo>
                        <a:pt x="4519" y="530"/>
                      </a:lnTo>
                      <a:lnTo>
                        <a:pt x="4480" y="518"/>
                      </a:lnTo>
                      <a:lnTo>
                        <a:pt x="4436" y="504"/>
                      </a:lnTo>
                      <a:lnTo>
                        <a:pt x="4383" y="491"/>
                      </a:lnTo>
                      <a:lnTo>
                        <a:pt x="4325" y="479"/>
                      </a:lnTo>
                      <a:lnTo>
                        <a:pt x="4258" y="469"/>
                      </a:lnTo>
                      <a:lnTo>
                        <a:pt x="4185" y="460"/>
                      </a:lnTo>
                      <a:lnTo>
                        <a:pt x="4101" y="455"/>
                      </a:lnTo>
                      <a:lnTo>
                        <a:pt x="4010" y="453"/>
                      </a:lnTo>
                      <a:lnTo>
                        <a:pt x="3957" y="455"/>
                      </a:lnTo>
                      <a:lnTo>
                        <a:pt x="3904" y="457"/>
                      </a:lnTo>
                      <a:lnTo>
                        <a:pt x="3799" y="460"/>
                      </a:lnTo>
                      <a:lnTo>
                        <a:pt x="3828" y="436"/>
                      </a:lnTo>
                      <a:lnTo>
                        <a:pt x="3843" y="423"/>
                      </a:lnTo>
                      <a:lnTo>
                        <a:pt x="3857" y="408"/>
                      </a:lnTo>
                      <a:lnTo>
                        <a:pt x="3869" y="389"/>
                      </a:lnTo>
                      <a:lnTo>
                        <a:pt x="3877" y="370"/>
                      </a:lnTo>
                      <a:lnTo>
                        <a:pt x="3882" y="358"/>
                      </a:lnTo>
                      <a:lnTo>
                        <a:pt x="3884" y="348"/>
                      </a:lnTo>
                      <a:lnTo>
                        <a:pt x="3886" y="336"/>
                      </a:lnTo>
                      <a:lnTo>
                        <a:pt x="3886" y="323"/>
                      </a:lnTo>
                      <a:lnTo>
                        <a:pt x="3886" y="309"/>
                      </a:lnTo>
                      <a:lnTo>
                        <a:pt x="3881" y="297"/>
                      </a:lnTo>
                      <a:lnTo>
                        <a:pt x="3874" y="285"/>
                      </a:lnTo>
                      <a:lnTo>
                        <a:pt x="3864" y="273"/>
                      </a:lnTo>
                      <a:lnTo>
                        <a:pt x="3852" y="261"/>
                      </a:lnTo>
                      <a:lnTo>
                        <a:pt x="3837" y="251"/>
                      </a:lnTo>
                      <a:lnTo>
                        <a:pt x="3821" y="241"/>
                      </a:lnTo>
                      <a:lnTo>
                        <a:pt x="3803" y="233"/>
                      </a:lnTo>
                      <a:lnTo>
                        <a:pt x="3782" y="224"/>
                      </a:lnTo>
                      <a:lnTo>
                        <a:pt x="3762" y="216"/>
                      </a:lnTo>
                      <a:lnTo>
                        <a:pt x="3714" y="200"/>
                      </a:lnTo>
                      <a:lnTo>
                        <a:pt x="3665" y="187"/>
                      </a:lnTo>
                      <a:lnTo>
                        <a:pt x="3612" y="175"/>
                      </a:lnTo>
                      <a:lnTo>
                        <a:pt x="3558" y="165"/>
                      </a:lnTo>
                      <a:lnTo>
                        <a:pt x="3506" y="156"/>
                      </a:lnTo>
                      <a:lnTo>
                        <a:pt x="3455" y="149"/>
                      </a:lnTo>
                      <a:lnTo>
                        <a:pt x="3407" y="144"/>
                      </a:lnTo>
                      <a:lnTo>
                        <a:pt x="3327" y="138"/>
                      </a:lnTo>
                      <a:lnTo>
                        <a:pt x="3280" y="136"/>
                      </a:lnTo>
                      <a:lnTo>
                        <a:pt x="3230" y="138"/>
                      </a:lnTo>
                      <a:lnTo>
                        <a:pt x="3154" y="141"/>
                      </a:lnTo>
                      <a:lnTo>
                        <a:pt x="3108" y="144"/>
                      </a:lnTo>
                      <a:lnTo>
                        <a:pt x="3059" y="149"/>
                      </a:lnTo>
                      <a:lnTo>
                        <a:pt x="3006" y="156"/>
                      </a:lnTo>
                      <a:lnTo>
                        <a:pt x="2954" y="163"/>
                      </a:lnTo>
                      <a:lnTo>
                        <a:pt x="2903" y="173"/>
                      </a:lnTo>
                      <a:lnTo>
                        <a:pt x="2854" y="187"/>
                      </a:lnTo>
                      <a:lnTo>
                        <a:pt x="2808" y="200"/>
                      </a:lnTo>
                      <a:lnTo>
                        <a:pt x="2786" y="209"/>
                      </a:lnTo>
                      <a:lnTo>
                        <a:pt x="2767" y="217"/>
                      </a:lnTo>
                      <a:lnTo>
                        <a:pt x="2748" y="228"/>
                      </a:lnTo>
                      <a:lnTo>
                        <a:pt x="2731" y="238"/>
                      </a:lnTo>
                      <a:lnTo>
                        <a:pt x="2716" y="248"/>
                      </a:lnTo>
                      <a:lnTo>
                        <a:pt x="2703" y="260"/>
                      </a:lnTo>
                      <a:lnTo>
                        <a:pt x="2692" y="273"/>
                      </a:lnTo>
                      <a:lnTo>
                        <a:pt x="2684" y="285"/>
                      </a:lnTo>
                      <a:lnTo>
                        <a:pt x="2679" y="301"/>
                      </a:lnTo>
                      <a:lnTo>
                        <a:pt x="2675" y="316"/>
                      </a:lnTo>
                      <a:lnTo>
                        <a:pt x="2675" y="328"/>
                      </a:lnTo>
                      <a:lnTo>
                        <a:pt x="2677" y="340"/>
                      </a:lnTo>
                      <a:lnTo>
                        <a:pt x="2682" y="351"/>
                      </a:lnTo>
                      <a:lnTo>
                        <a:pt x="2689" y="363"/>
                      </a:lnTo>
                      <a:lnTo>
                        <a:pt x="2699" y="374"/>
                      </a:lnTo>
                      <a:lnTo>
                        <a:pt x="2713" y="385"/>
                      </a:lnTo>
                      <a:lnTo>
                        <a:pt x="2728" y="394"/>
                      </a:lnTo>
                      <a:lnTo>
                        <a:pt x="2747" y="402"/>
                      </a:lnTo>
                      <a:lnTo>
                        <a:pt x="2706" y="530"/>
                      </a:lnTo>
                      <a:lnTo>
                        <a:pt x="2635" y="525"/>
                      </a:lnTo>
                      <a:lnTo>
                        <a:pt x="2562" y="523"/>
                      </a:lnTo>
                      <a:lnTo>
                        <a:pt x="2507" y="523"/>
                      </a:lnTo>
                      <a:lnTo>
                        <a:pt x="2453" y="526"/>
                      </a:lnTo>
                      <a:lnTo>
                        <a:pt x="2397" y="531"/>
                      </a:lnTo>
                      <a:lnTo>
                        <a:pt x="2341" y="540"/>
                      </a:lnTo>
                      <a:lnTo>
                        <a:pt x="2287" y="550"/>
                      </a:lnTo>
                      <a:lnTo>
                        <a:pt x="2259" y="557"/>
                      </a:lnTo>
                      <a:lnTo>
                        <a:pt x="2232" y="565"/>
                      </a:lnTo>
                      <a:lnTo>
                        <a:pt x="2205" y="574"/>
                      </a:lnTo>
                      <a:lnTo>
                        <a:pt x="2180" y="584"/>
                      </a:lnTo>
                      <a:lnTo>
                        <a:pt x="2156" y="596"/>
                      </a:lnTo>
                      <a:lnTo>
                        <a:pt x="2130" y="608"/>
                      </a:lnTo>
                      <a:lnTo>
                        <a:pt x="2059" y="594"/>
                      </a:lnTo>
                      <a:lnTo>
                        <a:pt x="1990" y="586"/>
                      </a:lnTo>
                      <a:lnTo>
                        <a:pt x="1917" y="581"/>
                      </a:lnTo>
                      <a:lnTo>
                        <a:pt x="1845" y="579"/>
                      </a:lnTo>
                      <a:lnTo>
                        <a:pt x="1810" y="579"/>
                      </a:lnTo>
                      <a:lnTo>
                        <a:pt x="1754" y="581"/>
                      </a:lnTo>
                      <a:lnTo>
                        <a:pt x="1684" y="586"/>
                      </a:lnTo>
                      <a:lnTo>
                        <a:pt x="1608" y="594"/>
                      </a:lnTo>
                      <a:lnTo>
                        <a:pt x="1569" y="599"/>
                      </a:lnTo>
                      <a:lnTo>
                        <a:pt x="1533" y="606"/>
                      </a:lnTo>
                      <a:lnTo>
                        <a:pt x="1499" y="613"/>
                      </a:lnTo>
                      <a:lnTo>
                        <a:pt x="1467" y="621"/>
                      </a:lnTo>
                      <a:lnTo>
                        <a:pt x="1440" y="632"/>
                      </a:lnTo>
                      <a:lnTo>
                        <a:pt x="1417" y="644"/>
                      </a:lnTo>
                      <a:lnTo>
                        <a:pt x="1409" y="650"/>
                      </a:lnTo>
                      <a:lnTo>
                        <a:pt x="1401" y="655"/>
                      </a:lnTo>
                      <a:lnTo>
                        <a:pt x="1395" y="664"/>
                      </a:lnTo>
                      <a:lnTo>
                        <a:pt x="1392" y="671"/>
                      </a:lnTo>
                      <a:lnTo>
                        <a:pt x="1387" y="683"/>
                      </a:lnTo>
                      <a:lnTo>
                        <a:pt x="1387" y="694"/>
                      </a:lnTo>
                      <a:lnTo>
                        <a:pt x="1390" y="701"/>
                      </a:lnTo>
                      <a:lnTo>
                        <a:pt x="1395" y="708"/>
                      </a:lnTo>
                      <a:lnTo>
                        <a:pt x="1401" y="713"/>
                      </a:lnTo>
                      <a:lnTo>
                        <a:pt x="1409" y="717"/>
                      </a:lnTo>
                      <a:lnTo>
                        <a:pt x="1417" y="718"/>
                      </a:lnTo>
                      <a:lnTo>
                        <a:pt x="1426" y="718"/>
                      </a:lnTo>
                      <a:close/>
                      <a:moveTo>
                        <a:pt x="2548" y="387"/>
                      </a:moveTo>
                      <a:lnTo>
                        <a:pt x="2548" y="387"/>
                      </a:lnTo>
                      <a:lnTo>
                        <a:pt x="2543" y="372"/>
                      </a:lnTo>
                      <a:lnTo>
                        <a:pt x="2538" y="357"/>
                      </a:lnTo>
                      <a:lnTo>
                        <a:pt x="2536" y="340"/>
                      </a:lnTo>
                      <a:lnTo>
                        <a:pt x="2536" y="323"/>
                      </a:lnTo>
                      <a:lnTo>
                        <a:pt x="2538" y="297"/>
                      </a:lnTo>
                      <a:lnTo>
                        <a:pt x="2541" y="273"/>
                      </a:lnTo>
                      <a:lnTo>
                        <a:pt x="2550" y="251"/>
                      </a:lnTo>
                      <a:lnTo>
                        <a:pt x="2560" y="231"/>
                      </a:lnTo>
                      <a:lnTo>
                        <a:pt x="2574" y="211"/>
                      </a:lnTo>
                      <a:lnTo>
                        <a:pt x="2589" y="192"/>
                      </a:lnTo>
                      <a:lnTo>
                        <a:pt x="2607" y="173"/>
                      </a:lnTo>
                      <a:lnTo>
                        <a:pt x="2628" y="156"/>
                      </a:lnTo>
                      <a:lnTo>
                        <a:pt x="2650" y="141"/>
                      </a:lnTo>
                      <a:lnTo>
                        <a:pt x="2674" y="126"/>
                      </a:lnTo>
                      <a:lnTo>
                        <a:pt x="2697" y="112"/>
                      </a:lnTo>
                      <a:lnTo>
                        <a:pt x="2725" y="100"/>
                      </a:lnTo>
                      <a:lnTo>
                        <a:pt x="2753" y="88"/>
                      </a:lnTo>
                      <a:lnTo>
                        <a:pt x="2782" y="78"/>
                      </a:lnTo>
                      <a:lnTo>
                        <a:pt x="2811" y="68"/>
                      </a:lnTo>
                      <a:lnTo>
                        <a:pt x="2842" y="58"/>
                      </a:lnTo>
                      <a:lnTo>
                        <a:pt x="2905" y="42"/>
                      </a:lnTo>
                      <a:lnTo>
                        <a:pt x="2967" y="31"/>
                      </a:lnTo>
                      <a:lnTo>
                        <a:pt x="3030" y="20"/>
                      </a:lnTo>
                      <a:lnTo>
                        <a:pt x="3090" y="12"/>
                      </a:lnTo>
                      <a:lnTo>
                        <a:pt x="3146" y="7"/>
                      </a:lnTo>
                      <a:lnTo>
                        <a:pt x="3197" y="3"/>
                      </a:lnTo>
                      <a:lnTo>
                        <a:pt x="3242" y="0"/>
                      </a:lnTo>
                      <a:lnTo>
                        <a:pt x="3280" y="0"/>
                      </a:lnTo>
                      <a:lnTo>
                        <a:pt x="3315" y="0"/>
                      </a:lnTo>
                      <a:lnTo>
                        <a:pt x="3361" y="2"/>
                      </a:lnTo>
                      <a:lnTo>
                        <a:pt x="3412" y="7"/>
                      </a:lnTo>
                      <a:lnTo>
                        <a:pt x="3468" y="12"/>
                      </a:lnTo>
                      <a:lnTo>
                        <a:pt x="3528" y="19"/>
                      </a:lnTo>
                      <a:lnTo>
                        <a:pt x="3589" y="29"/>
                      </a:lnTo>
                      <a:lnTo>
                        <a:pt x="3651" y="42"/>
                      </a:lnTo>
                      <a:lnTo>
                        <a:pt x="3713" y="58"/>
                      </a:lnTo>
                      <a:lnTo>
                        <a:pt x="3774" y="76"/>
                      </a:lnTo>
                      <a:lnTo>
                        <a:pt x="3801" y="87"/>
                      </a:lnTo>
                      <a:lnTo>
                        <a:pt x="3830" y="98"/>
                      </a:lnTo>
                      <a:lnTo>
                        <a:pt x="3857" y="110"/>
                      </a:lnTo>
                      <a:lnTo>
                        <a:pt x="3881" y="124"/>
                      </a:lnTo>
                      <a:lnTo>
                        <a:pt x="3904" y="139"/>
                      </a:lnTo>
                      <a:lnTo>
                        <a:pt x="3927" y="155"/>
                      </a:lnTo>
                      <a:lnTo>
                        <a:pt x="3947" y="171"/>
                      </a:lnTo>
                      <a:lnTo>
                        <a:pt x="3966" y="188"/>
                      </a:lnTo>
                      <a:lnTo>
                        <a:pt x="3983" y="207"/>
                      </a:lnTo>
                      <a:lnTo>
                        <a:pt x="3996" y="226"/>
                      </a:lnTo>
                      <a:lnTo>
                        <a:pt x="4006" y="248"/>
                      </a:lnTo>
                      <a:lnTo>
                        <a:pt x="4015" y="270"/>
                      </a:lnTo>
                      <a:lnTo>
                        <a:pt x="4020" y="294"/>
                      </a:lnTo>
                      <a:lnTo>
                        <a:pt x="4022" y="318"/>
                      </a:lnTo>
                      <a:lnTo>
                        <a:pt x="4108" y="319"/>
                      </a:lnTo>
                      <a:lnTo>
                        <a:pt x="4190" y="324"/>
                      </a:lnTo>
                      <a:lnTo>
                        <a:pt x="4263" y="331"/>
                      </a:lnTo>
                      <a:lnTo>
                        <a:pt x="4331" y="341"/>
                      </a:lnTo>
                      <a:lnTo>
                        <a:pt x="4393" y="355"/>
                      </a:lnTo>
                      <a:lnTo>
                        <a:pt x="4451" y="368"/>
                      </a:lnTo>
                      <a:lnTo>
                        <a:pt x="4504" y="385"/>
                      </a:lnTo>
                      <a:lnTo>
                        <a:pt x="4550" y="402"/>
                      </a:lnTo>
                      <a:lnTo>
                        <a:pt x="4592" y="423"/>
                      </a:lnTo>
                      <a:lnTo>
                        <a:pt x="4628" y="443"/>
                      </a:lnTo>
                      <a:lnTo>
                        <a:pt x="4660" y="465"/>
                      </a:lnTo>
                      <a:lnTo>
                        <a:pt x="4687" y="489"/>
                      </a:lnTo>
                      <a:lnTo>
                        <a:pt x="4711" y="513"/>
                      </a:lnTo>
                      <a:lnTo>
                        <a:pt x="4729" y="537"/>
                      </a:lnTo>
                      <a:lnTo>
                        <a:pt x="4745" y="562"/>
                      </a:lnTo>
                      <a:lnTo>
                        <a:pt x="4757" y="587"/>
                      </a:lnTo>
                      <a:lnTo>
                        <a:pt x="4763" y="613"/>
                      </a:lnTo>
                      <a:lnTo>
                        <a:pt x="4769" y="637"/>
                      </a:lnTo>
                      <a:lnTo>
                        <a:pt x="4769" y="662"/>
                      </a:lnTo>
                      <a:lnTo>
                        <a:pt x="4767" y="686"/>
                      </a:lnTo>
                      <a:lnTo>
                        <a:pt x="4762" y="708"/>
                      </a:lnTo>
                      <a:lnTo>
                        <a:pt x="4753" y="730"/>
                      </a:lnTo>
                      <a:lnTo>
                        <a:pt x="4741" y="750"/>
                      </a:lnTo>
                      <a:lnTo>
                        <a:pt x="4728" y="771"/>
                      </a:lnTo>
                      <a:lnTo>
                        <a:pt x="4712" y="788"/>
                      </a:lnTo>
                      <a:lnTo>
                        <a:pt x="4694" y="805"/>
                      </a:lnTo>
                      <a:lnTo>
                        <a:pt x="4675" y="818"/>
                      </a:lnTo>
                      <a:lnTo>
                        <a:pt x="4653" y="830"/>
                      </a:lnTo>
                      <a:lnTo>
                        <a:pt x="4629" y="840"/>
                      </a:lnTo>
                      <a:lnTo>
                        <a:pt x="4604" y="847"/>
                      </a:lnTo>
                      <a:lnTo>
                        <a:pt x="4577" y="852"/>
                      </a:lnTo>
                      <a:lnTo>
                        <a:pt x="4550" y="854"/>
                      </a:lnTo>
                      <a:lnTo>
                        <a:pt x="1412" y="854"/>
                      </a:lnTo>
                      <a:lnTo>
                        <a:pt x="1395" y="852"/>
                      </a:lnTo>
                      <a:lnTo>
                        <a:pt x="1378" y="851"/>
                      </a:lnTo>
                      <a:lnTo>
                        <a:pt x="1363" y="847"/>
                      </a:lnTo>
                      <a:lnTo>
                        <a:pt x="1348" y="840"/>
                      </a:lnTo>
                      <a:lnTo>
                        <a:pt x="1333" y="834"/>
                      </a:lnTo>
                      <a:lnTo>
                        <a:pt x="1319" y="827"/>
                      </a:lnTo>
                      <a:lnTo>
                        <a:pt x="1307" y="817"/>
                      </a:lnTo>
                      <a:lnTo>
                        <a:pt x="1295" y="807"/>
                      </a:lnTo>
                      <a:lnTo>
                        <a:pt x="1285" y="796"/>
                      </a:lnTo>
                      <a:lnTo>
                        <a:pt x="1277" y="784"/>
                      </a:lnTo>
                      <a:lnTo>
                        <a:pt x="1268" y="771"/>
                      </a:lnTo>
                      <a:lnTo>
                        <a:pt x="1261" y="757"/>
                      </a:lnTo>
                      <a:lnTo>
                        <a:pt x="1256" y="744"/>
                      </a:lnTo>
                      <a:lnTo>
                        <a:pt x="1251" y="728"/>
                      </a:lnTo>
                      <a:lnTo>
                        <a:pt x="1249" y="713"/>
                      </a:lnTo>
                      <a:lnTo>
                        <a:pt x="1248" y="698"/>
                      </a:lnTo>
                      <a:lnTo>
                        <a:pt x="1248" y="683"/>
                      </a:lnTo>
                      <a:lnTo>
                        <a:pt x="1249" y="666"/>
                      </a:lnTo>
                      <a:lnTo>
                        <a:pt x="1255" y="650"/>
                      </a:lnTo>
                      <a:lnTo>
                        <a:pt x="1260" y="635"/>
                      </a:lnTo>
                      <a:lnTo>
                        <a:pt x="1266" y="618"/>
                      </a:lnTo>
                      <a:lnTo>
                        <a:pt x="1275" y="603"/>
                      </a:lnTo>
                      <a:lnTo>
                        <a:pt x="1287" y="587"/>
                      </a:lnTo>
                      <a:lnTo>
                        <a:pt x="1299" y="572"/>
                      </a:lnTo>
                      <a:lnTo>
                        <a:pt x="1314" y="559"/>
                      </a:lnTo>
                      <a:lnTo>
                        <a:pt x="1331" y="543"/>
                      </a:lnTo>
                      <a:lnTo>
                        <a:pt x="1351" y="531"/>
                      </a:lnTo>
                      <a:lnTo>
                        <a:pt x="1372" y="518"/>
                      </a:lnTo>
                      <a:lnTo>
                        <a:pt x="1395" y="508"/>
                      </a:lnTo>
                      <a:lnTo>
                        <a:pt x="1421" y="496"/>
                      </a:lnTo>
                      <a:lnTo>
                        <a:pt x="1450" y="487"/>
                      </a:lnTo>
                      <a:lnTo>
                        <a:pt x="1480" y="479"/>
                      </a:lnTo>
                      <a:lnTo>
                        <a:pt x="1519" y="470"/>
                      </a:lnTo>
                      <a:lnTo>
                        <a:pt x="1560" y="462"/>
                      </a:lnTo>
                      <a:lnTo>
                        <a:pt x="1603" y="457"/>
                      </a:lnTo>
                      <a:lnTo>
                        <a:pt x="1647" y="452"/>
                      </a:lnTo>
                      <a:lnTo>
                        <a:pt x="1694" y="447"/>
                      </a:lnTo>
                      <a:lnTo>
                        <a:pt x="1743" y="445"/>
                      </a:lnTo>
                      <a:lnTo>
                        <a:pt x="1793" y="443"/>
                      </a:lnTo>
                      <a:lnTo>
                        <a:pt x="1845" y="443"/>
                      </a:lnTo>
                      <a:lnTo>
                        <a:pt x="1917" y="443"/>
                      </a:lnTo>
                      <a:lnTo>
                        <a:pt x="1984" y="448"/>
                      </a:lnTo>
                      <a:lnTo>
                        <a:pt x="2049" y="455"/>
                      </a:lnTo>
                      <a:lnTo>
                        <a:pt x="2110" y="465"/>
                      </a:lnTo>
                      <a:lnTo>
                        <a:pt x="2151" y="448"/>
                      </a:lnTo>
                      <a:lnTo>
                        <a:pt x="2198" y="433"/>
                      </a:lnTo>
                      <a:lnTo>
                        <a:pt x="2248" y="419"/>
                      </a:lnTo>
                      <a:lnTo>
                        <a:pt x="2302" y="408"/>
                      </a:lnTo>
                      <a:lnTo>
                        <a:pt x="2360" y="399"/>
                      </a:lnTo>
                      <a:lnTo>
                        <a:pt x="2421" y="392"/>
                      </a:lnTo>
                      <a:lnTo>
                        <a:pt x="2484" y="389"/>
                      </a:lnTo>
                      <a:lnTo>
                        <a:pt x="2548" y="387"/>
                      </a:lnTo>
                      <a:close/>
                      <a:moveTo>
                        <a:pt x="2015" y="3975"/>
                      </a:moveTo>
                      <a:lnTo>
                        <a:pt x="2015" y="3713"/>
                      </a:lnTo>
                      <a:lnTo>
                        <a:pt x="2151" y="3713"/>
                      </a:lnTo>
                      <a:lnTo>
                        <a:pt x="2151" y="3975"/>
                      </a:lnTo>
                      <a:lnTo>
                        <a:pt x="2015" y="3975"/>
                      </a:lnTo>
                      <a:close/>
                      <a:moveTo>
                        <a:pt x="1659" y="3975"/>
                      </a:moveTo>
                      <a:lnTo>
                        <a:pt x="1659" y="3713"/>
                      </a:lnTo>
                      <a:lnTo>
                        <a:pt x="1794" y="3713"/>
                      </a:lnTo>
                      <a:lnTo>
                        <a:pt x="1794" y="3975"/>
                      </a:lnTo>
                      <a:lnTo>
                        <a:pt x="1659" y="3975"/>
                      </a:lnTo>
                      <a:close/>
                    </a:path>
                  </a:pathLst>
                </a:custGeom>
                <a:solidFill>
                  <a:schemeClr val="accent1"/>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63" name="Group 162"/>
              <p:cNvGrpSpPr/>
              <p:nvPr/>
            </p:nvGrpSpPr>
            <p:grpSpPr>
              <a:xfrm>
                <a:off x="7788925" y="1567572"/>
                <a:ext cx="646887" cy="646887"/>
                <a:chOff x="7797161" y="3015953"/>
                <a:chExt cx="684476" cy="684476"/>
              </a:xfrm>
            </p:grpSpPr>
            <p:sp>
              <p:nvSpPr>
                <p:cNvPr id="200" name="Oval 199"/>
                <p:cNvSpPr/>
                <p:nvPr/>
              </p:nvSpPr>
              <p:spPr>
                <a:xfrm>
                  <a:off x="7797161" y="3015953"/>
                  <a:ext cx="684476" cy="684476"/>
                </a:xfrm>
                <a:prstGeom prst="ellipse">
                  <a:avLst/>
                </a:prstGeom>
                <a:solidFill>
                  <a:schemeClr val="accent4"/>
                </a:solidFill>
                <a:ln w="9525">
                  <a:noFill/>
                  <a:prstDash val="solid"/>
                  <a:round/>
                  <a:headEnd/>
                  <a:tailEnd/>
                </a:ln>
              </p:spPr>
              <p:txBody>
                <a:bodyPr wrap="none" lIns="0" tIns="0" rIns="0" bIns="486344" anchor="t"/>
                <a:lstStyle/>
                <a:p>
                  <a:pPr algn="ctr" defTabSz="558057">
                    <a:lnSpc>
                      <a:spcPct val="90000"/>
                    </a:lnSpc>
                    <a:defRPr/>
                  </a:pPr>
                  <a:r>
                    <a:rPr lang="de-DE" sz="716" b="1" kern="0" dirty="0">
                      <a:solidFill>
                        <a:schemeClr val="accent1"/>
                      </a:solidFill>
                      <a:latin typeface="+mj-lt"/>
                    </a:rPr>
                    <a:t>Con-</a:t>
                  </a:r>
                  <a:br>
                    <a:rPr lang="de-DE" sz="716" b="1" kern="0" dirty="0">
                      <a:solidFill>
                        <a:schemeClr val="accent1"/>
                      </a:solidFill>
                      <a:latin typeface="+mj-lt"/>
                    </a:rPr>
                  </a:br>
                  <a:r>
                    <a:rPr lang="de-DE" sz="716" b="1" kern="0" dirty="0">
                      <a:solidFill>
                        <a:schemeClr val="accent1"/>
                      </a:solidFill>
                      <a:latin typeface="+mj-lt"/>
                    </a:rPr>
                    <a:t>nector</a:t>
                  </a:r>
                </a:p>
              </p:txBody>
            </p:sp>
            <p:grpSp>
              <p:nvGrpSpPr>
                <p:cNvPr id="201" name="Gruppieren 189"/>
                <p:cNvGrpSpPr/>
                <p:nvPr/>
              </p:nvGrpSpPr>
              <p:grpSpPr>
                <a:xfrm>
                  <a:off x="7969664" y="3316728"/>
                  <a:ext cx="339470" cy="338391"/>
                  <a:chOff x="5549900" y="6350"/>
                  <a:chExt cx="998538" cy="995363"/>
                </a:xfrm>
                <a:solidFill>
                  <a:srgbClr val="808080"/>
                </a:solidFill>
              </p:grpSpPr>
              <p:sp>
                <p:nvSpPr>
                  <p:cNvPr id="202" name="Rectangle 27"/>
                  <p:cNvSpPr>
                    <a:spLocks noChangeArrowheads="1"/>
                  </p:cNvSpPr>
                  <p:nvPr/>
                </p:nvSpPr>
                <p:spPr bwMode="auto">
                  <a:xfrm>
                    <a:off x="6122988" y="238125"/>
                    <a:ext cx="301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03" name="Rectangle 28"/>
                  <p:cNvSpPr>
                    <a:spLocks noChangeArrowheads="1"/>
                  </p:cNvSpPr>
                  <p:nvPr/>
                </p:nvSpPr>
                <p:spPr bwMode="auto">
                  <a:xfrm>
                    <a:off x="6210300" y="238125"/>
                    <a:ext cx="301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04" name="Freeform 29"/>
                  <p:cNvSpPr>
                    <a:spLocks/>
                  </p:cNvSpPr>
                  <p:nvPr/>
                </p:nvSpPr>
                <p:spPr bwMode="auto">
                  <a:xfrm>
                    <a:off x="6169025" y="131763"/>
                    <a:ext cx="44450" cy="57150"/>
                  </a:xfrm>
                  <a:custGeom>
                    <a:avLst/>
                    <a:gdLst>
                      <a:gd name="T0" fmla="*/ 0 w 28"/>
                      <a:gd name="T1" fmla="*/ 0 h 36"/>
                      <a:gd name="T2" fmla="*/ 0 w 28"/>
                      <a:gd name="T3" fmla="*/ 19 h 36"/>
                      <a:gd name="T4" fmla="*/ 9 w 28"/>
                      <a:gd name="T5" fmla="*/ 19 h 36"/>
                      <a:gd name="T6" fmla="*/ 9 w 28"/>
                      <a:gd name="T7" fmla="*/ 36 h 36"/>
                      <a:gd name="T8" fmla="*/ 28 w 28"/>
                      <a:gd name="T9" fmla="*/ 36 h 36"/>
                      <a:gd name="T10" fmla="*/ 28 w 28"/>
                      <a:gd name="T11" fmla="*/ 17 h 36"/>
                      <a:gd name="T12" fmla="*/ 19 w 28"/>
                      <a:gd name="T13" fmla="*/ 17 h 36"/>
                      <a:gd name="T14" fmla="*/ 19 w 28"/>
                      <a:gd name="T15" fmla="*/ 0 h 36"/>
                      <a:gd name="T16" fmla="*/ 0 w 28"/>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6">
                        <a:moveTo>
                          <a:pt x="0" y="0"/>
                        </a:moveTo>
                        <a:lnTo>
                          <a:pt x="0" y="19"/>
                        </a:lnTo>
                        <a:lnTo>
                          <a:pt x="9" y="19"/>
                        </a:lnTo>
                        <a:lnTo>
                          <a:pt x="9" y="36"/>
                        </a:lnTo>
                        <a:lnTo>
                          <a:pt x="28" y="36"/>
                        </a:lnTo>
                        <a:lnTo>
                          <a:pt x="28" y="17"/>
                        </a:lnTo>
                        <a:lnTo>
                          <a:pt x="19" y="17"/>
                        </a:lnTo>
                        <a:lnTo>
                          <a:pt x="1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05" name="Rectangle 30"/>
                  <p:cNvSpPr>
                    <a:spLocks noChangeArrowheads="1"/>
                  </p:cNvSpPr>
                  <p:nvPr/>
                </p:nvSpPr>
                <p:spPr bwMode="auto">
                  <a:xfrm>
                    <a:off x="6316663" y="230188"/>
                    <a:ext cx="46038"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06" name="Rectangle 31"/>
                  <p:cNvSpPr>
                    <a:spLocks noChangeArrowheads="1"/>
                  </p:cNvSpPr>
                  <p:nvPr/>
                </p:nvSpPr>
                <p:spPr bwMode="auto">
                  <a:xfrm>
                    <a:off x="6138863" y="708025"/>
                    <a:ext cx="3016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07" name="Rectangle 32"/>
                  <p:cNvSpPr>
                    <a:spLocks noChangeArrowheads="1"/>
                  </p:cNvSpPr>
                  <p:nvPr/>
                </p:nvSpPr>
                <p:spPr bwMode="auto">
                  <a:xfrm>
                    <a:off x="6213475" y="708025"/>
                    <a:ext cx="30163"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08" name="Freeform 33"/>
                  <p:cNvSpPr>
                    <a:spLocks/>
                  </p:cNvSpPr>
                  <p:nvPr/>
                </p:nvSpPr>
                <p:spPr bwMode="auto">
                  <a:xfrm>
                    <a:off x="6175375" y="792163"/>
                    <a:ext cx="46038" cy="60325"/>
                  </a:xfrm>
                  <a:custGeom>
                    <a:avLst/>
                    <a:gdLst>
                      <a:gd name="T0" fmla="*/ 20 w 29"/>
                      <a:gd name="T1" fmla="*/ 19 h 38"/>
                      <a:gd name="T2" fmla="*/ 29 w 29"/>
                      <a:gd name="T3" fmla="*/ 19 h 38"/>
                      <a:gd name="T4" fmla="*/ 29 w 29"/>
                      <a:gd name="T5" fmla="*/ 0 h 38"/>
                      <a:gd name="T6" fmla="*/ 10 w 29"/>
                      <a:gd name="T7" fmla="*/ 0 h 38"/>
                      <a:gd name="T8" fmla="*/ 10 w 29"/>
                      <a:gd name="T9" fmla="*/ 19 h 38"/>
                      <a:gd name="T10" fmla="*/ 0 w 29"/>
                      <a:gd name="T11" fmla="*/ 19 h 38"/>
                      <a:gd name="T12" fmla="*/ 0 w 29"/>
                      <a:gd name="T13" fmla="*/ 38 h 38"/>
                      <a:gd name="T14" fmla="*/ 20 w 29"/>
                      <a:gd name="T15" fmla="*/ 38 h 38"/>
                      <a:gd name="T16" fmla="*/ 20 w 29"/>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8">
                        <a:moveTo>
                          <a:pt x="20" y="19"/>
                        </a:moveTo>
                        <a:lnTo>
                          <a:pt x="29" y="19"/>
                        </a:lnTo>
                        <a:lnTo>
                          <a:pt x="29" y="0"/>
                        </a:lnTo>
                        <a:lnTo>
                          <a:pt x="10" y="0"/>
                        </a:lnTo>
                        <a:lnTo>
                          <a:pt x="10" y="19"/>
                        </a:lnTo>
                        <a:lnTo>
                          <a:pt x="0" y="19"/>
                        </a:lnTo>
                        <a:lnTo>
                          <a:pt x="0" y="38"/>
                        </a:lnTo>
                        <a:lnTo>
                          <a:pt x="20" y="38"/>
                        </a:lnTo>
                        <a:lnTo>
                          <a:pt x="2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09" name="Rectangle 34"/>
                  <p:cNvSpPr>
                    <a:spLocks noChangeArrowheads="1"/>
                  </p:cNvSpPr>
                  <p:nvPr/>
                </p:nvSpPr>
                <p:spPr bwMode="auto">
                  <a:xfrm>
                    <a:off x="6327775" y="701675"/>
                    <a:ext cx="46038"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0" name="Rectangle 35"/>
                  <p:cNvSpPr>
                    <a:spLocks noChangeArrowheads="1"/>
                  </p:cNvSpPr>
                  <p:nvPr/>
                </p:nvSpPr>
                <p:spPr bwMode="auto">
                  <a:xfrm>
                    <a:off x="6169025" y="488950"/>
                    <a:ext cx="301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1" name="Rectangle 36"/>
                  <p:cNvSpPr>
                    <a:spLocks noChangeArrowheads="1"/>
                  </p:cNvSpPr>
                  <p:nvPr/>
                </p:nvSpPr>
                <p:spPr bwMode="auto">
                  <a:xfrm>
                    <a:off x="6243638" y="360363"/>
                    <a:ext cx="4286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2" name="Rectangle 37"/>
                  <p:cNvSpPr>
                    <a:spLocks noChangeArrowheads="1"/>
                  </p:cNvSpPr>
                  <p:nvPr/>
                </p:nvSpPr>
                <p:spPr bwMode="auto">
                  <a:xfrm>
                    <a:off x="6243638" y="587375"/>
                    <a:ext cx="4286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3" name="Rectangle 38"/>
                  <p:cNvSpPr>
                    <a:spLocks noChangeArrowheads="1"/>
                  </p:cNvSpPr>
                  <p:nvPr/>
                </p:nvSpPr>
                <p:spPr bwMode="auto">
                  <a:xfrm>
                    <a:off x="6281738" y="481013"/>
                    <a:ext cx="46038" cy="46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4" name="Rectangle 39"/>
                  <p:cNvSpPr>
                    <a:spLocks noChangeArrowheads="1"/>
                  </p:cNvSpPr>
                  <p:nvPr/>
                </p:nvSpPr>
                <p:spPr bwMode="auto">
                  <a:xfrm>
                    <a:off x="6380163" y="477838"/>
                    <a:ext cx="57150"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5" name="Rectangle 40"/>
                  <p:cNvSpPr>
                    <a:spLocks noChangeArrowheads="1"/>
                  </p:cNvSpPr>
                  <p:nvPr/>
                </p:nvSpPr>
                <p:spPr bwMode="auto">
                  <a:xfrm>
                    <a:off x="6319838" y="112713"/>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6" name="Rectangle 41"/>
                  <p:cNvSpPr>
                    <a:spLocks noChangeArrowheads="1"/>
                  </p:cNvSpPr>
                  <p:nvPr/>
                </p:nvSpPr>
                <p:spPr bwMode="auto">
                  <a:xfrm>
                    <a:off x="6450013" y="279400"/>
                    <a:ext cx="60325"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7" name="Freeform 42"/>
                  <p:cNvSpPr>
                    <a:spLocks/>
                  </p:cNvSpPr>
                  <p:nvPr/>
                </p:nvSpPr>
                <p:spPr bwMode="auto">
                  <a:xfrm>
                    <a:off x="5549900" y="6350"/>
                    <a:ext cx="679450" cy="995363"/>
                  </a:xfrm>
                  <a:custGeom>
                    <a:avLst/>
                    <a:gdLst>
                      <a:gd name="T0" fmla="*/ 163 w 179"/>
                      <a:gd name="T1" fmla="*/ 242 h 262"/>
                      <a:gd name="T2" fmla="*/ 147 w 179"/>
                      <a:gd name="T3" fmla="*/ 242 h 262"/>
                      <a:gd name="T4" fmla="*/ 147 w 179"/>
                      <a:gd name="T5" fmla="*/ 246 h 262"/>
                      <a:gd name="T6" fmla="*/ 131 w 179"/>
                      <a:gd name="T7" fmla="*/ 246 h 262"/>
                      <a:gd name="T8" fmla="*/ 50 w 179"/>
                      <a:gd name="T9" fmla="*/ 213 h 262"/>
                      <a:gd name="T10" fmla="*/ 16 w 179"/>
                      <a:gd name="T11" fmla="*/ 131 h 262"/>
                      <a:gd name="T12" fmla="*/ 50 w 179"/>
                      <a:gd name="T13" fmla="*/ 50 h 262"/>
                      <a:gd name="T14" fmla="*/ 131 w 179"/>
                      <a:gd name="T15" fmla="*/ 16 h 262"/>
                      <a:gd name="T16" fmla="*/ 147 w 179"/>
                      <a:gd name="T17" fmla="*/ 16 h 262"/>
                      <a:gd name="T18" fmla="*/ 147 w 179"/>
                      <a:gd name="T19" fmla="*/ 20 h 262"/>
                      <a:gd name="T20" fmla="*/ 163 w 179"/>
                      <a:gd name="T21" fmla="*/ 20 h 262"/>
                      <a:gd name="T22" fmla="*/ 163 w 179"/>
                      <a:gd name="T23" fmla="*/ 24 h 262"/>
                      <a:gd name="T24" fmla="*/ 179 w 179"/>
                      <a:gd name="T25" fmla="*/ 24 h 262"/>
                      <a:gd name="T26" fmla="*/ 179 w 179"/>
                      <a:gd name="T27" fmla="*/ 8 h 262"/>
                      <a:gd name="T28" fmla="*/ 163 w 179"/>
                      <a:gd name="T29" fmla="*/ 8 h 262"/>
                      <a:gd name="T30" fmla="*/ 163 w 179"/>
                      <a:gd name="T31" fmla="*/ 4 h 262"/>
                      <a:gd name="T32" fmla="*/ 147 w 179"/>
                      <a:gd name="T33" fmla="*/ 4 h 262"/>
                      <a:gd name="T34" fmla="*/ 147 w 179"/>
                      <a:gd name="T35" fmla="*/ 0 h 262"/>
                      <a:gd name="T36" fmla="*/ 131 w 179"/>
                      <a:gd name="T37" fmla="*/ 0 h 262"/>
                      <a:gd name="T38" fmla="*/ 0 w 179"/>
                      <a:gd name="T39" fmla="*/ 131 h 262"/>
                      <a:gd name="T40" fmla="*/ 131 w 179"/>
                      <a:gd name="T41" fmla="*/ 262 h 262"/>
                      <a:gd name="T42" fmla="*/ 147 w 179"/>
                      <a:gd name="T43" fmla="*/ 262 h 262"/>
                      <a:gd name="T44" fmla="*/ 147 w 179"/>
                      <a:gd name="T45" fmla="*/ 258 h 262"/>
                      <a:gd name="T46" fmla="*/ 163 w 179"/>
                      <a:gd name="T47" fmla="*/ 258 h 262"/>
                      <a:gd name="T48" fmla="*/ 163 w 179"/>
                      <a:gd name="T49" fmla="*/ 254 h 262"/>
                      <a:gd name="T50" fmla="*/ 179 w 179"/>
                      <a:gd name="T51" fmla="*/ 254 h 262"/>
                      <a:gd name="T52" fmla="*/ 179 w 179"/>
                      <a:gd name="T53" fmla="*/ 238 h 262"/>
                      <a:gd name="T54" fmla="*/ 163 w 179"/>
                      <a:gd name="T55" fmla="*/ 238 h 262"/>
                      <a:gd name="T56" fmla="*/ 163 w 179"/>
                      <a:gd name="T57" fmla="*/ 24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9" h="262">
                        <a:moveTo>
                          <a:pt x="163" y="242"/>
                        </a:moveTo>
                        <a:cubicBezTo>
                          <a:pt x="147" y="242"/>
                          <a:pt x="147" y="242"/>
                          <a:pt x="147" y="242"/>
                        </a:cubicBezTo>
                        <a:cubicBezTo>
                          <a:pt x="147" y="246"/>
                          <a:pt x="147" y="246"/>
                          <a:pt x="147" y="246"/>
                        </a:cubicBezTo>
                        <a:cubicBezTo>
                          <a:pt x="131" y="246"/>
                          <a:pt x="131" y="246"/>
                          <a:pt x="131" y="246"/>
                        </a:cubicBezTo>
                        <a:cubicBezTo>
                          <a:pt x="101" y="246"/>
                          <a:pt x="72" y="234"/>
                          <a:pt x="50" y="213"/>
                        </a:cubicBezTo>
                        <a:cubicBezTo>
                          <a:pt x="28" y="191"/>
                          <a:pt x="16" y="162"/>
                          <a:pt x="16" y="131"/>
                        </a:cubicBezTo>
                        <a:cubicBezTo>
                          <a:pt x="16" y="100"/>
                          <a:pt x="28" y="71"/>
                          <a:pt x="50" y="50"/>
                        </a:cubicBezTo>
                        <a:cubicBezTo>
                          <a:pt x="72" y="28"/>
                          <a:pt x="101" y="16"/>
                          <a:pt x="131" y="16"/>
                        </a:cubicBezTo>
                        <a:cubicBezTo>
                          <a:pt x="147" y="16"/>
                          <a:pt x="147" y="16"/>
                          <a:pt x="147" y="16"/>
                        </a:cubicBezTo>
                        <a:cubicBezTo>
                          <a:pt x="147" y="20"/>
                          <a:pt x="147" y="20"/>
                          <a:pt x="147" y="20"/>
                        </a:cubicBezTo>
                        <a:cubicBezTo>
                          <a:pt x="163" y="20"/>
                          <a:pt x="163" y="20"/>
                          <a:pt x="163" y="20"/>
                        </a:cubicBezTo>
                        <a:cubicBezTo>
                          <a:pt x="163" y="24"/>
                          <a:pt x="163" y="24"/>
                          <a:pt x="163" y="24"/>
                        </a:cubicBezTo>
                        <a:cubicBezTo>
                          <a:pt x="179" y="24"/>
                          <a:pt x="179" y="24"/>
                          <a:pt x="179" y="24"/>
                        </a:cubicBezTo>
                        <a:cubicBezTo>
                          <a:pt x="179" y="8"/>
                          <a:pt x="179" y="8"/>
                          <a:pt x="179" y="8"/>
                        </a:cubicBezTo>
                        <a:cubicBezTo>
                          <a:pt x="163" y="8"/>
                          <a:pt x="163" y="8"/>
                          <a:pt x="163" y="8"/>
                        </a:cubicBezTo>
                        <a:cubicBezTo>
                          <a:pt x="163" y="4"/>
                          <a:pt x="163" y="4"/>
                          <a:pt x="163" y="4"/>
                        </a:cubicBezTo>
                        <a:cubicBezTo>
                          <a:pt x="147" y="4"/>
                          <a:pt x="147" y="4"/>
                          <a:pt x="147" y="4"/>
                        </a:cubicBezTo>
                        <a:cubicBezTo>
                          <a:pt x="147" y="0"/>
                          <a:pt x="147" y="0"/>
                          <a:pt x="147" y="0"/>
                        </a:cubicBezTo>
                        <a:cubicBezTo>
                          <a:pt x="131" y="0"/>
                          <a:pt x="131" y="0"/>
                          <a:pt x="131" y="0"/>
                        </a:cubicBezTo>
                        <a:cubicBezTo>
                          <a:pt x="59" y="0"/>
                          <a:pt x="0" y="59"/>
                          <a:pt x="0" y="131"/>
                        </a:cubicBezTo>
                        <a:cubicBezTo>
                          <a:pt x="0" y="204"/>
                          <a:pt x="59" y="262"/>
                          <a:pt x="131" y="262"/>
                        </a:cubicBezTo>
                        <a:cubicBezTo>
                          <a:pt x="147" y="262"/>
                          <a:pt x="147" y="262"/>
                          <a:pt x="147" y="262"/>
                        </a:cubicBezTo>
                        <a:cubicBezTo>
                          <a:pt x="147" y="258"/>
                          <a:pt x="147" y="258"/>
                          <a:pt x="147" y="258"/>
                        </a:cubicBezTo>
                        <a:cubicBezTo>
                          <a:pt x="163" y="258"/>
                          <a:pt x="163" y="258"/>
                          <a:pt x="163" y="258"/>
                        </a:cubicBezTo>
                        <a:cubicBezTo>
                          <a:pt x="163" y="254"/>
                          <a:pt x="163" y="254"/>
                          <a:pt x="163" y="254"/>
                        </a:cubicBezTo>
                        <a:cubicBezTo>
                          <a:pt x="179" y="254"/>
                          <a:pt x="179" y="254"/>
                          <a:pt x="179" y="254"/>
                        </a:cubicBezTo>
                        <a:cubicBezTo>
                          <a:pt x="179" y="238"/>
                          <a:pt x="179" y="238"/>
                          <a:pt x="179" y="238"/>
                        </a:cubicBezTo>
                        <a:cubicBezTo>
                          <a:pt x="163" y="238"/>
                          <a:pt x="163" y="238"/>
                          <a:pt x="163" y="238"/>
                        </a:cubicBezTo>
                        <a:lnTo>
                          <a:pt x="163" y="24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8" name="Rectangle 43"/>
                  <p:cNvSpPr>
                    <a:spLocks noChangeArrowheads="1"/>
                  </p:cNvSpPr>
                  <p:nvPr/>
                </p:nvSpPr>
                <p:spPr bwMode="auto">
                  <a:xfrm>
                    <a:off x="6319838" y="833438"/>
                    <a:ext cx="60325"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19" name="Rectangle 44"/>
                  <p:cNvSpPr>
                    <a:spLocks noChangeArrowheads="1"/>
                  </p:cNvSpPr>
                  <p:nvPr/>
                </p:nvSpPr>
                <p:spPr bwMode="auto">
                  <a:xfrm>
                    <a:off x="6450013" y="652463"/>
                    <a:ext cx="60325" cy="60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20" name="Rectangle 45"/>
                  <p:cNvSpPr>
                    <a:spLocks noChangeArrowheads="1"/>
                  </p:cNvSpPr>
                  <p:nvPr/>
                </p:nvSpPr>
                <p:spPr bwMode="auto">
                  <a:xfrm>
                    <a:off x="6486525" y="473075"/>
                    <a:ext cx="61913"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sp>
                <p:nvSpPr>
                  <p:cNvPr id="221" name="Freeform 46"/>
                  <p:cNvSpPr>
                    <a:spLocks noEditPoints="1"/>
                  </p:cNvSpPr>
                  <p:nvPr/>
                </p:nvSpPr>
                <p:spPr bwMode="auto">
                  <a:xfrm>
                    <a:off x="5667375" y="123825"/>
                    <a:ext cx="455613" cy="758825"/>
                  </a:xfrm>
                  <a:custGeom>
                    <a:avLst/>
                    <a:gdLst>
                      <a:gd name="T0" fmla="*/ 120 w 120"/>
                      <a:gd name="T1" fmla="*/ 104 h 200"/>
                      <a:gd name="T2" fmla="*/ 120 w 120"/>
                      <a:gd name="T3" fmla="*/ 96 h 200"/>
                      <a:gd name="T4" fmla="*/ 104 w 120"/>
                      <a:gd name="T5" fmla="*/ 96 h 200"/>
                      <a:gd name="T6" fmla="*/ 104 w 120"/>
                      <a:gd name="T7" fmla="*/ 96 h 200"/>
                      <a:gd name="T8" fmla="*/ 104 w 120"/>
                      <a:gd name="T9" fmla="*/ 96 h 200"/>
                      <a:gd name="T10" fmla="*/ 104 w 120"/>
                      <a:gd name="T11" fmla="*/ 38 h 200"/>
                      <a:gd name="T12" fmla="*/ 104 w 120"/>
                      <a:gd name="T13" fmla="*/ 38 h 200"/>
                      <a:gd name="T14" fmla="*/ 104 w 120"/>
                      <a:gd name="T15" fmla="*/ 38 h 200"/>
                      <a:gd name="T16" fmla="*/ 112 w 120"/>
                      <a:gd name="T17" fmla="*/ 38 h 200"/>
                      <a:gd name="T18" fmla="*/ 112 w 120"/>
                      <a:gd name="T19" fmla="*/ 30 h 200"/>
                      <a:gd name="T20" fmla="*/ 104 w 120"/>
                      <a:gd name="T21" fmla="*/ 30 h 200"/>
                      <a:gd name="T22" fmla="*/ 104 w 120"/>
                      <a:gd name="T23" fmla="*/ 30 h 200"/>
                      <a:gd name="T24" fmla="*/ 104 w 120"/>
                      <a:gd name="T25" fmla="*/ 30 h 200"/>
                      <a:gd name="T26" fmla="*/ 104 w 120"/>
                      <a:gd name="T27" fmla="*/ 0 h 200"/>
                      <a:gd name="T28" fmla="*/ 100 w 120"/>
                      <a:gd name="T29" fmla="*/ 0 h 200"/>
                      <a:gd name="T30" fmla="*/ 96 w 120"/>
                      <a:gd name="T31" fmla="*/ 0 h 200"/>
                      <a:gd name="T32" fmla="*/ 96 w 120"/>
                      <a:gd name="T33" fmla="*/ 30 h 200"/>
                      <a:gd name="T34" fmla="*/ 59 w 120"/>
                      <a:gd name="T35" fmla="*/ 30 h 200"/>
                      <a:gd name="T36" fmla="*/ 71 w 120"/>
                      <a:gd name="T37" fmla="*/ 5 h 200"/>
                      <a:gd name="T38" fmla="*/ 59 w 120"/>
                      <a:gd name="T39" fmla="*/ 9 h 200"/>
                      <a:gd name="T40" fmla="*/ 51 w 120"/>
                      <a:gd name="T41" fmla="*/ 30 h 200"/>
                      <a:gd name="T42" fmla="*/ 29 w 120"/>
                      <a:gd name="T43" fmla="*/ 30 h 200"/>
                      <a:gd name="T44" fmla="*/ 22 w 120"/>
                      <a:gd name="T45" fmla="*/ 38 h 200"/>
                      <a:gd name="T46" fmla="*/ 49 w 120"/>
                      <a:gd name="T47" fmla="*/ 38 h 200"/>
                      <a:gd name="T48" fmla="*/ 41 w 120"/>
                      <a:gd name="T49" fmla="*/ 96 h 200"/>
                      <a:gd name="T50" fmla="*/ 0 w 120"/>
                      <a:gd name="T51" fmla="*/ 96 h 200"/>
                      <a:gd name="T52" fmla="*/ 0 w 120"/>
                      <a:gd name="T53" fmla="*/ 100 h 200"/>
                      <a:gd name="T54" fmla="*/ 0 w 120"/>
                      <a:gd name="T55" fmla="*/ 104 h 200"/>
                      <a:gd name="T56" fmla="*/ 41 w 120"/>
                      <a:gd name="T57" fmla="*/ 104 h 200"/>
                      <a:gd name="T58" fmla="*/ 47 w 120"/>
                      <a:gd name="T59" fmla="*/ 154 h 200"/>
                      <a:gd name="T60" fmla="*/ 16 w 120"/>
                      <a:gd name="T61" fmla="*/ 154 h 200"/>
                      <a:gd name="T62" fmla="*/ 21 w 120"/>
                      <a:gd name="T63" fmla="*/ 162 h 200"/>
                      <a:gd name="T64" fmla="*/ 48 w 120"/>
                      <a:gd name="T65" fmla="*/ 162 h 200"/>
                      <a:gd name="T66" fmla="*/ 59 w 120"/>
                      <a:gd name="T67" fmla="*/ 191 h 200"/>
                      <a:gd name="T68" fmla="*/ 71 w 120"/>
                      <a:gd name="T69" fmla="*/ 196 h 200"/>
                      <a:gd name="T70" fmla="*/ 57 w 120"/>
                      <a:gd name="T71" fmla="*/ 162 h 200"/>
                      <a:gd name="T72" fmla="*/ 96 w 120"/>
                      <a:gd name="T73" fmla="*/ 162 h 200"/>
                      <a:gd name="T74" fmla="*/ 96 w 120"/>
                      <a:gd name="T75" fmla="*/ 200 h 200"/>
                      <a:gd name="T76" fmla="*/ 100 w 120"/>
                      <a:gd name="T77" fmla="*/ 200 h 200"/>
                      <a:gd name="T78" fmla="*/ 104 w 120"/>
                      <a:gd name="T79" fmla="*/ 200 h 200"/>
                      <a:gd name="T80" fmla="*/ 104 w 120"/>
                      <a:gd name="T81" fmla="*/ 162 h 200"/>
                      <a:gd name="T82" fmla="*/ 104 w 120"/>
                      <a:gd name="T83" fmla="*/ 162 h 200"/>
                      <a:gd name="T84" fmla="*/ 104 w 120"/>
                      <a:gd name="T85" fmla="*/ 162 h 200"/>
                      <a:gd name="T86" fmla="*/ 112 w 120"/>
                      <a:gd name="T87" fmla="*/ 162 h 200"/>
                      <a:gd name="T88" fmla="*/ 112 w 120"/>
                      <a:gd name="T89" fmla="*/ 154 h 200"/>
                      <a:gd name="T90" fmla="*/ 104 w 120"/>
                      <a:gd name="T91" fmla="*/ 154 h 200"/>
                      <a:gd name="T92" fmla="*/ 104 w 120"/>
                      <a:gd name="T93" fmla="*/ 154 h 200"/>
                      <a:gd name="T94" fmla="*/ 104 w 120"/>
                      <a:gd name="T95" fmla="*/ 154 h 200"/>
                      <a:gd name="T96" fmla="*/ 104 w 120"/>
                      <a:gd name="T97" fmla="*/ 104 h 200"/>
                      <a:gd name="T98" fmla="*/ 104 w 120"/>
                      <a:gd name="T99" fmla="*/ 104 h 200"/>
                      <a:gd name="T100" fmla="*/ 104 w 120"/>
                      <a:gd name="T101" fmla="*/ 104 h 200"/>
                      <a:gd name="T102" fmla="*/ 120 w 120"/>
                      <a:gd name="T103" fmla="*/ 104 h 200"/>
                      <a:gd name="T104" fmla="*/ 96 w 120"/>
                      <a:gd name="T105" fmla="*/ 154 h 200"/>
                      <a:gd name="T106" fmla="*/ 55 w 120"/>
                      <a:gd name="T107" fmla="*/ 154 h 200"/>
                      <a:gd name="T108" fmla="*/ 49 w 120"/>
                      <a:gd name="T109" fmla="*/ 104 h 200"/>
                      <a:gd name="T110" fmla="*/ 96 w 120"/>
                      <a:gd name="T111" fmla="*/ 104 h 200"/>
                      <a:gd name="T112" fmla="*/ 96 w 120"/>
                      <a:gd name="T113" fmla="*/ 154 h 200"/>
                      <a:gd name="T114" fmla="*/ 96 w 120"/>
                      <a:gd name="T115" fmla="*/ 96 h 200"/>
                      <a:gd name="T116" fmla="*/ 49 w 120"/>
                      <a:gd name="T117" fmla="*/ 96 h 200"/>
                      <a:gd name="T118" fmla="*/ 57 w 120"/>
                      <a:gd name="T119" fmla="*/ 38 h 200"/>
                      <a:gd name="T120" fmla="*/ 96 w 120"/>
                      <a:gd name="T121" fmla="*/ 38 h 200"/>
                      <a:gd name="T122" fmla="*/ 96 w 120"/>
                      <a:gd name="T123" fmla="*/ 9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 h="200">
                        <a:moveTo>
                          <a:pt x="120" y="104"/>
                        </a:moveTo>
                        <a:cubicBezTo>
                          <a:pt x="120" y="96"/>
                          <a:pt x="120" y="96"/>
                          <a:pt x="120" y="96"/>
                        </a:cubicBezTo>
                        <a:cubicBezTo>
                          <a:pt x="104" y="96"/>
                          <a:pt x="104" y="96"/>
                          <a:pt x="104" y="96"/>
                        </a:cubicBezTo>
                        <a:cubicBezTo>
                          <a:pt x="104" y="96"/>
                          <a:pt x="104" y="96"/>
                          <a:pt x="104" y="96"/>
                        </a:cubicBezTo>
                        <a:cubicBezTo>
                          <a:pt x="104" y="96"/>
                          <a:pt x="104" y="96"/>
                          <a:pt x="104" y="96"/>
                        </a:cubicBezTo>
                        <a:cubicBezTo>
                          <a:pt x="104" y="38"/>
                          <a:pt x="104" y="38"/>
                          <a:pt x="104" y="38"/>
                        </a:cubicBezTo>
                        <a:cubicBezTo>
                          <a:pt x="104" y="38"/>
                          <a:pt x="104" y="38"/>
                          <a:pt x="104" y="38"/>
                        </a:cubicBezTo>
                        <a:cubicBezTo>
                          <a:pt x="104" y="38"/>
                          <a:pt x="104" y="38"/>
                          <a:pt x="104" y="38"/>
                        </a:cubicBezTo>
                        <a:cubicBezTo>
                          <a:pt x="112" y="38"/>
                          <a:pt x="112" y="38"/>
                          <a:pt x="112" y="38"/>
                        </a:cubicBezTo>
                        <a:cubicBezTo>
                          <a:pt x="112" y="30"/>
                          <a:pt x="112" y="30"/>
                          <a:pt x="112" y="30"/>
                        </a:cubicBezTo>
                        <a:cubicBezTo>
                          <a:pt x="104" y="30"/>
                          <a:pt x="104" y="30"/>
                          <a:pt x="104" y="30"/>
                        </a:cubicBezTo>
                        <a:cubicBezTo>
                          <a:pt x="104" y="30"/>
                          <a:pt x="104" y="30"/>
                          <a:pt x="104" y="30"/>
                        </a:cubicBezTo>
                        <a:cubicBezTo>
                          <a:pt x="104" y="30"/>
                          <a:pt x="104" y="30"/>
                          <a:pt x="104" y="30"/>
                        </a:cubicBezTo>
                        <a:cubicBezTo>
                          <a:pt x="104" y="0"/>
                          <a:pt x="104" y="0"/>
                          <a:pt x="104" y="0"/>
                        </a:cubicBezTo>
                        <a:cubicBezTo>
                          <a:pt x="103" y="0"/>
                          <a:pt x="102" y="0"/>
                          <a:pt x="100" y="0"/>
                        </a:cubicBezTo>
                        <a:cubicBezTo>
                          <a:pt x="99" y="0"/>
                          <a:pt x="98" y="0"/>
                          <a:pt x="96" y="0"/>
                        </a:cubicBezTo>
                        <a:cubicBezTo>
                          <a:pt x="96" y="30"/>
                          <a:pt x="96" y="30"/>
                          <a:pt x="96" y="30"/>
                        </a:cubicBezTo>
                        <a:cubicBezTo>
                          <a:pt x="59" y="30"/>
                          <a:pt x="59" y="30"/>
                          <a:pt x="59" y="30"/>
                        </a:cubicBezTo>
                        <a:cubicBezTo>
                          <a:pt x="63" y="20"/>
                          <a:pt x="66" y="12"/>
                          <a:pt x="71" y="5"/>
                        </a:cubicBezTo>
                        <a:cubicBezTo>
                          <a:pt x="67" y="6"/>
                          <a:pt x="63" y="7"/>
                          <a:pt x="59" y="9"/>
                        </a:cubicBezTo>
                        <a:cubicBezTo>
                          <a:pt x="56" y="15"/>
                          <a:pt x="53" y="23"/>
                          <a:pt x="51" y="30"/>
                        </a:cubicBezTo>
                        <a:cubicBezTo>
                          <a:pt x="29" y="30"/>
                          <a:pt x="29" y="30"/>
                          <a:pt x="29" y="30"/>
                        </a:cubicBezTo>
                        <a:cubicBezTo>
                          <a:pt x="26" y="33"/>
                          <a:pt x="24" y="35"/>
                          <a:pt x="22" y="38"/>
                        </a:cubicBezTo>
                        <a:cubicBezTo>
                          <a:pt x="49" y="38"/>
                          <a:pt x="49" y="38"/>
                          <a:pt x="49" y="38"/>
                        </a:cubicBezTo>
                        <a:cubicBezTo>
                          <a:pt x="44" y="56"/>
                          <a:pt x="41" y="76"/>
                          <a:pt x="41" y="96"/>
                        </a:cubicBezTo>
                        <a:cubicBezTo>
                          <a:pt x="0" y="96"/>
                          <a:pt x="0" y="96"/>
                          <a:pt x="0" y="96"/>
                        </a:cubicBezTo>
                        <a:cubicBezTo>
                          <a:pt x="0" y="98"/>
                          <a:pt x="0" y="99"/>
                          <a:pt x="0" y="100"/>
                        </a:cubicBezTo>
                        <a:cubicBezTo>
                          <a:pt x="0" y="102"/>
                          <a:pt x="0" y="103"/>
                          <a:pt x="0" y="104"/>
                        </a:cubicBezTo>
                        <a:cubicBezTo>
                          <a:pt x="41" y="104"/>
                          <a:pt x="41" y="104"/>
                          <a:pt x="41" y="104"/>
                        </a:cubicBezTo>
                        <a:cubicBezTo>
                          <a:pt x="41" y="122"/>
                          <a:pt x="43" y="138"/>
                          <a:pt x="47" y="154"/>
                        </a:cubicBezTo>
                        <a:cubicBezTo>
                          <a:pt x="16" y="154"/>
                          <a:pt x="16" y="154"/>
                          <a:pt x="16" y="154"/>
                        </a:cubicBezTo>
                        <a:cubicBezTo>
                          <a:pt x="17" y="156"/>
                          <a:pt x="19" y="159"/>
                          <a:pt x="21" y="162"/>
                        </a:cubicBezTo>
                        <a:cubicBezTo>
                          <a:pt x="48" y="162"/>
                          <a:pt x="48" y="162"/>
                          <a:pt x="48" y="162"/>
                        </a:cubicBezTo>
                        <a:cubicBezTo>
                          <a:pt x="51" y="173"/>
                          <a:pt x="55" y="183"/>
                          <a:pt x="59" y="191"/>
                        </a:cubicBezTo>
                        <a:cubicBezTo>
                          <a:pt x="63" y="193"/>
                          <a:pt x="67" y="195"/>
                          <a:pt x="71" y="196"/>
                        </a:cubicBezTo>
                        <a:cubicBezTo>
                          <a:pt x="65" y="187"/>
                          <a:pt x="60" y="175"/>
                          <a:pt x="57" y="162"/>
                        </a:cubicBezTo>
                        <a:cubicBezTo>
                          <a:pt x="96" y="162"/>
                          <a:pt x="96" y="162"/>
                          <a:pt x="96" y="162"/>
                        </a:cubicBezTo>
                        <a:cubicBezTo>
                          <a:pt x="96" y="200"/>
                          <a:pt x="96" y="200"/>
                          <a:pt x="96" y="200"/>
                        </a:cubicBezTo>
                        <a:cubicBezTo>
                          <a:pt x="98" y="200"/>
                          <a:pt x="99" y="200"/>
                          <a:pt x="100" y="200"/>
                        </a:cubicBezTo>
                        <a:cubicBezTo>
                          <a:pt x="102" y="200"/>
                          <a:pt x="103" y="200"/>
                          <a:pt x="104" y="200"/>
                        </a:cubicBezTo>
                        <a:cubicBezTo>
                          <a:pt x="104" y="162"/>
                          <a:pt x="104" y="162"/>
                          <a:pt x="104" y="162"/>
                        </a:cubicBezTo>
                        <a:cubicBezTo>
                          <a:pt x="104" y="162"/>
                          <a:pt x="104" y="162"/>
                          <a:pt x="104" y="162"/>
                        </a:cubicBezTo>
                        <a:cubicBezTo>
                          <a:pt x="104" y="162"/>
                          <a:pt x="104" y="162"/>
                          <a:pt x="104" y="162"/>
                        </a:cubicBezTo>
                        <a:cubicBezTo>
                          <a:pt x="112" y="162"/>
                          <a:pt x="112" y="162"/>
                          <a:pt x="112" y="162"/>
                        </a:cubicBezTo>
                        <a:cubicBezTo>
                          <a:pt x="112" y="154"/>
                          <a:pt x="112" y="154"/>
                          <a:pt x="112" y="154"/>
                        </a:cubicBezTo>
                        <a:cubicBezTo>
                          <a:pt x="104" y="154"/>
                          <a:pt x="104" y="154"/>
                          <a:pt x="104" y="154"/>
                        </a:cubicBezTo>
                        <a:cubicBezTo>
                          <a:pt x="104" y="154"/>
                          <a:pt x="104" y="154"/>
                          <a:pt x="104" y="154"/>
                        </a:cubicBezTo>
                        <a:cubicBezTo>
                          <a:pt x="104" y="154"/>
                          <a:pt x="104" y="154"/>
                          <a:pt x="104" y="154"/>
                        </a:cubicBezTo>
                        <a:cubicBezTo>
                          <a:pt x="104" y="104"/>
                          <a:pt x="104" y="104"/>
                          <a:pt x="104" y="104"/>
                        </a:cubicBezTo>
                        <a:cubicBezTo>
                          <a:pt x="104" y="104"/>
                          <a:pt x="104" y="104"/>
                          <a:pt x="104" y="104"/>
                        </a:cubicBezTo>
                        <a:cubicBezTo>
                          <a:pt x="104" y="104"/>
                          <a:pt x="104" y="104"/>
                          <a:pt x="104" y="104"/>
                        </a:cubicBezTo>
                        <a:lnTo>
                          <a:pt x="120" y="104"/>
                        </a:lnTo>
                        <a:close/>
                        <a:moveTo>
                          <a:pt x="96" y="154"/>
                        </a:moveTo>
                        <a:cubicBezTo>
                          <a:pt x="55" y="154"/>
                          <a:pt x="55" y="154"/>
                          <a:pt x="55" y="154"/>
                        </a:cubicBezTo>
                        <a:cubicBezTo>
                          <a:pt x="51" y="139"/>
                          <a:pt x="49" y="122"/>
                          <a:pt x="49" y="104"/>
                        </a:cubicBezTo>
                        <a:cubicBezTo>
                          <a:pt x="96" y="104"/>
                          <a:pt x="96" y="104"/>
                          <a:pt x="96" y="104"/>
                        </a:cubicBezTo>
                        <a:lnTo>
                          <a:pt x="96" y="154"/>
                        </a:lnTo>
                        <a:close/>
                        <a:moveTo>
                          <a:pt x="96" y="96"/>
                        </a:moveTo>
                        <a:cubicBezTo>
                          <a:pt x="49" y="96"/>
                          <a:pt x="49" y="96"/>
                          <a:pt x="49" y="96"/>
                        </a:cubicBezTo>
                        <a:cubicBezTo>
                          <a:pt x="49" y="75"/>
                          <a:pt x="52" y="55"/>
                          <a:pt x="57" y="38"/>
                        </a:cubicBezTo>
                        <a:cubicBezTo>
                          <a:pt x="96" y="38"/>
                          <a:pt x="96" y="38"/>
                          <a:pt x="96" y="38"/>
                        </a:cubicBezTo>
                        <a:lnTo>
                          <a:pt x="9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2666" tIns="36332" rIns="72666" bIns="36332" numCol="1" anchor="t" anchorCtr="0" compatLnSpc="1">
                    <a:prstTxWarp prst="textNoShape">
                      <a:avLst/>
                    </a:prstTxWarp>
                  </a:bodyPr>
                  <a:lstStyle/>
                  <a:p>
                    <a:pPr defTabSz="791108">
                      <a:lnSpc>
                        <a:spcPct val="90000"/>
                      </a:lnSpc>
                      <a:defRPr/>
                    </a:pPr>
                    <a:endParaRPr lang="de-DE" sz="1557" kern="0">
                      <a:solidFill>
                        <a:srgbClr val="646464"/>
                      </a:solidFill>
                      <a:latin typeface="+mj-lt"/>
                    </a:endParaRPr>
                  </a:p>
                </p:txBody>
              </p:sp>
            </p:grpSp>
          </p:grpSp>
          <p:grpSp>
            <p:nvGrpSpPr>
              <p:cNvPr id="164" name="Group 163"/>
              <p:cNvGrpSpPr/>
              <p:nvPr/>
            </p:nvGrpSpPr>
            <p:grpSpPr>
              <a:xfrm>
                <a:off x="7984710" y="3435828"/>
                <a:ext cx="668601" cy="646887"/>
                <a:chOff x="6766276" y="4298876"/>
                <a:chExt cx="707452" cy="684476"/>
              </a:xfrm>
            </p:grpSpPr>
            <p:sp>
              <p:nvSpPr>
                <p:cNvPr id="198" name="Oval 197"/>
                <p:cNvSpPr/>
                <p:nvPr/>
              </p:nvSpPr>
              <p:spPr>
                <a:xfrm>
                  <a:off x="6766276" y="4298876"/>
                  <a:ext cx="707452" cy="684476"/>
                </a:xfrm>
                <a:prstGeom prst="ellipse">
                  <a:avLst/>
                </a:prstGeom>
                <a:solidFill>
                  <a:srgbClr val="999999"/>
                </a:solidFill>
                <a:ln w="12700">
                  <a:noFill/>
                  <a:prstDash val="solid"/>
                  <a:round/>
                  <a:headEnd/>
                  <a:tailEnd/>
                </a:ln>
              </p:spPr>
              <p:txBody>
                <a:bodyPr wrap="none" lIns="0" tIns="0" rIns="0" bIns="486344" anchor="t"/>
                <a:lstStyle/>
                <a:p>
                  <a:pPr algn="ctr" defTabSz="558057">
                    <a:lnSpc>
                      <a:spcPct val="85000"/>
                    </a:lnSpc>
                    <a:defRPr/>
                  </a:pPr>
                  <a:r>
                    <a:rPr lang="de-DE" sz="716" b="1" kern="0" dirty="0" smtClean="0">
                      <a:solidFill>
                        <a:srgbClr val="F0F0F0"/>
                      </a:solidFill>
                      <a:latin typeface="+mj-lt"/>
                    </a:rPr>
                    <a:t>Supply </a:t>
                  </a:r>
                  <a:br>
                    <a:rPr lang="de-DE" sz="716" b="1" kern="0" dirty="0" smtClean="0">
                      <a:solidFill>
                        <a:srgbClr val="F0F0F0"/>
                      </a:solidFill>
                      <a:latin typeface="+mj-lt"/>
                    </a:rPr>
                  </a:br>
                  <a:r>
                    <a:rPr lang="de-DE" sz="716" b="1" kern="0" dirty="0" smtClean="0">
                      <a:solidFill>
                        <a:srgbClr val="F0F0F0"/>
                      </a:solidFill>
                      <a:latin typeface="+mj-lt"/>
                    </a:rPr>
                    <a:t>chain as</a:t>
                  </a:r>
                  <a:r>
                    <a:rPr lang="de-DE" sz="716" b="1" kern="0" dirty="0">
                      <a:solidFill>
                        <a:srgbClr val="F0F0F0"/>
                      </a:solidFill>
                      <a:latin typeface="+mj-lt"/>
                    </a:rPr>
                    <a:t/>
                  </a:r>
                  <a:br>
                    <a:rPr lang="de-DE" sz="716" b="1" kern="0" dirty="0">
                      <a:solidFill>
                        <a:srgbClr val="F0F0F0"/>
                      </a:solidFill>
                      <a:latin typeface="+mj-lt"/>
                    </a:rPr>
                  </a:br>
                  <a:r>
                    <a:rPr lang="de-DE" sz="716" b="1" kern="0" dirty="0">
                      <a:solidFill>
                        <a:srgbClr val="F0F0F0"/>
                      </a:solidFill>
                      <a:latin typeface="+mj-lt"/>
                    </a:rPr>
                    <a:t>a </a:t>
                  </a:r>
                  <a:r>
                    <a:rPr lang="de-DE" sz="716" b="1" kern="0" dirty="0" smtClean="0">
                      <a:solidFill>
                        <a:srgbClr val="F0F0F0"/>
                      </a:solidFill>
                      <a:latin typeface="+mj-lt"/>
                    </a:rPr>
                    <a:t>service</a:t>
                  </a:r>
                  <a:endParaRPr lang="de-DE" sz="716" b="1" kern="0" dirty="0">
                    <a:solidFill>
                      <a:srgbClr val="F0F0F0"/>
                    </a:solidFill>
                    <a:latin typeface="+mj-lt"/>
                  </a:endParaRPr>
                </a:p>
              </p:txBody>
            </p:sp>
            <p:sp>
              <p:nvSpPr>
                <p:cNvPr id="199" name="Freeform 198"/>
                <p:cNvSpPr>
                  <a:spLocks noChangeAspect="1" noEditPoints="1"/>
                </p:cNvSpPr>
                <p:nvPr/>
              </p:nvSpPr>
              <p:spPr bwMode="auto">
                <a:xfrm>
                  <a:off x="7008888" y="4676784"/>
                  <a:ext cx="183106" cy="233669"/>
                </a:xfrm>
                <a:custGeom>
                  <a:avLst/>
                  <a:gdLst>
                    <a:gd name="T0" fmla="*/ 2147483647 w 3730"/>
                    <a:gd name="T1" fmla="*/ 2147483647 h 4763"/>
                    <a:gd name="T2" fmla="*/ 2147483647 w 3730"/>
                    <a:gd name="T3" fmla="*/ 2147483647 h 4763"/>
                    <a:gd name="T4" fmla="*/ 2147483647 w 3730"/>
                    <a:gd name="T5" fmla="*/ 2147483647 h 4763"/>
                    <a:gd name="T6" fmla="*/ 2147483647 w 3730"/>
                    <a:gd name="T7" fmla="*/ 2147483647 h 4763"/>
                    <a:gd name="T8" fmla="*/ 2147483647 w 3730"/>
                    <a:gd name="T9" fmla="*/ 2147483647 h 4763"/>
                    <a:gd name="T10" fmla="*/ 2147483647 w 3730"/>
                    <a:gd name="T11" fmla="*/ 2147483647 h 4763"/>
                    <a:gd name="T12" fmla="*/ 2147483647 w 3730"/>
                    <a:gd name="T13" fmla="*/ 2147483647 h 4763"/>
                    <a:gd name="T14" fmla="*/ 2147483647 w 3730"/>
                    <a:gd name="T15" fmla="*/ 2147483647 h 4763"/>
                    <a:gd name="T16" fmla="*/ 2147483647 w 3730"/>
                    <a:gd name="T17" fmla="*/ 2147483647 h 4763"/>
                    <a:gd name="T18" fmla="*/ 2147483647 w 3730"/>
                    <a:gd name="T19" fmla="*/ 2147483647 h 4763"/>
                    <a:gd name="T20" fmla="*/ 2147483647 w 3730"/>
                    <a:gd name="T21" fmla="*/ 2147483647 h 4763"/>
                    <a:gd name="T22" fmla="*/ 2147483647 w 3730"/>
                    <a:gd name="T23" fmla="*/ 2147483647 h 4763"/>
                    <a:gd name="T24" fmla="*/ 2147483647 w 3730"/>
                    <a:gd name="T25" fmla="*/ 2147483647 h 4763"/>
                    <a:gd name="T26" fmla="*/ 2147483647 w 3730"/>
                    <a:gd name="T27" fmla="*/ 2147483647 h 4763"/>
                    <a:gd name="T28" fmla="*/ 2147483647 w 3730"/>
                    <a:gd name="T29" fmla="*/ 2147483647 h 4763"/>
                    <a:gd name="T30" fmla="*/ 2147483647 w 3730"/>
                    <a:gd name="T31" fmla="*/ 2147483647 h 4763"/>
                    <a:gd name="T32" fmla="*/ 2147483647 w 3730"/>
                    <a:gd name="T33" fmla="*/ 2147483647 h 4763"/>
                    <a:gd name="T34" fmla="*/ 2147483647 w 3730"/>
                    <a:gd name="T35" fmla="*/ 2147483647 h 4763"/>
                    <a:gd name="T36" fmla="*/ 2147483647 w 3730"/>
                    <a:gd name="T37" fmla="*/ 2147483647 h 4763"/>
                    <a:gd name="T38" fmla="*/ 2147483647 w 3730"/>
                    <a:gd name="T39" fmla="*/ 2147483647 h 4763"/>
                    <a:gd name="T40" fmla="*/ 2147483647 w 3730"/>
                    <a:gd name="T41" fmla="*/ 2147483647 h 4763"/>
                    <a:gd name="T42" fmla="*/ 2147483647 w 3730"/>
                    <a:gd name="T43" fmla="*/ 2147483647 h 4763"/>
                    <a:gd name="T44" fmla="*/ 2147483647 w 3730"/>
                    <a:gd name="T45" fmla="*/ 2147483647 h 4763"/>
                    <a:gd name="T46" fmla="*/ 2147483647 w 3730"/>
                    <a:gd name="T47" fmla="*/ 2147483647 h 4763"/>
                    <a:gd name="T48" fmla="*/ 2147483647 w 3730"/>
                    <a:gd name="T49" fmla="*/ 2147483647 h 4763"/>
                    <a:gd name="T50" fmla="*/ 2147483647 w 3730"/>
                    <a:gd name="T51" fmla="*/ 2147483647 h 4763"/>
                    <a:gd name="T52" fmla="*/ 2147483647 w 3730"/>
                    <a:gd name="T53" fmla="*/ 2147483647 h 4763"/>
                    <a:gd name="T54" fmla="*/ 2147483647 w 3730"/>
                    <a:gd name="T55" fmla="*/ 2147483647 h 4763"/>
                    <a:gd name="T56" fmla="*/ 2147483647 w 3730"/>
                    <a:gd name="T57" fmla="*/ 2147483647 h 4763"/>
                    <a:gd name="T58" fmla="*/ 2147483647 w 3730"/>
                    <a:gd name="T59" fmla="*/ 2147483647 h 4763"/>
                    <a:gd name="T60" fmla="*/ 2147483647 w 3730"/>
                    <a:gd name="T61" fmla="*/ 2147483647 h 4763"/>
                    <a:gd name="T62" fmla="*/ 2147483647 w 3730"/>
                    <a:gd name="T63" fmla="*/ 2147483647 h 4763"/>
                    <a:gd name="T64" fmla="*/ 2147483647 w 3730"/>
                    <a:gd name="T65" fmla="*/ 2147483647 h 4763"/>
                    <a:gd name="T66" fmla="*/ 2147483647 w 3730"/>
                    <a:gd name="T67" fmla="*/ 2147483647 h 4763"/>
                    <a:gd name="T68" fmla="*/ 2147483647 w 3730"/>
                    <a:gd name="T69" fmla="*/ 2147483647 h 4763"/>
                    <a:gd name="T70" fmla="*/ 2147483647 w 3730"/>
                    <a:gd name="T71" fmla="*/ 2147483647 h 4763"/>
                    <a:gd name="T72" fmla="*/ 2147483647 w 3730"/>
                    <a:gd name="T73" fmla="*/ 2147483647 h 4763"/>
                    <a:gd name="T74" fmla="*/ 2147483647 w 3730"/>
                    <a:gd name="T75" fmla="*/ 2147483647 h 4763"/>
                    <a:gd name="T76" fmla="*/ 2147483647 w 3730"/>
                    <a:gd name="T77" fmla="*/ 2147483647 h 4763"/>
                    <a:gd name="T78" fmla="*/ 2147483647 w 3730"/>
                    <a:gd name="T79" fmla="*/ 2147483647 h 4763"/>
                    <a:gd name="T80" fmla="*/ 2147483647 w 3730"/>
                    <a:gd name="T81" fmla="*/ 2147483647 h 4763"/>
                    <a:gd name="T82" fmla="*/ 2147483647 w 3730"/>
                    <a:gd name="T83" fmla="*/ 2147483647 h 4763"/>
                    <a:gd name="T84" fmla="*/ 2147483647 w 3730"/>
                    <a:gd name="T85" fmla="*/ 2147483647 h 4763"/>
                    <a:gd name="T86" fmla="*/ 2147483647 w 3730"/>
                    <a:gd name="T87" fmla="*/ 2147483647 h 4763"/>
                    <a:gd name="T88" fmla="*/ 2147483647 w 3730"/>
                    <a:gd name="T89" fmla="*/ 2147483647 h 4763"/>
                    <a:gd name="T90" fmla="*/ 2147483647 w 3730"/>
                    <a:gd name="T91" fmla="*/ 2147483647 h 4763"/>
                    <a:gd name="T92" fmla="*/ 2147483647 w 3730"/>
                    <a:gd name="T93" fmla="*/ 2147483647 h 4763"/>
                    <a:gd name="T94" fmla="*/ 2147483647 w 3730"/>
                    <a:gd name="T95" fmla="*/ 2147483647 h 4763"/>
                    <a:gd name="T96" fmla="*/ 2147483647 w 3730"/>
                    <a:gd name="T97" fmla="*/ 2147483647 h 4763"/>
                    <a:gd name="T98" fmla="*/ 2147483647 w 3730"/>
                    <a:gd name="T99" fmla="*/ 2147483647 h 4763"/>
                    <a:gd name="T100" fmla="*/ 0 w 3730"/>
                    <a:gd name="T101" fmla="*/ 2147483647 h 4763"/>
                    <a:gd name="T102" fmla="*/ 2147483647 w 3730"/>
                    <a:gd name="T103" fmla="*/ 2147483647 h 4763"/>
                    <a:gd name="T104" fmla="*/ 2147483647 w 3730"/>
                    <a:gd name="T105" fmla="*/ 2147483647 h 4763"/>
                    <a:gd name="T106" fmla="*/ 2147483647 w 3730"/>
                    <a:gd name="T107" fmla="*/ 2147483647 h 4763"/>
                    <a:gd name="T108" fmla="*/ 2147483647 w 3730"/>
                    <a:gd name="T109" fmla="*/ 2147483647 h 4763"/>
                    <a:gd name="T110" fmla="*/ 2147483647 w 3730"/>
                    <a:gd name="T111" fmla="*/ 2147483647 h 4763"/>
                    <a:gd name="T112" fmla="*/ 2147483647 w 3730"/>
                    <a:gd name="T113" fmla="*/ 2147483647 h 4763"/>
                    <a:gd name="T114" fmla="*/ 2147483647 w 3730"/>
                    <a:gd name="T115" fmla="*/ 2147483647 h 4763"/>
                    <a:gd name="T116" fmla="*/ 2147483647 w 3730"/>
                    <a:gd name="T117" fmla="*/ 2147483647 h 4763"/>
                    <a:gd name="T118" fmla="*/ 2147483647 w 3730"/>
                    <a:gd name="T119" fmla="*/ 2147483647 h 4763"/>
                    <a:gd name="T120" fmla="*/ 2147483647 w 373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30"/>
                    <a:gd name="T184" fmla="*/ 0 h 4763"/>
                    <a:gd name="T185" fmla="*/ 3730 w 373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30" h="4763">
                      <a:moveTo>
                        <a:pt x="2799" y="3443"/>
                      </a:moveTo>
                      <a:lnTo>
                        <a:pt x="2799" y="3443"/>
                      </a:lnTo>
                      <a:lnTo>
                        <a:pt x="2845" y="3431"/>
                      </a:lnTo>
                      <a:lnTo>
                        <a:pt x="2892" y="3416"/>
                      </a:lnTo>
                      <a:lnTo>
                        <a:pt x="2938" y="3401"/>
                      </a:lnTo>
                      <a:lnTo>
                        <a:pt x="2985" y="3384"/>
                      </a:lnTo>
                      <a:lnTo>
                        <a:pt x="3032" y="3366"/>
                      </a:lnTo>
                      <a:lnTo>
                        <a:pt x="3078" y="3347"/>
                      </a:lnTo>
                      <a:lnTo>
                        <a:pt x="3125" y="3327"/>
                      </a:lnTo>
                      <a:lnTo>
                        <a:pt x="3170" y="3306"/>
                      </a:lnTo>
                      <a:lnTo>
                        <a:pt x="3218" y="3405"/>
                      </a:lnTo>
                      <a:lnTo>
                        <a:pt x="3177" y="3424"/>
                      </a:lnTo>
                      <a:lnTo>
                        <a:pt x="3137" y="3442"/>
                      </a:lnTo>
                      <a:lnTo>
                        <a:pt x="3096" y="3458"/>
                      </a:lnTo>
                      <a:lnTo>
                        <a:pt x="3056" y="3475"/>
                      </a:lnTo>
                      <a:lnTo>
                        <a:pt x="3015" y="3490"/>
                      </a:lnTo>
                      <a:lnTo>
                        <a:pt x="2974" y="3504"/>
                      </a:lnTo>
                      <a:lnTo>
                        <a:pt x="2933" y="3517"/>
                      </a:lnTo>
                      <a:lnTo>
                        <a:pt x="2892" y="3530"/>
                      </a:lnTo>
                      <a:lnTo>
                        <a:pt x="2851" y="3542"/>
                      </a:lnTo>
                      <a:lnTo>
                        <a:pt x="2810" y="3553"/>
                      </a:lnTo>
                      <a:lnTo>
                        <a:pt x="2768" y="3563"/>
                      </a:lnTo>
                      <a:lnTo>
                        <a:pt x="2727" y="3572"/>
                      </a:lnTo>
                      <a:lnTo>
                        <a:pt x="2685" y="3580"/>
                      </a:lnTo>
                      <a:lnTo>
                        <a:pt x="2644" y="3587"/>
                      </a:lnTo>
                      <a:lnTo>
                        <a:pt x="2561" y="3600"/>
                      </a:lnTo>
                      <a:lnTo>
                        <a:pt x="2479" y="3609"/>
                      </a:lnTo>
                      <a:lnTo>
                        <a:pt x="2397" y="3615"/>
                      </a:lnTo>
                      <a:lnTo>
                        <a:pt x="2316" y="3618"/>
                      </a:lnTo>
                      <a:lnTo>
                        <a:pt x="2235" y="3616"/>
                      </a:lnTo>
                      <a:lnTo>
                        <a:pt x="2155" y="3613"/>
                      </a:lnTo>
                      <a:lnTo>
                        <a:pt x="2076" y="3607"/>
                      </a:lnTo>
                      <a:lnTo>
                        <a:pt x="1997" y="3597"/>
                      </a:lnTo>
                      <a:lnTo>
                        <a:pt x="1921" y="3583"/>
                      </a:lnTo>
                      <a:lnTo>
                        <a:pt x="1845" y="3568"/>
                      </a:lnTo>
                      <a:lnTo>
                        <a:pt x="1771" y="3549"/>
                      </a:lnTo>
                      <a:lnTo>
                        <a:pt x="1698" y="3527"/>
                      </a:lnTo>
                      <a:lnTo>
                        <a:pt x="1627" y="3504"/>
                      </a:lnTo>
                      <a:lnTo>
                        <a:pt x="1558" y="3476"/>
                      </a:lnTo>
                      <a:lnTo>
                        <a:pt x="1491" y="3446"/>
                      </a:lnTo>
                      <a:lnTo>
                        <a:pt x="1458" y="3430"/>
                      </a:lnTo>
                      <a:lnTo>
                        <a:pt x="1425" y="3413"/>
                      </a:lnTo>
                      <a:lnTo>
                        <a:pt x="1394" y="3397"/>
                      </a:lnTo>
                      <a:lnTo>
                        <a:pt x="1362" y="3379"/>
                      </a:lnTo>
                      <a:lnTo>
                        <a:pt x="1332" y="3360"/>
                      </a:lnTo>
                      <a:lnTo>
                        <a:pt x="1302" y="3340"/>
                      </a:lnTo>
                      <a:lnTo>
                        <a:pt x="1272" y="3321"/>
                      </a:lnTo>
                      <a:lnTo>
                        <a:pt x="1243" y="3301"/>
                      </a:lnTo>
                      <a:lnTo>
                        <a:pt x="1215" y="3279"/>
                      </a:lnTo>
                      <a:lnTo>
                        <a:pt x="1187" y="3258"/>
                      </a:lnTo>
                      <a:lnTo>
                        <a:pt x="1161" y="3235"/>
                      </a:lnTo>
                      <a:lnTo>
                        <a:pt x="1135" y="3213"/>
                      </a:lnTo>
                      <a:lnTo>
                        <a:pt x="1108" y="3188"/>
                      </a:lnTo>
                      <a:lnTo>
                        <a:pt x="1084" y="3165"/>
                      </a:lnTo>
                      <a:lnTo>
                        <a:pt x="1059" y="3140"/>
                      </a:lnTo>
                      <a:lnTo>
                        <a:pt x="1036" y="3114"/>
                      </a:lnTo>
                      <a:lnTo>
                        <a:pt x="1014" y="3088"/>
                      </a:lnTo>
                      <a:lnTo>
                        <a:pt x="992" y="3062"/>
                      </a:lnTo>
                      <a:lnTo>
                        <a:pt x="971" y="3034"/>
                      </a:lnTo>
                      <a:lnTo>
                        <a:pt x="951" y="3007"/>
                      </a:lnTo>
                      <a:lnTo>
                        <a:pt x="853" y="3524"/>
                      </a:lnTo>
                      <a:lnTo>
                        <a:pt x="630" y="3524"/>
                      </a:lnTo>
                      <a:lnTo>
                        <a:pt x="752" y="2826"/>
                      </a:lnTo>
                      <a:lnTo>
                        <a:pt x="715" y="2825"/>
                      </a:lnTo>
                      <a:lnTo>
                        <a:pt x="679" y="2822"/>
                      </a:lnTo>
                      <a:lnTo>
                        <a:pt x="646" y="2816"/>
                      </a:lnTo>
                      <a:lnTo>
                        <a:pt x="613" y="2811"/>
                      </a:lnTo>
                      <a:lnTo>
                        <a:pt x="583" y="2801"/>
                      </a:lnTo>
                      <a:lnTo>
                        <a:pt x="554" y="2792"/>
                      </a:lnTo>
                      <a:lnTo>
                        <a:pt x="528" y="2779"/>
                      </a:lnTo>
                      <a:lnTo>
                        <a:pt x="503" y="2767"/>
                      </a:lnTo>
                      <a:lnTo>
                        <a:pt x="480" y="2752"/>
                      </a:lnTo>
                      <a:lnTo>
                        <a:pt x="458" y="2735"/>
                      </a:lnTo>
                      <a:lnTo>
                        <a:pt x="439" y="2718"/>
                      </a:lnTo>
                      <a:lnTo>
                        <a:pt x="421" y="2698"/>
                      </a:lnTo>
                      <a:lnTo>
                        <a:pt x="406" y="2678"/>
                      </a:lnTo>
                      <a:lnTo>
                        <a:pt x="391" y="2656"/>
                      </a:lnTo>
                      <a:lnTo>
                        <a:pt x="379" y="2633"/>
                      </a:lnTo>
                      <a:lnTo>
                        <a:pt x="369" y="2609"/>
                      </a:lnTo>
                      <a:lnTo>
                        <a:pt x="96" y="1443"/>
                      </a:lnTo>
                      <a:lnTo>
                        <a:pt x="88" y="1407"/>
                      </a:lnTo>
                      <a:lnTo>
                        <a:pt x="82" y="1372"/>
                      </a:lnTo>
                      <a:lnTo>
                        <a:pt x="78" y="1336"/>
                      </a:lnTo>
                      <a:lnTo>
                        <a:pt x="75" y="1300"/>
                      </a:lnTo>
                      <a:lnTo>
                        <a:pt x="74" y="1263"/>
                      </a:lnTo>
                      <a:lnTo>
                        <a:pt x="75" y="1226"/>
                      </a:lnTo>
                      <a:lnTo>
                        <a:pt x="77" y="1189"/>
                      </a:lnTo>
                      <a:lnTo>
                        <a:pt x="81" y="1154"/>
                      </a:lnTo>
                      <a:lnTo>
                        <a:pt x="86" y="1117"/>
                      </a:lnTo>
                      <a:lnTo>
                        <a:pt x="93" y="1080"/>
                      </a:lnTo>
                      <a:lnTo>
                        <a:pt x="102" y="1043"/>
                      </a:lnTo>
                      <a:lnTo>
                        <a:pt x="111" y="1007"/>
                      </a:lnTo>
                      <a:lnTo>
                        <a:pt x="122" y="970"/>
                      </a:lnTo>
                      <a:lnTo>
                        <a:pt x="134" y="934"/>
                      </a:lnTo>
                      <a:lnTo>
                        <a:pt x="150" y="897"/>
                      </a:lnTo>
                      <a:lnTo>
                        <a:pt x="165" y="862"/>
                      </a:lnTo>
                      <a:lnTo>
                        <a:pt x="181" y="826"/>
                      </a:lnTo>
                      <a:lnTo>
                        <a:pt x="199" y="790"/>
                      </a:lnTo>
                      <a:lnTo>
                        <a:pt x="218" y="756"/>
                      </a:lnTo>
                      <a:lnTo>
                        <a:pt x="239" y="722"/>
                      </a:lnTo>
                      <a:lnTo>
                        <a:pt x="261" y="687"/>
                      </a:lnTo>
                      <a:lnTo>
                        <a:pt x="284" y="653"/>
                      </a:lnTo>
                      <a:lnTo>
                        <a:pt x="309" y="620"/>
                      </a:lnTo>
                      <a:lnTo>
                        <a:pt x="335" y="587"/>
                      </a:lnTo>
                      <a:lnTo>
                        <a:pt x="361" y="556"/>
                      </a:lnTo>
                      <a:lnTo>
                        <a:pt x="390" y="524"/>
                      </a:lnTo>
                      <a:lnTo>
                        <a:pt x="418" y="492"/>
                      </a:lnTo>
                      <a:lnTo>
                        <a:pt x="449" y="462"/>
                      </a:lnTo>
                      <a:lnTo>
                        <a:pt x="480" y="433"/>
                      </a:lnTo>
                      <a:lnTo>
                        <a:pt x="513" y="405"/>
                      </a:lnTo>
                      <a:lnTo>
                        <a:pt x="547" y="376"/>
                      </a:lnTo>
                      <a:lnTo>
                        <a:pt x="582" y="350"/>
                      </a:lnTo>
                      <a:lnTo>
                        <a:pt x="617" y="322"/>
                      </a:lnTo>
                      <a:lnTo>
                        <a:pt x="654" y="298"/>
                      </a:lnTo>
                      <a:lnTo>
                        <a:pt x="693" y="273"/>
                      </a:lnTo>
                      <a:lnTo>
                        <a:pt x="731" y="250"/>
                      </a:lnTo>
                      <a:lnTo>
                        <a:pt x="771" y="226"/>
                      </a:lnTo>
                      <a:lnTo>
                        <a:pt x="812" y="206"/>
                      </a:lnTo>
                      <a:lnTo>
                        <a:pt x="853" y="185"/>
                      </a:lnTo>
                      <a:lnTo>
                        <a:pt x="896" y="166"/>
                      </a:lnTo>
                      <a:lnTo>
                        <a:pt x="940" y="148"/>
                      </a:lnTo>
                      <a:lnTo>
                        <a:pt x="984" y="130"/>
                      </a:lnTo>
                      <a:lnTo>
                        <a:pt x="1029" y="115"/>
                      </a:lnTo>
                      <a:lnTo>
                        <a:pt x="1076" y="100"/>
                      </a:lnTo>
                      <a:lnTo>
                        <a:pt x="1122" y="86"/>
                      </a:lnTo>
                      <a:lnTo>
                        <a:pt x="1170" y="75"/>
                      </a:lnTo>
                      <a:lnTo>
                        <a:pt x="1218" y="64"/>
                      </a:lnTo>
                      <a:lnTo>
                        <a:pt x="1268" y="55"/>
                      </a:lnTo>
                      <a:lnTo>
                        <a:pt x="1317" y="48"/>
                      </a:lnTo>
                      <a:lnTo>
                        <a:pt x="1368" y="41"/>
                      </a:lnTo>
                      <a:lnTo>
                        <a:pt x="1418" y="37"/>
                      </a:lnTo>
                      <a:lnTo>
                        <a:pt x="1471" y="33"/>
                      </a:lnTo>
                      <a:lnTo>
                        <a:pt x="1524" y="32"/>
                      </a:lnTo>
                      <a:lnTo>
                        <a:pt x="1576" y="32"/>
                      </a:lnTo>
                      <a:lnTo>
                        <a:pt x="1631" y="33"/>
                      </a:lnTo>
                      <a:lnTo>
                        <a:pt x="1685" y="37"/>
                      </a:lnTo>
                      <a:lnTo>
                        <a:pt x="1739" y="41"/>
                      </a:lnTo>
                      <a:lnTo>
                        <a:pt x="1796" y="48"/>
                      </a:lnTo>
                      <a:lnTo>
                        <a:pt x="1852" y="56"/>
                      </a:lnTo>
                      <a:lnTo>
                        <a:pt x="1908" y="67"/>
                      </a:lnTo>
                      <a:lnTo>
                        <a:pt x="1964" y="80"/>
                      </a:lnTo>
                      <a:lnTo>
                        <a:pt x="2022" y="93"/>
                      </a:lnTo>
                      <a:lnTo>
                        <a:pt x="2081" y="110"/>
                      </a:lnTo>
                      <a:lnTo>
                        <a:pt x="2139" y="128"/>
                      </a:lnTo>
                      <a:lnTo>
                        <a:pt x="2155" y="133"/>
                      </a:lnTo>
                      <a:lnTo>
                        <a:pt x="2172" y="137"/>
                      </a:lnTo>
                      <a:lnTo>
                        <a:pt x="2206" y="143"/>
                      </a:lnTo>
                      <a:lnTo>
                        <a:pt x="2240" y="145"/>
                      </a:lnTo>
                      <a:lnTo>
                        <a:pt x="2276" y="145"/>
                      </a:lnTo>
                      <a:lnTo>
                        <a:pt x="2312" y="143"/>
                      </a:lnTo>
                      <a:lnTo>
                        <a:pt x="2349" y="137"/>
                      </a:lnTo>
                      <a:lnTo>
                        <a:pt x="2384" y="130"/>
                      </a:lnTo>
                      <a:lnTo>
                        <a:pt x="2420" y="121"/>
                      </a:lnTo>
                      <a:lnTo>
                        <a:pt x="2457" y="110"/>
                      </a:lnTo>
                      <a:lnTo>
                        <a:pt x="2493" y="97"/>
                      </a:lnTo>
                      <a:lnTo>
                        <a:pt x="2528" y="82"/>
                      </a:lnTo>
                      <a:lnTo>
                        <a:pt x="2564" y="67"/>
                      </a:lnTo>
                      <a:lnTo>
                        <a:pt x="2598" y="52"/>
                      </a:lnTo>
                      <a:lnTo>
                        <a:pt x="2633" y="34"/>
                      </a:lnTo>
                      <a:lnTo>
                        <a:pt x="2698" y="0"/>
                      </a:lnTo>
                      <a:lnTo>
                        <a:pt x="2696" y="55"/>
                      </a:lnTo>
                      <a:lnTo>
                        <a:pt x="2690" y="110"/>
                      </a:lnTo>
                      <a:lnTo>
                        <a:pt x="2682" y="163"/>
                      </a:lnTo>
                      <a:lnTo>
                        <a:pt x="2670" y="217"/>
                      </a:lnTo>
                      <a:lnTo>
                        <a:pt x="2654" y="272"/>
                      </a:lnTo>
                      <a:lnTo>
                        <a:pt x="2637" y="324"/>
                      </a:lnTo>
                      <a:lnTo>
                        <a:pt x="2626" y="350"/>
                      </a:lnTo>
                      <a:lnTo>
                        <a:pt x="2615" y="376"/>
                      </a:lnTo>
                      <a:lnTo>
                        <a:pt x="2602" y="402"/>
                      </a:lnTo>
                      <a:lnTo>
                        <a:pt x="2590" y="428"/>
                      </a:lnTo>
                      <a:lnTo>
                        <a:pt x="2594" y="431"/>
                      </a:lnTo>
                      <a:lnTo>
                        <a:pt x="2624" y="460"/>
                      </a:lnTo>
                      <a:lnTo>
                        <a:pt x="2654" y="488"/>
                      </a:lnTo>
                      <a:lnTo>
                        <a:pt x="2683" y="519"/>
                      </a:lnTo>
                      <a:lnTo>
                        <a:pt x="2711" y="550"/>
                      </a:lnTo>
                      <a:lnTo>
                        <a:pt x="2738" y="583"/>
                      </a:lnTo>
                      <a:lnTo>
                        <a:pt x="2763" y="617"/>
                      </a:lnTo>
                      <a:lnTo>
                        <a:pt x="2788" y="653"/>
                      </a:lnTo>
                      <a:lnTo>
                        <a:pt x="2810" y="690"/>
                      </a:lnTo>
                      <a:lnTo>
                        <a:pt x="2831" y="728"/>
                      </a:lnTo>
                      <a:lnTo>
                        <a:pt x="2852" y="768"/>
                      </a:lnTo>
                      <a:lnTo>
                        <a:pt x="2871" y="808"/>
                      </a:lnTo>
                      <a:lnTo>
                        <a:pt x="2889" y="851"/>
                      </a:lnTo>
                      <a:lnTo>
                        <a:pt x="2907" y="893"/>
                      </a:lnTo>
                      <a:lnTo>
                        <a:pt x="2922" y="938"/>
                      </a:lnTo>
                      <a:lnTo>
                        <a:pt x="2936" y="984"/>
                      </a:lnTo>
                      <a:lnTo>
                        <a:pt x="2949" y="1030"/>
                      </a:lnTo>
                      <a:lnTo>
                        <a:pt x="2956" y="1060"/>
                      </a:lnTo>
                      <a:lnTo>
                        <a:pt x="2963" y="1089"/>
                      </a:lnTo>
                      <a:lnTo>
                        <a:pt x="2974" y="1151"/>
                      </a:lnTo>
                      <a:lnTo>
                        <a:pt x="2984" y="1213"/>
                      </a:lnTo>
                      <a:lnTo>
                        <a:pt x="2992" y="1274"/>
                      </a:lnTo>
                      <a:lnTo>
                        <a:pt x="3006" y="1391"/>
                      </a:lnTo>
                      <a:lnTo>
                        <a:pt x="3014" y="1445"/>
                      </a:lnTo>
                      <a:lnTo>
                        <a:pt x="3021" y="1493"/>
                      </a:lnTo>
                      <a:lnTo>
                        <a:pt x="3026" y="1520"/>
                      </a:lnTo>
                      <a:lnTo>
                        <a:pt x="3033" y="1542"/>
                      </a:lnTo>
                      <a:lnTo>
                        <a:pt x="3039" y="1560"/>
                      </a:lnTo>
                      <a:lnTo>
                        <a:pt x="3043" y="1571"/>
                      </a:lnTo>
                      <a:lnTo>
                        <a:pt x="3310" y="2136"/>
                      </a:lnTo>
                      <a:lnTo>
                        <a:pt x="3320" y="2158"/>
                      </a:lnTo>
                      <a:lnTo>
                        <a:pt x="3325" y="2181"/>
                      </a:lnTo>
                      <a:lnTo>
                        <a:pt x="3328" y="2202"/>
                      </a:lnTo>
                      <a:lnTo>
                        <a:pt x="3327" y="2224"/>
                      </a:lnTo>
                      <a:lnTo>
                        <a:pt x="3323" y="2243"/>
                      </a:lnTo>
                      <a:lnTo>
                        <a:pt x="3317" y="2262"/>
                      </a:lnTo>
                      <a:lnTo>
                        <a:pt x="3309" y="2279"/>
                      </a:lnTo>
                      <a:lnTo>
                        <a:pt x="3298" y="2295"/>
                      </a:lnTo>
                      <a:lnTo>
                        <a:pt x="3286" y="2310"/>
                      </a:lnTo>
                      <a:lnTo>
                        <a:pt x="3272" y="2323"/>
                      </a:lnTo>
                      <a:lnTo>
                        <a:pt x="3257" y="2333"/>
                      </a:lnTo>
                      <a:lnTo>
                        <a:pt x="3242" y="2343"/>
                      </a:lnTo>
                      <a:lnTo>
                        <a:pt x="3224" y="2351"/>
                      </a:lnTo>
                      <a:lnTo>
                        <a:pt x="3207" y="2355"/>
                      </a:lnTo>
                      <a:lnTo>
                        <a:pt x="3189" y="2360"/>
                      </a:lnTo>
                      <a:lnTo>
                        <a:pt x="3172" y="2360"/>
                      </a:lnTo>
                      <a:lnTo>
                        <a:pt x="2982" y="2354"/>
                      </a:lnTo>
                      <a:lnTo>
                        <a:pt x="2936" y="2663"/>
                      </a:lnTo>
                      <a:lnTo>
                        <a:pt x="2423" y="2663"/>
                      </a:lnTo>
                      <a:lnTo>
                        <a:pt x="2406" y="2663"/>
                      </a:lnTo>
                      <a:lnTo>
                        <a:pt x="2391" y="2660"/>
                      </a:lnTo>
                      <a:lnTo>
                        <a:pt x="2361" y="2653"/>
                      </a:lnTo>
                      <a:lnTo>
                        <a:pt x="2332" y="2645"/>
                      </a:lnTo>
                      <a:lnTo>
                        <a:pt x="2302" y="2637"/>
                      </a:lnTo>
                      <a:lnTo>
                        <a:pt x="2331" y="2671"/>
                      </a:lnTo>
                      <a:lnTo>
                        <a:pt x="2361" y="2704"/>
                      </a:lnTo>
                      <a:lnTo>
                        <a:pt x="2392" y="2735"/>
                      </a:lnTo>
                      <a:lnTo>
                        <a:pt x="2408" y="2749"/>
                      </a:lnTo>
                      <a:lnTo>
                        <a:pt x="2424" y="2763"/>
                      </a:lnTo>
                      <a:lnTo>
                        <a:pt x="2442" y="2775"/>
                      </a:lnTo>
                      <a:lnTo>
                        <a:pt x="2460" y="2786"/>
                      </a:lnTo>
                      <a:lnTo>
                        <a:pt x="2479" y="2796"/>
                      </a:lnTo>
                      <a:lnTo>
                        <a:pt x="2498" y="2804"/>
                      </a:lnTo>
                      <a:lnTo>
                        <a:pt x="2520" y="2811"/>
                      </a:lnTo>
                      <a:lnTo>
                        <a:pt x="2542" y="2815"/>
                      </a:lnTo>
                      <a:lnTo>
                        <a:pt x="2565" y="2819"/>
                      </a:lnTo>
                      <a:lnTo>
                        <a:pt x="2590" y="2819"/>
                      </a:lnTo>
                      <a:lnTo>
                        <a:pt x="2915" y="2819"/>
                      </a:lnTo>
                      <a:lnTo>
                        <a:pt x="2847" y="3286"/>
                      </a:lnTo>
                      <a:lnTo>
                        <a:pt x="2838" y="3327"/>
                      </a:lnTo>
                      <a:lnTo>
                        <a:pt x="2829" y="3368"/>
                      </a:lnTo>
                      <a:lnTo>
                        <a:pt x="2822" y="3387"/>
                      </a:lnTo>
                      <a:lnTo>
                        <a:pt x="2815" y="3406"/>
                      </a:lnTo>
                      <a:lnTo>
                        <a:pt x="2807" y="3425"/>
                      </a:lnTo>
                      <a:lnTo>
                        <a:pt x="2799" y="3443"/>
                      </a:lnTo>
                      <a:close/>
                      <a:moveTo>
                        <a:pt x="851" y="2343"/>
                      </a:moveTo>
                      <a:lnTo>
                        <a:pt x="851" y="2343"/>
                      </a:lnTo>
                      <a:lnTo>
                        <a:pt x="851" y="2395"/>
                      </a:lnTo>
                      <a:lnTo>
                        <a:pt x="852" y="2447"/>
                      </a:lnTo>
                      <a:lnTo>
                        <a:pt x="856" y="2497"/>
                      </a:lnTo>
                      <a:lnTo>
                        <a:pt x="863" y="2547"/>
                      </a:lnTo>
                      <a:lnTo>
                        <a:pt x="872" y="2596"/>
                      </a:lnTo>
                      <a:lnTo>
                        <a:pt x="883" y="2644"/>
                      </a:lnTo>
                      <a:lnTo>
                        <a:pt x="899" y="2690"/>
                      </a:lnTo>
                      <a:lnTo>
                        <a:pt x="916" y="2735"/>
                      </a:lnTo>
                      <a:lnTo>
                        <a:pt x="936" y="2779"/>
                      </a:lnTo>
                      <a:lnTo>
                        <a:pt x="956" y="2823"/>
                      </a:lnTo>
                      <a:lnTo>
                        <a:pt x="981" y="2866"/>
                      </a:lnTo>
                      <a:lnTo>
                        <a:pt x="1007" y="2907"/>
                      </a:lnTo>
                      <a:lnTo>
                        <a:pt x="1034" y="2948"/>
                      </a:lnTo>
                      <a:lnTo>
                        <a:pt x="1065" y="2986"/>
                      </a:lnTo>
                      <a:lnTo>
                        <a:pt x="1096" y="3025"/>
                      </a:lnTo>
                      <a:lnTo>
                        <a:pt x="1130" y="3062"/>
                      </a:lnTo>
                      <a:lnTo>
                        <a:pt x="1166" y="3096"/>
                      </a:lnTo>
                      <a:lnTo>
                        <a:pt x="1203" y="3131"/>
                      </a:lnTo>
                      <a:lnTo>
                        <a:pt x="1242" y="3163"/>
                      </a:lnTo>
                      <a:lnTo>
                        <a:pt x="1283" y="3195"/>
                      </a:lnTo>
                      <a:lnTo>
                        <a:pt x="1325" y="3225"/>
                      </a:lnTo>
                      <a:lnTo>
                        <a:pt x="1368" y="3254"/>
                      </a:lnTo>
                      <a:lnTo>
                        <a:pt x="1413" y="3281"/>
                      </a:lnTo>
                      <a:lnTo>
                        <a:pt x="1460" y="3307"/>
                      </a:lnTo>
                      <a:lnTo>
                        <a:pt x="1506" y="3332"/>
                      </a:lnTo>
                      <a:lnTo>
                        <a:pt x="1556" y="3356"/>
                      </a:lnTo>
                      <a:lnTo>
                        <a:pt x="1605" y="3377"/>
                      </a:lnTo>
                      <a:lnTo>
                        <a:pt x="1656" y="3398"/>
                      </a:lnTo>
                      <a:lnTo>
                        <a:pt x="1708" y="3416"/>
                      </a:lnTo>
                      <a:lnTo>
                        <a:pt x="1760" y="3434"/>
                      </a:lnTo>
                      <a:lnTo>
                        <a:pt x="1814" y="3449"/>
                      </a:lnTo>
                      <a:lnTo>
                        <a:pt x="1868" y="3463"/>
                      </a:lnTo>
                      <a:lnTo>
                        <a:pt x="1911" y="3472"/>
                      </a:lnTo>
                      <a:lnTo>
                        <a:pt x="1953" y="3479"/>
                      </a:lnTo>
                      <a:lnTo>
                        <a:pt x="1993" y="3486"/>
                      </a:lnTo>
                      <a:lnTo>
                        <a:pt x="2033" y="3491"/>
                      </a:lnTo>
                      <a:lnTo>
                        <a:pt x="2071" y="3495"/>
                      </a:lnTo>
                      <a:lnTo>
                        <a:pt x="2107" y="3500"/>
                      </a:lnTo>
                      <a:lnTo>
                        <a:pt x="2174" y="3504"/>
                      </a:lnTo>
                      <a:lnTo>
                        <a:pt x="2232" y="3504"/>
                      </a:lnTo>
                      <a:lnTo>
                        <a:pt x="2281" y="3504"/>
                      </a:lnTo>
                      <a:lnTo>
                        <a:pt x="2321" y="3501"/>
                      </a:lnTo>
                      <a:lnTo>
                        <a:pt x="2349" y="3498"/>
                      </a:lnTo>
                      <a:lnTo>
                        <a:pt x="2379" y="3495"/>
                      </a:lnTo>
                      <a:lnTo>
                        <a:pt x="2408" y="3490"/>
                      </a:lnTo>
                      <a:lnTo>
                        <a:pt x="2435" y="3483"/>
                      </a:lnTo>
                      <a:lnTo>
                        <a:pt x="2460" y="3476"/>
                      </a:lnTo>
                      <a:lnTo>
                        <a:pt x="2483" y="3467"/>
                      </a:lnTo>
                      <a:lnTo>
                        <a:pt x="2505" y="3456"/>
                      </a:lnTo>
                      <a:lnTo>
                        <a:pt x="2526" y="3443"/>
                      </a:lnTo>
                      <a:lnTo>
                        <a:pt x="2543" y="3428"/>
                      </a:lnTo>
                      <a:lnTo>
                        <a:pt x="2560" y="3413"/>
                      </a:lnTo>
                      <a:lnTo>
                        <a:pt x="2575" y="3395"/>
                      </a:lnTo>
                      <a:lnTo>
                        <a:pt x="2589" y="3376"/>
                      </a:lnTo>
                      <a:lnTo>
                        <a:pt x="2600" y="3356"/>
                      </a:lnTo>
                      <a:lnTo>
                        <a:pt x="2609" y="3334"/>
                      </a:lnTo>
                      <a:lnTo>
                        <a:pt x="2617" y="3309"/>
                      </a:lnTo>
                      <a:lnTo>
                        <a:pt x="2624" y="3283"/>
                      </a:lnTo>
                      <a:lnTo>
                        <a:pt x="2630" y="3254"/>
                      </a:lnTo>
                      <a:lnTo>
                        <a:pt x="2675" y="2938"/>
                      </a:lnTo>
                      <a:lnTo>
                        <a:pt x="2590" y="2938"/>
                      </a:lnTo>
                      <a:lnTo>
                        <a:pt x="2568" y="2937"/>
                      </a:lnTo>
                      <a:lnTo>
                        <a:pt x="2547" y="2936"/>
                      </a:lnTo>
                      <a:lnTo>
                        <a:pt x="2527" y="2933"/>
                      </a:lnTo>
                      <a:lnTo>
                        <a:pt x="2508" y="2929"/>
                      </a:lnTo>
                      <a:lnTo>
                        <a:pt x="2488" y="2923"/>
                      </a:lnTo>
                      <a:lnTo>
                        <a:pt x="2469" y="2918"/>
                      </a:lnTo>
                      <a:lnTo>
                        <a:pt x="2451" y="2911"/>
                      </a:lnTo>
                      <a:lnTo>
                        <a:pt x="2434" y="2903"/>
                      </a:lnTo>
                      <a:lnTo>
                        <a:pt x="2416" y="2895"/>
                      </a:lnTo>
                      <a:lnTo>
                        <a:pt x="2399" y="2885"/>
                      </a:lnTo>
                      <a:lnTo>
                        <a:pt x="2366" y="2864"/>
                      </a:lnTo>
                      <a:lnTo>
                        <a:pt x="2335" y="2841"/>
                      </a:lnTo>
                      <a:lnTo>
                        <a:pt x="2305" y="2815"/>
                      </a:lnTo>
                      <a:lnTo>
                        <a:pt x="2276" y="2789"/>
                      </a:lnTo>
                      <a:lnTo>
                        <a:pt x="2248" y="2760"/>
                      </a:lnTo>
                      <a:lnTo>
                        <a:pt x="2221" y="2730"/>
                      </a:lnTo>
                      <a:lnTo>
                        <a:pt x="2195" y="2700"/>
                      </a:lnTo>
                      <a:lnTo>
                        <a:pt x="2144" y="2638"/>
                      </a:lnTo>
                      <a:lnTo>
                        <a:pt x="2093" y="2579"/>
                      </a:lnTo>
                      <a:lnTo>
                        <a:pt x="2087" y="2568"/>
                      </a:lnTo>
                      <a:lnTo>
                        <a:pt x="2080" y="2558"/>
                      </a:lnTo>
                      <a:lnTo>
                        <a:pt x="2076" y="2549"/>
                      </a:lnTo>
                      <a:lnTo>
                        <a:pt x="2073" y="2539"/>
                      </a:lnTo>
                      <a:lnTo>
                        <a:pt x="2073" y="2530"/>
                      </a:lnTo>
                      <a:lnTo>
                        <a:pt x="2073" y="2520"/>
                      </a:lnTo>
                      <a:lnTo>
                        <a:pt x="2076" y="2512"/>
                      </a:lnTo>
                      <a:lnTo>
                        <a:pt x="2078" y="2505"/>
                      </a:lnTo>
                      <a:lnTo>
                        <a:pt x="2084" y="2498"/>
                      </a:lnTo>
                      <a:lnTo>
                        <a:pt x="2091" y="2491"/>
                      </a:lnTo>
                      <a:lnTo>
                        <a:pt x="2098" y="2487"/>
                      </a:lnTo>
                      <a:lnTo>
                        <a:pt x="2107" y="2483"/>
                      </a:lnTo>
                      <a:lnTo>
                        <a:pt x="2117" y="2480"/>
                      </a:lnTo>
                      <a:lnTo>
                        <a:pt x="2128" y="2480"/>
                      </a:lnTo>
                      <a:lnTo>
                        <a:pt x="2139" y="2480"/>
                      </a:lnTo>
                      <a:lnTo>
                        <a:pt x="2151" y="2482"/>
                      </a:lnTo>
                      <a:lnTo>
                        <a:pt x="2428" y="2545"/>
                      </a:lnTo>
                      <a:lnTo>
                        <a:pt x="2733" y="2545"/>
                      </a:lnTo>
                      <a:lnTo>
                        <a:pt x="2779" y="2225"/>
                      </a:lnTo>
                      <a:lnTo>
                        <a:pt x="2782" y="2214"/>
                      </a:lnTo>
                      <a:lnTo>
                        <a:pt x="2785" y="2205"/>
                      </a:lnTo>
                      <a:lnTo>
                        <a:pt x="2788" y="2195"/>
                      </a:lnTo>
                      <a:lnTo>
                        <a:pt x="2793" y="2187"/>
                      </a:lnTo>
                      <a:lnTo>
                        <a:pt x="2799" y="2178"/>
                      </a:lnTo>
                      <a:lnTo>
                        <a:pt x="2804" y="2170"/>
                      </a:lnTo>
                      <a:lnTo>
                        <a:pt x="2811" y="2163"/>
                      </a:lnTo>
                      <a:lnTo>
                        <a:pt x="2818" y="2157"/>
                      </a:lnTo>
                      <a:lnTo>
                        <a:pt x="2826" y="2151"/>
                      </a:lnTo>
                      <a:lnTo>
                        <a:pt x="2834" y="2146"/>
                      </a:lnTo>
                      <a:lnTo>
                        <a:pt x="2842" y="2141"/>
                      </a:lnTo>
                      <a:lnTo>
                        <a:pt x="2852" y="2137"/>
                      </a:lnTo>
                      <a:lnTo>
                        <a:pt x="2862" y="2135"/>
                      </a:lnTo>
                      <a:lnTo>
                        <a:pt x="2871" y="2132"/>
                      </a:lnTo>
                      <a:lnTo>
                        <a:pt x="2882" y="2132"/>
                      </a:lnTo>
                      <a:lnTo>
                        <a:pt x="2892" y="2132"/>
                      </a:lnTo>
                      <a:lnTo>
                        <a:pt x="3072" y="2139"/>
                      </a:lnTo>
                      <a:lnTo>
                        <a:pt x="2845" y="1665"/>
                      </a:lnTo>
                      <a:lnTo>
                        <a:pt x="2834" y="1641"/>
                      </a:lnTo>
                      <a:lnTo>
                        <a:pt x="2825" y="1613"/>
                      </a:lnTo>
                      <a:lnTo>
                        <a:pt x="2818" y="1582"/>
                      </a:lnTo>
                      <a:lnTo>
                        <a:pt x="2810" y="1549"/>
                      </a:lnTo>
                      <a:lnTo>
                        <a:pt x="2803" y="1510"/>
                      </a:lnTo>
                      <a:lnTo>
                        <a:pt x="2797" y="1471"/>
                      </a:lnTo>
                      <a:lnTo>
                        <a:pt x="2783" y="1380"/>
                      </a:lnTo>
                      <a:lnTo>
                        <a:pt x="2772" y="1298"/>
                      </a:lnTo>
                      <a:lnTo>
                        <a:pt x="2761" y="1220"/>
                      </a:lnTo>
                      <a:lnTo>
                        <a:pt x="2751" y="1150"/>
                      </a:lnTo>
                      <a:lnTo>
                        <a:pt x="2744" y="1117"/>
                      </a:lnTo>
                      <a:lnTo>
                        <a:pt x="2737" y="1086"/>
                      </a:lnTo>
                      <a:lnTo>
                        <a:pt x="2726" y="1048"/>
                      </a:lnTo>
                      <a:lnTo>
                        <a:pt x="2715" y="1010"/>
                      </a:lnTo>
                      <a:lnTo>
                        <a:pt x="2701" y="974"/>
                      </a:lnTo>
                      <a:lnTo>
                        <a:pt x="2689" y="938"/>
                      </a:lnTo>
                      <a:lnTo>
                        <a:pt x="2674" y="905"/>
                      </a:lnTo>
                      <a:lnTo>
                        <a:pt x="2659" y="872"/>
                      </a:lnTo>
                      <a:lnTo>
                        <a:pt x="2644" y="841"/>
                      </a:lnTo>
                      <a:lnTo>
                        <a:pt x="2627" y="811"/>
                      </a:lnTo>
                      <a:lnTo>
                        <a:pt x="2609" y="782"/>
                      </a:lnTo>
                      <a:lnTo>
                        <a:pt x="2591" y="755"/>
                      </a:lnTo>
                      <a:lnTo>
                        <a:pt x="2572" y="728"/>
                      </a:lnTo>
                      <a:lnTo>
                        <a:pt x="2553" y="702"/>
                      </a:lnTo>
                      <a:lnTo>
                        <a:pt x="2532" y="678"/>
                      </a:lnTo>
                      <a:lnTo>
                        <a:pt x="2510" y="654"/>
                      </a:lnTo>
                      <a:lnTo>
                        <a:pt x="2488" y="632"/>
                      </a:lnTo>
                      <a:lnTo>
                        <a:pt x="2467" y="612"/>
                      </a:lnTo>
                      <a:lnTo>
                        <a:pt x="2438" y="643"/>
                      </a:lnTo>
                      <a:lnTo>
                        <a:pt x="2409" y="672"/>
                      </a:lnTo>
                      <a:lnTo>
                        <a:pt x="2379" y="701"/>
                      </a:lnTo>
                      <a:lnTo>
                        <a:pt x="2347" y="728"/>
                      </a:lnTo>
                      <a:lnTo>
                        <a:pt x="2314" y="755"/>
                      </a:lnTo>
                      <a:lnTo>
                        <a:pt x="2281" y="778"/>
                      </a:lnTo>
                      <a:lnTo>
                        <a:pt x="2247" y="801"/>
                      </a:lnTo>
                      <a:lnTo>
                        <a:pt x="2213" y="822"/>
                      </a:lnTo>
                      <a:lnTo>
                        <a:pt x="2163" y="925"/>
                      </a:lnTo>
                      <a:lnTo>
                        <a:pt x="2115" y="1021"/>
                      </a:lnTo>
                      <a:lnTo>
                        <a:pt x="2066" y="1110"/>
                      </a:lnTo>
                      <a:lnTo>
                        <a:pt x="2017" y="1195"/>
                      </a:lnTo>
                      <a:lnTo>
                        <a:pt x="1969" y="1273"/>
                      </a:lnTo>
                      <a:lnTo>
                        <a:pt x="1919" y="1346"/>
                      </a:lnTo>
                      <a:lnTo>
                        <a:pt x="1870" y="1414"/>
                      </a:lnTo>
                      <a:lnTo>
                        <a:pt x="1820" y="1477"/>
                      </a:lnTo>
                      <a:lnTo>
                        <a:pt x="2538" y="1423"/>
                      </a:lnTo>
                      <a:lnTo>
                        <a:pt x="2538" y="1329"/>
                      </a:lnTo>
                      <a:lnTo>
                        <a:pt x="2648" y="1329"/>
                      </a:lnTo>
                      <a:lnTo>
                        <a:pt x="2648" y="1989"/>
                      </a:lnTo>
                      <a:lnTo>
                        <a:pt x="2538" y="1989"/>
                      </a:lnTo>
                      <a:lnTo>
                        <a:pt x="2538" y="1532"/>
                      </a:lnTo>
                      <a:lnTo>
                        <a:pt x="1715" y="1595"/>
                      </a:lnTo>
                      <a:lnTo>
                        <a:pt x="1675" y="1634"/>
                      </a:lnTo>
                      <a:lnTo>
                        <a:pt x="1637" y="1670"/>
                      </a:lnTo>
                      <a:lnTo>
                        <a:pt x="1597" y="1702"/>
                      </a:lnTo>
                      <a:lnTo>
                        <a:pt x="1558" y="1733"/>
                      </a:lnTo>
                      <a:lnTo>
                        <a:pt x="1519" y="1760"/>
                      </a:lnTo>
                      <a:lnTo>
                        <a:pt x="1480" y="1786"/>
                      </a:lnTo>
                      <a:lnTo>
                        <a:pt x="1442" y="1808"/>
                      </a:lnTo>
                      <a:lnTo>
                        <a:pt x="1405" y="1829"/>
                      </a:lnTo>
                      <a:lnTo>
                        <a:pt x="1394" y="1809"/>
                      </a:lnTo>
                      <a:lnTo>
                        <a:pt x="1380" y="1790"/>
                      </a:lnTo>
                      <a:lnTo>
                        <a:pt x="1366" y="1772"/>
                      </a:lnTo>
                      <a:lnTo>
                        <a:pt x="1351" y="1757"/>
                      </a:lnTo>
                      <a:lnTo>
                        <a:pt x="1336" y="1742"/>
                      </a:lnTo>
                      <a:lnTo>
                        <a:pt x="1318" y="1729"/>
                      </a:lnTo>
                      <a:lnTo>
                        <a:pt x="1299" y="1716"/>
                      </a:lnTo>
                      <a:lnTo>
                        <a:pt x="1280" y="1705"/>
                      </a:lnTo>
                      <a:lnTo>
                        <a:pt x="1261" y="1696"/>
                      </a:lnTo>
                      <a:lnTo>
                        <a:pt x="1240" y="1687"/>
                      </a:lnTo>
                      <a:lnTo>
                        <a:pt x="1218" y="1682"/>
                      </a:lnTo>
                      <a:lnTo>
                        <a:pt x="1196" y="1678"/>
                      </a:lnTo>
                      <a:lnTo>
                        <a:pt x="1173" y="1675"/>
                      </a:lnTo>
                      <a:lnTo>
                        <a:pt x="1151" y="1674"/>
                      </a:lnTo>
                      <a:lnTo>
                        <a:pt x="1128" y="1675"/>
                      </a:lnTo>
                      <a:lnTo>
                        <a:pt x="1104" y="1679"/>
                      </a:lnTo>
                      <a:lnTo>
                        <a:pt x="1081" y="1683"/>
                      </a:lnTo>
                      <a:lnTo>
                        <a:pt x="1059" y="1690"/>
                      </a:lnTo>
                      <a:lnTo>
                        <a:pt x="1037" y="1698"/>
                      </a:lnTo>
                      <a:lnTo>
                        <a:pt x="1017" y="1708"/>
                      </a:lnTo>
                      <a:lnTo>
                        <a:pt x="997" y="1720"/>
                      </a:lnTo>
                      <a:lnTo>
                        <a:pt x="978" y="1733"/>
                      </a:lnTo>
                      <a:lnTo>
                        <a:pt x="960" y="1746"/>
                      </a:lnTo>
                      <a:lnTo>
                        <a:pt x="945" y="1761"/>
                      </a:lnTo>
                      <a:lnTo>
                        <a:pt x="930" y="1778"/>
                      </a:lnTo>
                      <a:lnTo>
                        <a:pt x="916" y="1796"/>
                      </a:lnTo>
                      <a:lnTo>
                        <a:pt x="905" y="1815"/>
                      </a:lnTo>
                      <a:lnTo>
                        <a:pt x="894" y="1834"/>
                      </a:lnTo>
                      <a:lnTo>
                        <a:pt x="886" y="1853"/>
                      </a:lnTo>
                      <a:lnTo>
                        <a:pt x="881" y="1875"/>
                      </a:lnTo>
                      <a:lnTo>
                        <a:pt x="875" y="1896"/>
                      </a:lnTo>
                      <a:lnTo>
                        <a:pt x="874" y="1919"/>
                      </a:lnTo>
                      <a:lnTo>
                        <a:pt x="851" y="2343"/>
                      </a:lnTo>
                      <a:close/>
                      <a:moveTo>
                        <a:pt x="2170" y="1823"/>
                      </a:moveTo>
                      <a:lnTo>
                        <a:pt x="2170" y="1823"/>
                      </a:lnTo>
                      <a:lnTo>
                        <a:pt x="2170" y="1809"/>
                      </a:lnTo>
                      <a:lnTo>
                        <a:pt x="2170" y="1796"/>
                      </a:lnTo>
                      <a:lnTo>
                        <a:pt x="2173" y="1782"/>
                      </a:lnTo>
                      <a:lnTo>
                        <a:pt x="2174" y="1770"/>
                      </a:lnTo>
                      <a:lnTo>
                        <a:pt x="2178" y="1757"/>
                      </a:lnTo>
                      <a:lnTo>
                        <a:pt x="2183" y="1746"/>
                      </a:lnTo>
                      <a:lnTo>
                        <a:pt x="2187" y="1735"/>
                      </a:lnTo>
                      <a:lnTo>
                        <a:pt x="2192" y="1726"/>
                      </a:lnTo>
                      <a:lnTo>
                        <a:pt x="2199" y="1716"/>
                      </a:lnTo>
                      <a:lnTo>
                        <a:pt x="2206" y="1708"/>
                      </a:lnTo>
                      <a:lnTo>
                        <a:pt x="2213" y="1701"/>
                      </a:lnTo>
                      <a:lnTo>
                        <a:pt x="2221" y="1696"/>
                      </a:lnTo>
                      <a:lnTo>
                        <a:pt x="2229" y="1690"/>
                      </a:lnTo>
                      <a:lnTo>
                        <a:pt x="2237" y="1686"/>
                      </a:lnTo>
                      <a:lnTo>
                        <a:pt x="2247" y="1685"/>
                      </a:lnTo>
                      <a:lnTo>
                        <a:pt x="2257" y="1683"/>
                      </a:lnTo>
                      <a:lnTo>
                        <a:pt x="2266" y="1683"/>
                      </a:lnTo>
                      <a:lnTo>
                        <a:pt x="2274" y="1685"/>
                      </a:lnTo>
                      <a:lnTo>
                        <a:pt x="2284" y="1687"/>
                      </a:lnTo>
                      <a:lnTo>
                        <a:pt x="2292" y="1691"/>
                      </a:lnTo>
                      <a:lnTo>
                        <a:pt x="2302" y="1697"/>
                      </a:lnTo>
                      <a:lnTo>
                        <a:pt x="2309" y="1704"/>
                      </a:lnTo>
                      <a:lnTo>
                        <a:pt x="2317" y="1711"/>
                      </a:lnTo>
                      <a:lnTo>
                        <a:pt x="2324" y="1719"/>
                      </a:lnTo>
                      <a:lnTo>
                        <a:pt x="2331" y="1729"/>
                      </a:lnTo>
                      <a:lnTo>
                        <a:pt x="2336" y="1738"/>
                      </a:lnTo>
                      <a:lnTo>
                        <a:pt x="2342" y="1749"/>
                      </a:lnTo>
                      <a:lnTo>
                        <a:pt x="2346" y="1761"/>
                      </a:lnTo>
                      <a:lnTo>
                        <a:pt x="2350" y="1772"/>
                      </a:lnTo>
                      <a:lnTo>
                        <a:pt x="2353" y="1786"/>
                      </a:lnTo>
                      <a:lnTo>
                        <a:pt x="2355" y="1800"/>
                      </a:lnTo>
                      <a:lnTo>
                        <a:pt x="2357" y="1814"/>
                      </a:lnTo>
                      <a:lnTo>
                        <a:pt x="2357" y="1827"/>
                      </a:lnTo>
                      <a:lnTo>
                        <a:pt x="2355" y="1840"/>
                      </a:lnTo>
                      <a:lnTo>
                        <a:pt x="2354" y="1853"/>
                      </a:lnTo>
                      <a:lnTo>
                        <a:pt x="2351" y="1866"/>
                      </a:lnTo>
                      <a:lnTo>
                        <a:pt x="2349" y="1878"/>
                      </a:lnTo>
                      <a:lnTo>
                        <a:pt x="2344" y="1889"/>
                      </a:lnTo>
                      <a:lnTo>
                        <a:pt x="2339" y="1900"/>
                      </a:lnTo>
                      <a:lnTo>
                        <a:pt x="2333" y="1910"/>
                      </a:lnTo>
                      <a:lnTo>
                        <a:pt x="2328" y="1919"/>
                      </a:lnTo>
                      <a:lnTo>
                        <a:pt x="2321" y="1927"/>
                      </a:lnTo>
                      <a:lnTo>
                        <a:pt x="2314" y="1934"/>
                      </a:lnTo>
                      <a:lnTo>
                        <a:pt x="2306" y="1940"/>
                      </a:lnTo>
                      <a:lnTo>
                        <a:pt x="2298" y="1945"/>
                      </a:lnTo>
                      <a:lnTo>
                        <a:pt x="2290" y="1949"/>
                      </a:lnTo>
                      <a:lnTo>
                        <a:pt x="2280" y="1952"/>
                      </a:lnTo>
                      <a:lnTo>
                        <a:pt x="2270" y="1952"/>
                      </a:lnTo>
                      <a:lnTo>
                        <a:pt x="2261" y="1952"/>
                      </a:lnTo>
                      <a:lnTo>
                        <a:pt x="2251" y="1951"/>
                      </a:lnTo>
                      <a:lnTo>
                        <a:pt x="2243" y="1948"/>
                      </a:lnTo>
                      <a:lnTo>
                        <a:pt x="2233" y="1944"/>
                      </a:lnTo>
                      <a:lnTo>
                        <a:pt x="2225" y="1938"/>
                      </a:lnTo>
                      <a:lnTo>
                        <a:pt x="2217" y="1933"/>
                      </a:lnTo>
                      <a:lnTo>
                        <a:pt x="2210" y="1925"/>
                      </a:lnTo>
                      <a:lnTo>
                        <a:pt x="2203" y="1916"/>
                      </a:lnTo>
                      <a:lnTo>
                        <a:pt x="2196" y="1907"/>
                      </a:lnTo>
                      <a:lnTo>
                        <a:pt x="2191" y="1897"/>
                      </a:lnTo>
                      <a:lnTo>
                        <a:pt x="2185" y="1886"/>
                      </a:lnTo>
                      <a:lnTo>
                        <a:pt x="2180" y="1875"/>
                      </a:lnTo>
                      <a:lnTo>
                        <a:pt x="2177" y="1863"/>
                      </a:lnTo>
                      <a:lnTo>
                        <a:pt x="2173" y="1849"/>
                      </a:lnTo>
                      <a:lnTo>
                        <a:pt x="2172" y="1837"/>
                      </a:lnTo>
                      <a:lnTo>
                        <a:pt x="2170" y="1823"/>
                      </a:lnTo>
                      <a:close/>
                      <a:moveTo>
                        <a:pt x="0" y="4763"/>
                      </a:moveTo>
                      <a:lnTo>
                        <a:pt x="284" y="3756"/>
                      </a:lnTo>
                      <a:lnTo>
                        <a:pt x="1442" y="3778"/>
                      </a:lnTo>
                      <a:lnTo>
                        <a:pt x="1512" y="3789"/>
                      </a:lnTo>
                      <a:lnTo>
                        <a:pt x="1580" y="3803"/>
                      </a:lnTo>
                      <a:lnTo>
                        <a:pt x="1648" y="3819"/>
                      </a:lnTo>
                      <a:lnTo>
                        <a:pt x="1713" y="3838"/>
                      </a:lnTo>
                      <a:lnTo>
                        <a:pt x="1778" y="3860"/>
                      </a:lnTo>
                      <a:lnTo>
                        <a:pt x="1841" y="3885"/>
                      </a:lnTo>
                      <a:lnTo>
                        <a:pt x="1903" y="3914"/>
                      </a:lnTo>
                      <a:lnTo>
                        <a:pt x="1962" y="3944"/>
                      </a:lnTo>
                      <a:lnTo>
                        <a:pt x="2019" y="3977"/>
                      </a:lnTo>
                      <a:lnTo>
                        <a:pt x="2076" y="4013"/>
                      </a:lnTo>
                      <a:lnTo>
                        <a:pt x="2129" y="4051"/>
                      </a:lnTo>
                      <a:lnTo>
                        <a:pt x="2181" y="4091"/>
                      </a:lnTo>
                      <a:lnTo>
                        <a:pt x="2232" y="4135"/>
                      </a:lnTo>
                      <a:lnTo>
                        <a:pt x="2280" y="4180"/>
                      </a:lnTo>
                      <a:lnTo>
                        <a:pt x="2325" y="4228"/>
                      </a:lnTo>
                      <a:lnTo>
                        <a:pt x="2369" y="4277"/>
                      </a:lnTo>
                      <a:lnTo>
                        <a:pt x="2369" y="3796"/>
                      </a:lnTo>
                      <a:lnTo>
                        <a:pt x="2546" y="3800"/>
                      </a:lnTo>
                      <a:lnTo>
                        <a:pt x="2565" y="3801"/>
                      </a:lnTo>
                      <a:lnTo>
                        <a:pt x="2585" y="3804"/>
                      </a:lnTo>
                      <a:lnTo>
                        <a:pt x="2604" y="3808"/>
                      </a:lnTo>
                      <a:lnTo>
                        <a:pt x="2623" y="3815"/>
                      </a:lnTo>
                      <a:lnTo>
                        <a:pt x="2642" y="3822"/>
                      </a:lnTo>
                      <a:lnTo>
                        <a:pt x="2661" y="3832"/>
                      </a:lnTo>
                      <a:lnTo>
                        <a:pt x="2681" y="3843"/>
                      </a:lnTo>
                      <a:lnTo>
                        <a:pt x="2698" y="3853"/>
                      </a:lnTo>
                      <a:lnTo>
                        <a:pt x="2716" y="3866"/>
                      </a:lnTo>
                      <a:lnTo>
                        <a:pt x="2734" y="3880"/>
                      </a:lnTo>
                      <a:lnTo>
                        <a:pt x="2752" y="3895"/>
                      </a:lnTo>
                      <a:lnTo>
                        <a:pt x="2770" y="3910"/>
                      </a:lnTo>
                      <a:lnTo>
                        <a:pt x="2786" y="3926"/>
                      </a:lnTo>
                      <a:lnTo>
                        <a:pt x="2801" y="3944"/>
                      </a:lnTo>
                      <a:lnTo>
                        <a:pt x="2818" y="3962"/>
                      </a:lnTo>
                      <a:lnTo>
                        <a:pt x="2833" y="3980"/>
                      </a:lnTo>
                      <a:lnTo>
                        <a:pt x="2860" y="4019"/>
                      </a:lnTo>
                      <a:lnTo>
                        <a:pt x="2886" y="4059"/>
                      </a:lnTo>
                      <a:lnTo>
                        <a:pt x="2910" y="4100"/>
                      </a:lnTo>
                      <a:lnTo>
                        <a:pt x="2927" y="4142"/>
                      </a:lnTo>
                      <a:lnTo>
                        <a:pt x="2936" y="4162"/>
                      </a:lnTo>
                      <a:lnTo>
                        <a:pt x="2944" y="4183"/>
                      </a:lnTo>
                      <a:lnTo>
                        <a:pt x="2949" y="4202"/>
                      </a:lnTo>
                      <a:lnTo>
                        <a:pt x="2955" y="4222"/>
                      </a:lnTo>
                      <a:lnTo>
                        <a:pt x="2959" y="4242"/>
                      </a:lnTo>
                      <a:lnTo>
                        <a:pt x="2962" y="4261"/>
                      </a:lnTo>
                      <a:lnTo>
                        <a:pt x="2963" y="4279"/>
                      </a:lnTo>
                      <a:lnTo>
                        <a:pt x="2965" y="4297"/>
                      </a:lnTo>
                      <a:lnTo>
                        <a:pt x="2965" y="4763"/>
                      </a:lnTo>
                      <a:lnTo>
                        <a:pt x="2745" y="4763"/>
                      </a:lnTo>
                      <a:lnTo>
                        <a:pt x="2745" y="4297"/>
                      </a:lnTo>
                      <a:lnTo>
                        <a:pt x="2745" y="4283"/>
                      </a:lnTo>
                      <a:lnTo>
                        <a:pt x="2744" y="4268"/>
                      </a:lnTo>
                      <a:lnTo>
                        <a:pt x="2738" y="4240"/>
                      </a:lnTo>
                      <a:lnTo>
                        <a:pt x="2730" y="4212"/>
                      </a:lnTo>
                      <a:lnTo>
                        <a:pt x="2719" y="4185"/>
                      </a:lnTo>
                      <a:lnTo>
                        <a:pt x="2705" y="4159"/>
                      </a:lnTo>
                      <a:lnTo>
                        <a:pt x="2690" y="4135"/>
                      </a:lnTo>
                      <a:lnTo>
                        <a:pt x="2672" y="4111"/>
                      </a:lnTo>
                      <a:lnTo>
                        <a:pt x="2653" y="4089"/>
                      </a:lnTo>
                      <a:lnTo>
                        <a:pt x="2634" y="4069"/>
                      </a:lnTo>
                      <a:lnTo>
                        <a:pt x="2612" y="4051"/>
                      </a:lnTo>
                      <a:lnTo>
                        <a:pt x="2590" y="4036"/>
                      </a:lnTo>
                      <a:lnTo>
                        <a:pt x="2568" y="4022"/>
                      </a:lnTo>
                      <a:lnTo>
                        <a:pt x="2545" y="4013"/>
                      </a:lnTo>
                      <a:lnTo>
                        <a:pt x="2523" y="4004"/>
                      </a:lnTo>
                      <a:lnTo>
                        <a:pt x="2501" y="3999"/>
                      </a:lnTo>
                      <a:lnTo>
                        <a:pt x="2479" y="3998"/>
                      </a:lnTo>
                      <a:lnTo>
                        <a:pt x="2479" y="4637"/>
                      </a:lnTo>
                      <a:lnTo>
                        <a:pt x="2377" y="4476"/>
                      </a:lnTo>
                      <a:lnTo>
                        <a:pt x="2354" y="4442"/>
                      </a:lnTo>
                      <a:lnTo>
                        <a:pt x="2331" y="4408"/>
                      </a:lnTo>
                      <a:lnTo>
                        <a:pt x="2306" y="4375"/>
                      </a:lnTo>
                      <a:lnTo>
                        <a:pt x="2280" y="4343"/>
                      </a:lnTo>
                      <a:lnTo>
                        <a:pt x="2254" y="4313"/>
                      </a:lnTo>
                      <a:lnTo>
                        <a:pt x="2226" y="4283"/>
                      </a:lnTo>
                      <a:lnTo>
                        <a:pt x="2198" y="4253"/>
                      </a:lnTo>
                      <a:lnTo>
                        <a:pt x="2167" y="4225"/>
                      </a:lnTo>
                      <a:lnTo>
                        <a:pt x="2137" y="4198"/>
                      </a:lnTo>
                      <a:lnTo>
                        <a:pt x="2106" y="4172"/>
                      </a:lnTo>
                      <a:lnTo>
                        <a:pt x="2074" y="4146"/>
                      </a:lnTo>
                      <a:lnTo>
                        <a:pt x="2041" y="4122"/>
                      </a:lnTo>
                      <a:lnTo>
                        <a:pt x="2007" y="4099"/>
                      </a:lnTo>
                      <a:lnTo>
                        <a:pt x="1973" y="4077"/>
                      </a:lnTo>
                      <a:lnTo>
                        <a:pt x="1937" y="4055"/>
                      </a:lnTo>
                      <a:lnTo>
                        <a:pt x="1900" y="4036"/>
                      </a:lnTo>
                      <a:lnTo>
                        <a:pt x="1863" y="4017"/>
                      </a:lnTo>
                      <a:lnTo>
                        <a:pt x="1826" y="3999"/>
                      </a:lnTo>
                      <a:lnTo>
                        <a:pt x="1787" y="3982"/>
                      </a:lnTo>
                      <a:lnTo>
                        <a:pt x="1748" y="3966"/>
                      </a:lnTo>
                      <a:lnTo>
                        <a:pt x="1708" y="3952"/>
                      </a:lnTo>
                      <a:lnTo>
                        <a:pt x="1667" y="3939"/>
                      </a:lnTo>
                      <a:lnTo>
                        <a:pt x="1626" y="3926"/>
                      </a:lnTo>
                      <a:lnTo>
                        <a:pt x="1584" y="3917"/>
                      </a:lnTo>
                      <a:lnTo>
                        <a:pt x="1542" y="3907"/>
                      </a:lnTo>
                      <a:lnTo>
                        <a:pt x="1499" y="3897"/>
                      </a:lnTo>
                      <a:lnTo>
                        <a:pt x="1456" y="3891"/>
                      </a:lnTo>
                      <a:lnTo>
                        <a:pt x="1412" y="3885"/>
                      </a:lnTo>
                      <a:lnTo>
                        <a:pt x="1366" y="3881"/>
                      </a:lnTo>
                      <a:lnTo>
                        <a:pt x="1321" y="3877"/>
                      </a:lnTo>
                      <a:lnTo>
                        <a:pt x="1276" y="3875"/>
                      </a:lnTo>
                      <a:lnTo>
                        <a:pt x="1229" y="3874"/>
                      </a:lnTo>
                      <a:lnTo>
                        <a:pt x="479" y="3874"/>
                      </a:lnTo>
                      <a:lnTo>
                        <a:pt x="228" y="4763"/>
                      </a:lnTo>
                      <a:lnTo>
                        <a:pt x="0" y="4763"/>
                      </a:lnTo>
                      <a:close/>
                      <a:moveTo>
                        <a:pt x="3423" y="3006"/>
                      </a:moveTo>
                      <a:lnTo>
                        <a:pt x="3423" y="3006"/>
                      </a:lnTo>
                      <a:lnTo>
                        <a:pt x="3445" y="2997"/>
                      </a:lnTo>
                      <a:lnTo>
                        <a:pt x="3467" y="2992"/>
                      </a:lnTo>
                      <a:lnTo>
                        <a:pt x="3489" y="2989"/>
                      </a:lnTo>
                      <a:lnTo>
                        <a:pt x="3511" y="2989"/>
                      </a:lnTo>
                      <a:lnTo>
                        <a:pt x="3531" y="2991"/>
                      </a:lnTo>
                      <a:lnTo>
                        <a:pt x="3553" y="2993"/>
                      </a:lnTo>
                      <a:lnTo>
                        <a:pt x="3574" y="2999"/>
                      </a:lnTo>
                      <a:lnTo>
                        <a:pt x="3594" y="3007"/>
                      </a:lnTo>
                      <a:lnTo>
                        <a:pt x="3613" y="3017"/>
                      </a:lnTo>
                      <a:lnTo>
                        <a:pt x="3631" y="3028"/>
                      </a:lnTo>
                      <a:lnTo>
                        <a:pt x="3649" y="3040"/>
                      </a:lnTo>
                      <a:lnTo>
                        <a:pt x="3664" y="3055"/>
                      </a:lnTo>
                      <a:lnTo>
                        <a:pt x="3679" y="3070"/>
                      </a:lnTo>
                      <a:lnTo>
                        <a:pt x="3693" y="3088"/>
                      </a:lnTo>
                      <a:lnTo>
                        <a:pt x="3704" y="3107"/>
                      </a:lnTo>
                      <a:lnTo>
                        <a:pt x="3714" y="3129"/>
                      </a:lnTo>
                      <a:lnTo>
                        <a:pt x="3720" y="3150"/>
                      </a:lnTo>
                      <a:lnTo>
                        <a:pt x="3726" y="3172"/>
                      </a:lnTo>
                      <a:lnTo>
                        <a:pt x="3729" y="3194"/>
                      </a:lnTo>
                      <a:lnTo>
                        <a:pt x="3730" y="3216"/>
                      </a:lnTo>
                      <a:lnTo>
                        <a:pt x="3729" y="3238"/>
                      </a:lnTo>
                      <a:lnTo>
                        <a:pt x="3725" y="3258"/>
                      </a:lnTo>
                      <a:lnTo>
                        <a:pt x="3719" y="3279"/>
                      </a:lnTo>
                      <a:lnTo>
                        <a:pt x="3712" y="3299"/>
                      </a:lnTo>
                      <a:lnTo>
                        <a:pt x="3703" y="3318"/>
                      </a:lnTo>
                      <a:lnTo>
                        <a:pt x="3692" y="3338"/>
                      </a:lnTo>
                      <a:lnTo>
                        <a:pt x="3679" y="3354"/>
                      </a:lnTo>
                      <a:lnTo>
                        <a:pt x="3664" y="3371"/>
                      </a:lnTo>
                      <a:lnTo>
                        <a:pt x="3648" y="3384"/>
                      </a:lnTo>
                      <a:lnTo>
                        <a:pt x="3630" y="3398"/>
                      </a:lnTo>
                      <a:lnTo>
                        <a:pt x="3611" y="3409"/>
                      </a:lnTo>
                      <a:lnTo>
                        <a:pt x="3590" y="3419"/>
                      </a:lnTo>
                      <a:lnTo>
                        <a:pt x="3568" y="3427"/>
                      </a:lnTo>
                      <a:lnTo>
                        <a:pt x="3548" y="3432"/>
                      </a:lnTo>
                      <a:lnTo>
                        <a:pt x="3526" y="3435"/>
                      </a:lnTo>
                      <a:lnTo>
                        <a:pt x="3504" y="3435"/>
                      </a:lnTo>
                      <a:lnTo>
                        <a:pt x="3482" y="3434"/>
                      </a:lnTo>
                      <a:lnTo>
                        <a:pt x="3460" y="3431"/>
                      </a:lnTo>
                      <a:lnTo>
                        <a:pt x="3439" y="3425"/>
                      </a:lnTo>
                      <a:lnTo>
                        <a:pt x="3420" y="3417"/>
                      </a:lnTo>
                      <a:lnTo>
                        <a:pt x="3401" y="3409"/>
                      </a:lnTo>
                      <a:lnTo>
                        <a:pt x="3382" y="3397"/>
                      </a:lnTo>
                      <a:lnTo>
                        <a:pt x="3365" y="3384"/>
                      </a:lnTo>
                      <a:lnTo>
                        <a:pt x="3349" y="3369"/>
                      </a:lnTo>
                      <a:lnTo>
                        <a:pt x="3334" y="3354"/>
                      </a:lnTo>
                      <a:lnTo>
                        <a:pt x="3321" y="3336"/>
                      </a:lnTo>
                      <a:lnTo>
                        <a:pt x="3309" y="3317"/>
                      </a:lnTo>
                      <a:lnTo>
                        <a:pt x="3299" y="3295"/>
                      </a:lnTo>
                      <a:lnTo>
                        <a:pt x="3292" y="3275"/>
                      </a:lnTo>
                      <a:lnTo>
                        <a:pt x="3287" y="3253"/>
                      </a:lnTo>
                      <a:lnTo>
                        <a:pt x="3284" y="3231"/>
                      </a:lnTo>
                      <a:lnTo>
                        <a:pt x="3283" y="3209"/>
                      </a:lnTo>
                      <a:lnTo>
                        <a:pt x="3284" y="3187"/>
                      </a:lnTo>
                      <a:lnTo>
                        <a:pt x="3288" y="3166"/>
                      </a:lnTo>
                      <a:lnTo>
                        <a:pt x="3294" y="3146"/>
                      </a:lnTo>
                      <a:lnTo>
                        <a:pt x="3301" y="3125"/>
                      </a:lnTo>
                      <a:lnTo>
                        <a:pt x="3310" y="3106"/>
                      </a:lnTo>
                      <a:lnTo>
                        <a:pt x="3321" y="3088"/>
                      </a:lnTo>
                      <a:lnTo>
                        <a:pt x="3335" y="3070"/>
                      </a:lnTo>
                      <a:lnTo>
                        <a:pt x="3349" y="3054"/>
                      </a:lnTo>
                      <a:lnTo>
                        <a:pt x="3365" y="3040"/>
                      </a:lnTo>
                      <a:lnTo>
                        <a:pt x="3383" y="3026"/>
                      </a:lnTo>
                      <a:lnTo>
                        <a:pt x="3402" y="3015"/>
                      </a:lnTo>
                      <a:lnTo>
                        <a:pt x="3423" y="3006"/>
                      </a:lnTo>
                      <a:close/>
                      <a:moveTo>
                        <a:pt x="3464" y="3107"/>
                      </a:moveTo>
                      <a:lnTo>
                        <a:pt x="3464" y="3107"/>
                      </a:lnTo>
                      <a:lnTo>
                        <a:pt x="3453" y="3111"/>
                      </a:lnTo>
                      <a:lnTo>
                        <a:pt x="3443" y="3118"/>
                      </a:lnTo>
                      <a:lnTo>
                        <a:pt x="3435" y="3125"/>
                      </a:lnTo>
                      <a:lnTo>
                        <a:pt x="3427" y="3132"/>
                      </a:lnTo>
                      <a:lnTo>
                        <a:pt x="3419" y="3140"/>
                      </a:lnTo>
                      <a:lnTo>
                        <a:pt x="3413" y="3148"/>
                      </a:lnTo>
                      <a:lnTo>
                        <a:pt x="3406" y="3158"/>
                      </a:lnTo>
                      <a:lnTo>
                        <a:pt x="3402" y="3168"/>
                      </a:lnTo>
                      <a:lnTo>
                        <a:pt x="3398" y="3179"/>
                      </a:lnTo>
                      <a:lnTo>
                        <a:pt x="3395" y="3188"/>
                      </a:lnTo>
                      <a:lnTo>
                        <a:pt x="3394" y="3199"/>
                      </a:lnTo>
                      <a:lnTo>
                        <a:pt x="3393" y="3210"/>
                      </a:lnTo>
                      <a:lnTo>
                        <a:pt x="3394" y="3221"/>
                      </a:lnTo>
                      <a:lnTo>
                        <a:pt x="3395" y="3232"/>
                      </a:lnTo>
                      <a:lnTo>
                        <a:pt x="3398" y="3243"/>
                      </a:lnTo>
                      <a:lnTo>
                        <a:pt x="3401" y="3254"/>
                      </a:lnTo>
                      <a:lnTo>
                        <a:pt x="3406" y="3265"/>
                      </a:lnTo>
                      <a:lnTo>
                        <a:pt x="3412" y="3275"/>
                      </a:lnTo>
                      <a:lnTo>
                        <a:pt x="3419" y="3284"/>
                      </a:lnTo>
                      <a:lnTo>
                        <a:pt x="3427" y="3292"/>
                      </a:lnTo>
                      <a:lnTo>
                        <a:pt x="3435" y="3299"/>
                      </a:lnTo>
                      <a:lnTo>
                        <a:pt x="3443" y="3306"/>
                      </a:lnTo>
                      <a:lnTo>
                        <a:pt x="3453" y="3312"/>
                      </a:lnTo>
                      <a:lnTo>
                        <a:pt x="3462" y="3317"/>
                      </a:lnTo>
                      <a:lnTo>
                        <a:pt x="3472" y="3320"/>
                      </a:lnTo>
                      <a:lnTo>
                        <a:pt x="3483" y="3323"/>
                      </a:lnTo>
                      <a:lnTo>
                        <a:pt x="3494" y="3325"/>
                      </a:lnTo>
                      <a:lnTo>
                        <a:pt x="3505" y="3325"/>
                      </a:lnTo>
                      <a:lnTo>
                        <a:pt x="3516" y="3325"/>
                      </a:lnTo>
                      <a:lnTo>
                        <a:pt x="3527" y="3324"/>
                      </a:lnTo>
                      <a:lnTo>
                        <a:pt x="3538" y="3321"/>
                      </a:lnTo>
                      <a:lnTo>
                        <a:pt x="3549" y="3317"/>
                      </a:lnTo>
                      <a:lnTo>
                        <a:pt x="3560" y="3313"/>
                      </a:lnTo>
                      <a:lnTo>
                        <a:pt x="3569" y="3306"/>
                      </a:lnTo>
                      <a:lnTo>
                        <a:pt x="3579" y="3301"/>
                      </a:lnTo>
                      <a:lnTo>
                        <a:pt x="3587" y="3292"/>
                      </a:lnTo>
                      <a:lnTo>
                        <a:pt x="3594" y="3284"/>
                      </a:lnTo>
                      <a:lnTo>
                        <a:pt x="3601" y="3276"/>
                      </a:lnTo>
                      <a:lnTo>
                        <a:pt x="3607" y="3266"/>
                      </a:lnTo>
                      <a:lnTo>
                        <a:pt x="3611" y="3257"/>
                      </a:lnTo>
                      <a:lnTo>
                        <a:pt x="3615" y="3246"/>
                      </a:lnTo>
                      <a:lnTo>
                        <a:pt x="3618" y="3236"/>
                      </a:lnTo>
                      <a:lnTo>
                        <a:pt x="3619" y="3225"/>
                      </a:lnTo>
                      <a:lnTo>
                        <a:pt x="3620" y="3214"/>
                      </a:lnTo>
                      <a:lnTo>
                        <a:pt x="3620" y="3203"/>
                      </a:lnTo>
                      <a:lnTo>
                        <a:pt x="3619" y="3192"/>
                      </a:lnTo>
                      <a:lnTo>
                        <a:pt x="3616" y="3181"/>
                      </a:lnTo>
                      <a:lnTo>
                        <a:pt x="3612" y="3170"/>
                      </a:lnTo>
                      <a:lnTo>
                        <a:pt x="3607" y="3159"/>
                      </a:lnTo>
                      <a:lnTo>
                        <a:pt x="3601" y="3150"/>
                      </a:lnTo>
                      <a:lnTo>
                        <a:pt x="3594" y="3140"/>
                      </a:lnTo>
                      <a:lnTo>
                        <a:pt x="3587" y="3132"/>
                      </a:lnTo>
                      <a:lnTo>
                        <a:pt x="3579" y="3125"/>
                      </a:lnTo>
                      <a:lnTo>
                        <a:pt x="3569" y="3118"/>
                      </a:lnTo>
                      <a:lnTo>
                        <a:pt x="3561" y="3113"/>
                      </a:lnTo>
                      <a:lnTo>
                        <a:pt x="3550" y="3107"/>
                      </a:lnTo>
                      <a:lnTo>
                        <a:pt x="3541" y="3104"/>
                      </a:lnTo>
                      <a:lnTo>
                        <a:pt x="3530" y="3102"/>
                      </a:lnTo>
                      <a:lnTo>
                        <a:pt x="3519" y="3099"/>
                      </a:lnTo>
                      <a:lnTo>
                        <a:pt x="3508" y="3099"/>
                      </a:lnTo>
                      <a:lnTo>
                        <a:pt x="3497" y="3099"/>
                      </a:lnTo>
                      <a:lnTo>
                        <a:pt x="3486" y="3100"/>
                      </a:lnTo>
                      <a:lnTo>
                        <a:pt x="3475" y="3103"/>
                      </a:lnTo>
                      <a:lnTo>
                        <a:pt x="3464" y="3107"/>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65" name="Group 164"/>
              <p:cNvGrpSpPr/>
              <p:nvPr/>
            </p:nvGrpSpPr>
            <p:grpSpPr>
              <a:xfrm>
                <a:off x="8174943" y="2605930"/>
                <a:ext cx="646887" cy="646887"/>
                <a:chOff x="8343303" y="5122503"/>
                <a:chExt cx="684476" cy="684476"/>
              </a:xfrm>
            </p:grpSpPr>
            <p:sp>
              <p:nvSpPr>
                <p:cNvPr id="194" name="Oval 193"/>
                <p:cNvSpPr/>
                <p:nvPr/>
              </p:nvSpPr>
              <p:spPr>
                <a:xfrm>
                  <a:off x="8343303" y="5122503"/>
                  <a:ext cx="684476" cy="684476"/>
                </a:xfrm>
                <a:prstGeom prst="ellipse">
                  <a:avLst/>
                </a:prstGeom>
                <a:solidFill>
                  <a:srgbClr val="999999"/>
                </a:solidFill>
                <a:ln w="12700">
                  <a:noFill/>
                  <a:prstDash val="solid"/>
                  <a:round/>
                  <a:headEnd/>
                  <a:tailEnd/>
                </a:ln>
              </p:spPr>
              <p:txBody>
                <a:bodyPr wrap="none" lIns="0" tIns="0" rIns="0" bIns="486344" anchor="t"/>
                <a:lstStyle/>
                <a:p>
                  <a:pPr algn="ctr" defTabSz="558057">
                    <a:lnSpc>
                      <a:spcPct val="90000"/>
                    </a:lnSpc>
                    <a:defRPr/>
                  </a:pPr>
                  <a:r>
                    <a:rPr lang="de-DE" sz="716" b="1" kern="0" dirty="0">
                      <a:solidFill>
                        <a:srgbClr val="F0F0F0"/>
                      </a:solidFill>
                      <a:latin typeface="+mj-lt"/>
                    </a:rPr>
                    <a:t>For-</a:t>
                  </a:r>
                  <a:br>
                    <a:rPr lang="de-DE" sz="716" b="1" kern="0" dirty="0">
                      <a:solidFill>
                        <a:srgbClr val="F0F0F0"/>
                      </a:solidFill>
                      <a:latin typeface="+mj-lt"/>
                    </a:rPr>
                  </a:br>
                  <a:r>
                    <a:rPr lang="de-DE" sz="716" b="1" kern="0" dirty="0">
                      <a:solidFill>
                        <a:srgbClr val="F0F0F0"/>
                      </a:solidFill>
                      <a:latin typeface="+mj-lt"/>
                    </a:rPr>
                    <a:t>warder</a:t>
                  </a:r>
                </a:p>
              </p:txBody>
            </p:sp>
            <p:sp>
              <p:nvSpPr>
                <p:cNvPr id="195" name="Freeform 52"/>
                <p:cNvSpPr>
                  <a:spLocks noChangeAspect="1" noEditPoints="1"/>
                </p:cNvSpPr>
                <p:nvPr/>
              </p:nvSpPr>
              <p:spPr bwMode="auto">
                <a:xfrm>
                  <a:off x="8523712" y="5614914"/>
                  <a:ext cx="313861" cy="131801"/>
                </a:xfrm>
                <a:custGeom>
                  <a:avLst/>
                  <a:gdLst>
                    <a:gd name="T0" fmla="*/ 2147483647 w 6736"/>
                    <a:gd name="T1" fmla="*/ 2147483647 h 2821"/>
                    <a:gd name="T2" fmla="*/ 2147483647 w 6736"/>
                    <a:gd name="T3" fmla="*/ 2147483647 h 2821"/>
                    <a:gd name="T4" fmla="*/ 2147483647 w 6736"/>
                    <a:gd name="T5" fmla="*/ 2147483647 h 2821"/>
                    <a:gd name="T6" fmla="*/ 2147483647 w 6736"/>
                    <a:gd name="T7" fmla="*/ 2147483647 h 2821"/>
                    <a:gd name="T8" fmla="*/ 2147483647 w 6736"/>
                    <a:gd name="T9" fmla="*/ 2147483647 h 2821"/>
                    <a:gd name="T10" fmla="*/ 2147483647 w 6736"/>
                    <a:gd name="T11" fmla="*/ 2147483647 h 2821"/>
                    <a:gd name="T12" fmla="*/ 2147483647 w 6736"/>
                    <a:gd name="T13" fmla="*/ 2147483647 h 2821"/>
                    <a:gd name="T14" fmla="*/ 2147483647 w 6736"/>
                    <a:gd name="T15" fmla="*/ 2147483647 h 2821"/>
                    <a:gd name="T16" fmla="*/ 2147483647 w 6736"/>
                    <a:gd name="T17" fmla="*/ 2147483647 h 2821"/>
                    <a:gd name="T18" fmla="*/ 2147483647 w 6736"/>
                    <a:gd name="T19" fmla="*/ 2147483647 h 2821"/>
                    <a:gd name="T20" fmla="*/ 2147483647 w 6736"/>
                    <a:gd name="T21" fmla="*/ 2147483647 h 2821"/>
                    <a:gd name="T22" fmla="*/ 2147483647 w 6736"/>
                    <a:gd name="T23" fmla="*/ 2147483647 h 2821"/>
                    <a:gd name="T24" fmla="*/ 2147483647 w 6736"/>
                    <a:gd name="T25" fmla="*/ 2147483647 h 2821"/>
                    <a:gd name="T26" fmla="*/ 2147483647 w 6736"/>
                    <a:gd name="T27" fmla="*/ 2147483647 h 2821"/>
                    <a:gd name="T28" fmla="*/ 2147483647 w 6736"/>
                    <a:gd name="T29" fmla="*/ 2147483647 h 2821"/>
                    <a:gd name="T30" fmla="*/ 2147483647 w 6736"/>
                    <a:gd name="T31" fmla="*/ 2147483647 h 2821"/>
                    <a:gd name="T32" fmla="*/ 2147483647 w 6736"/>
                    <a:gd name="T33" fmla="*/ 2147483647 h 2821"/>
                    <a:gd name="T34" fmla="*/ 2147483647 w 6736"/>
                    <a:gd name="T35" fmla="*/ 2147483647 h 2821"/>
                    <a:gd name="T36" fmla="*/ 2147483647 w 6736"/>
                    <a:gd name="T37" fmla="*/ 2147483647 h 2821"/>
                    <a:gd name="T38" fmla="*/ 2147483647 w 6736"/>
                    <a:gd name="T39" fmla="*/ 2147483647 h 2821"/>
                    <a:gd name="T40" fmla="*/ 2147483647 w 6736"/>
                    <a:gd name="T41" fmla="*/ 2147483647 h 2821"/>
                    <a:gd name="T42" fmla="*/ 2147483647 w 6736"/>
                    <a:gd name="T43" fmla="*/ 2147483647 h 2821"/>
                    <a:gd name="T44" fmla="*/ 2147483647 w 6736"/>
                    <a:gd name="T45" fmla="*/ 2147483647 h 2821"/>
                    <a:gd name="T46" fmla="*/ 2147483647 w 6736"/>
                    <a:gd name="T47" fmla="*/ 2147483647 h 2821"/>
                    <a:gd name="T48" fmla="*/ 2147483647 w 6736"/>
                    <a:gd name="T49" fmla="*/ 2147483647 h 2821"/>
                    <a:gd name="T50" fmla="*/ 2147483647 w 6736"/>
                    <a:gd name="T51" fmla="*/ 2147483647 h 2821"/>
                    <a:gd name="T52" fmla="*/ 2147483647 w 6736"/>
                    <a:gd name="T53" fmla="*/ 2147483647 h 2821"/>
                    <a:gd name="T54" fmla="*/ 2147483647 w 6736"/>
                    <a:gd name="T55" fmla="*/ 2147483647 h 2821"/>
                    <a:gd name="T56" fmla="*/ 2147483647 w 6736"/>
                    <a:gd name="T57" fmla="*/ 2147483647 h 2821"/>
                    <a:gd name="T58" fmla="*/ 2147483647 w 6736"/>
                    <a:gd name="T59" fmla="*/ 2147483647 h 2821"/>
                    <a:gd name="T60" fmla="*/ 2147483647 w 6736"/>
                    <a:gd name="T61" fmla="*/ 2147483647 h 2821"/>
                    <a:gd name="T62" fmla="*/ 2147483647 w 6736"/>
                    <a:gd name="T63" fmla="*/ 2147483647 h 2821"/>
                    <a:gd name="T64" fmla="*/ 2147483647 w 6736"/>
                    <a:gd name="T65" fmla="*/ 2147483647 h 2821"/>
                    <a:gd name="T66" fmla="*/ 2147483647 w 6736"/>
                    <a:gd name="T67" fmla="*/ 2147483647 h 2821"/>
                    <a:gd name="T68" fmla="*/ 2147483647 w 6736"/>
                    <a:gd name="T69" fmla="*/ 2147483647 h 2821"/>
                    <a:gd name="T70" fmla="*/ 2147483647 w 6736"/>
                    <a:gd name="T71" fmla="*/ 2147483647 h 2821"/>
                    <a:gd name="T72" fmla="*/ 2147483647 w 6736"/>
                    <a:gd name="T73" fmla="*/ 2147483647 h 2821"/>
                    <a:gd name="T74" fmla="*/ 2147483647 w 6736"/>
                    <a:gd name="T75" fmla="*/ 2147483647 h 2821"/>
                    <a:gd name="T76" fmla="*/ 2147483647 w 6736"/>
                    <a:gd name="T77" fmla="*/ 2147483647 h 2821"/>
                    <a:gd name="T78" fmla="*/ 2147483647 w 6736"/>
                    <a:gd name="T79" fmla="*/ 2147483647 h 2821"/>
                    <a:gd name="T80" fmla="*/ 2147483647 w 6736"/>
                    <a:gd name="T81" fmla="*/ 2147483647 h 2821"/>
                    <a:gd name="T82" fmla="*/ 2147483647 w 6736"/>
                    <a:gd name="T83" fmla="*/ 2147483647 h 2821"/>
                    <a:gd name="T84" fmla="*/ 2147483647 w 6736"/>
                    <a:gd name="T85" fmla="*/ 2147483647 h 2821"/>
                    <a:gd name="T86" fmla="*/ 2147483647 w 6736"/>
                    <a:gd name="T87" fmla="*/ 2147483647 h 2821"/>
                    <a:gd name="T88" fmla="*/ 2147483647 w 6736"/>
                    <a:gd name="T89" fmla="*/ 2147483647 h 2821"/>
                    <a:gd name="T90" fmla="*/ 2147483647 w 6736"/>
                    <a:gd name="T91" fmla="*/ 2147483647 h 2821"/>
                    <a:gd name="T92" fmla="*/ 2147483647 w 6736"/>
                    <a:gd name="T93" fmla="*/ 2147483647 h 2821"/>
                    <a:gd name="T94" fmla="*/ 2147483647 w 6736"/>
                    <a:gd name="T95" fmla="*/ 2147483647 h 2821"/>
                    <a:gd name="T96" fmla="*/ 2147483647 w 6736"/>
                    <a:gd name="T97" fmla="*/ 2147483647 h 2821"/>
                    <a:gd name="T98" fmla="*/ 2147483647 w 6736"/>
                    <a:gd name="T99" fmla="*/ 2147483647 h 2821"/>
                    <a:gd name="T100" fmla="*/ 2147483647 w 6736"/>
                    <a:gd name="T101" fmla="*/ 2147483647 h 2821"/>
                    <a:gd name="T102" fmla="*/ 2147483647 w 6736"/>
                    <a:gd name="T103" fmla="*/ 2147483647 h 2821"/>
                    <a:gd name="T104" fmla="*/ 2147483647 w 6736"/>
                    <a:gd name="T105" fmla="*/ 2147483647 h 2821"/>
                    <a:gd name="T106" fmla="*/ 2147483647 w 6736"/>
                    <a:gd name="T107" fmla="*/ 2147483647 h 2821"/>
                    <a:gd name="T108" fmla="*/ 2147483647 w 6736"/>
                    <a:gd name="T109" fmla="*/ 2147483647 h 282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736"/>
                    <a:gd name="T166" fmla="*/ 0 h 2821"/>
                    <a:gd name="T167" fmla="*/ 6736 w 6736"/>
                    <a:gd name="T168" fmla="*/ 2821 h 282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736" h="2821">
                      <a:moveTo>
                        <a:pt x="1536" y="1486"/>
                      </a:moveTo>
                      <a:lnTo>
                        <a:pt x="2140" y="1486"/>
                      </a:lnTo>
                      <a:lnTo>
                        <a:pt x="2140" y="1715"/>
                      </a:lnTo>
                      <a:lnTo>
                        <a:pt x="1536" y="1715"/>
                      </a:lnTo>
                      <a:lnTo>
                        <a:pt x="1536" y="1486"/>
                      </a:lnTo>
                      <a:close/>
                      <a:moveTo>
                        <a:pt x="5211" y="1126"/>
                      </a:moveTo>
                      <a:lnTo>
                        <a:pt x="5815" y="1126"/>
                      </a:lnTo>
                      <a:lnTo>
                        <a:pt x="5815" y="1356"/>
                      </a:lnTo>
                      <a:lnTo>
                        <a:pt x="5211" y="1356"/>
                      </a:lnTo>
                      <a:lnTo>
                        <a:pt x="5211" y="1126"/>
                      </a:lnTo>
                      <a:close/>
                      <a:moveTo>
                        <a:pt x="4486" y="1126"/>
                      </a:moveTo>
                      <a:lnTo>
                        <a:pt x="5078" y="1126"/>
                      </a:lnTo>
                      <a:lnTo>
                        <a:pt x="5078" y="1356"/>
                      </a:lnTo>
                      <a:lnTo>
                        <a:pt x="4486" y="1356"/>
                      </a:lnTo>
                      <a:lnTo>
                        <a:pt x="4486" y="1126"/>
                      </a:lnTo>
                      <a:close/>
                      <a:moveTo>
                        <a:pt x="3748" y="1126"/>
                      </a:moveTo>
                      <a:lnTo>
                        <a:pt x="4352" y="1126"/>
                      </a:lnTo>
                      <a:lnTo>
                        <a:pt x="4352" y="1356"/>
                      </a:lnTo>
                      <a:lnTo>
                        <a:pt x="3748" y="1356"/>
                      </a:lnTo>
                      <a:lnTo>
                        <a:pt x="3748" y="1126"/>
                      </a:lnTo>
                      <a:close/>
                      <a:moveTo>
                        <a:pt x="3011" y="1126"/>
                      </a:moveTo>
                      <a:lnTo>
                        <a:pt x="3615" y="1126"/>
                      </a:lnTo>
                      <a:lnTo>
                        <a:pt x="3615" y="1356"/>
                      </a:lnTo>
                      <a:lnTo>
                        <a:pt x="3011" y="1356"/>
                      </a:lnTo>
                      <a:lnTo>
                        <a:pt x="3011" y="1126"/>
                      </a:lnTo>
                      <a:close/>
                      <a:moveTo>
                        <a:pt x="2274" y="1126"/>
                      </a:moveTo>
                      <a:lnTo>
                        <a:pt x="2878" y="1126"/>
                      </a:lnTo>
                      <a:lnTo>
                        <a:pt x="2878" y="1356"/>
                      </a:lnTo>
                      <a:lnTo>
                        <a:pt x="2274" y="1356"/>
                      </a:lnTo>
                      <a:lnTo>
                        <a:pt x="2274" y="1126"/>
                      </a:lnTo>
                      <a:close/>
                      <a:moveTo>
                        <a:pt x="6117" y="2404"/>
                      </a:moveTo>
                      <a:lnTo>
                        <a:pt x="6249" y="2082"/>
                      </a:lnTo>
                      <a:lnTo>
                        <a:pt x="6002" y="2102"/>
                      </a:lnTo>
                      <a:lnTo>
                        <a:pt x="450" y="2104"/>
                      </a:lnTo>
                      <a:lnTo>
                        <a:pt x="447" y="2364"/>
                      </a:lnTo>
                      <a:lnTo>
                        <a:pt x="380" y="2344"/>
                      </a:lnTo>
                      <a:lnTo>
                        <a:pt x="314" y="2324"/>
                      </a:lnTo>
                      <a:lnTo>
                        <a:pt x="249" y="2307"/>
                      </a:lnTo>
                      <a:lnTo>
                        <a:pt x="182" y="2292"/>
                      </a:lnTo>
                      <a:lnTo>
                        <a:pt x="189" y="1837"/>
                      </a:lnTo>
                      <a:lnTo>
                        <a:pt x="5990" y="1837"/>
                      </a:lnTo>
                      <a:lnTo>
                        <a:pt x="6661" y="1782"/>
                      </a:lnTo>
                      <a:lnTo>
                        <a:pt x="6442" y="2316"/>
                      </a:lnTo>
                      <a:lnTo>
                        <a:pt x="6369" y="2332"/>
                      </a:lnTo>
                      <a:lnTo>
                        <a:pt x="6291" y="2352"/>
                      </a:lnTo>
                      <a:lnTo>
                        <a:pt x="6207" y="2376"/>
                      </a:lnTo>
                      <a:lnTo>
                        <a:pt x="6119" y="2404"/>
                      </a:lnTo>
                      <a:lnTo>
                        <a:pt x="6117" y="2404"/>
                      </a:lnTo>
                      <a:close/>
                      <a:moveTo>
                        <a:pt x="0" y="2472"/>
                      </a:moveTo>
                      <a:lnTo>
                        <a:pt x="0" y="2472"/>
                      </a:lnTo>
                      <a:lnTo>
                        <a:pt x="37" y="2474"/>
                      </a:lnTo>
                      <a:lnTo>
                        <a:pt x="73" y="2477"/>
                      </a:lnTo>
                      <a:lnTo>
                        <a:pt x="143" y="2487"/>
                      </a:lnTo>
                      <a:lnTo>
                        <a:pt x="212" y="2499"/>
                      </a:lnTo>
                      <a:lnTo>
                        <a:pt x="279" y="2514"/>
                      </a:lnTo>
                      <a:lnTo>
                        <a:pt x="347" y="2532"/>
                      </a:lnTo>
                      <a:lnTo>
                        <a:pt x="415" y="2551"/>
                      </a:lnTo>
                      <a:lnTo>
                        <a:pt x="555" y="2592"/>
                      </a:lnTo>
                      <a:lnTo>
                        <a:pt x="596" y="2606"/>
                      </a:lnTo>
                      <a:lnTo>
                        <a:pt x="634" y="2617"/>
                      </a:lnTo>
                      <a:lnTo>
                        <a:pt x="709" y="2639"/>
                      </a:lnTo>
                      <a:lnTo>
                        <a:pt x="784" y="2654"/>
                      </a:lnTo>
                      <a:lnTo>
                        <a:pt x="856" y="2668"/>
                      </a:lnTo>
                      <a:lnTo>
                        <a:pt x="926" y="2674"/>
                      </a:lnTo>
                      <a:lnTo>
                        <a:pt x="993" y="2679"/>
                      </a:lnTo>
                      <a:lnTo>
                        <a:pt x="1059" y="2681"/>
                      </a:lnTo>
                      <a:lnTo>
                        <a:pt x="1124" y="2678"/>
                      </a:lnTo>
                      <a:lnTo>
                        <a:pt x="1188" y="2674"/>
                      </a:lnTo>
                      <a:lnTo>
                        <a:pt x="1249" y="2666"/>
                      </a:lnTo>
                      <a:lnTo>
                        <a:pt x="1311" y="2658"/>
                      </a:lnTo>
                      <a:lnTo>
                        <a:pt x="1371" y="2646"/>
                      </a:lnTo>
                      <a:lnTo>
                        <a:pt x="1431" y="2634"/>
                      </a:lnTo>
                      <a:lnTo>
                        <a:pt x="1490" y="2619"/>
                      </a:lnTo>
                      <a:lnTo>
                        <a:pt x="1605" y="2589"/>
                      </a:lnTo>
                      <a:lnTo>
                        <a:pt x="1720" y="2559"/>
                      </a:lnTo>
                      <a:lnTo>
                        <a:pt x="1833" y="2529"/>
                      </a:lnTo>
                      <a:lnTo>
                        <a:pt x="1892" y="2516"/>
                      </a:lnTo>
                      <a:lnTo>
                        <a:pt x="1950" y="2504"/>
                      </a:lnTo>
                      <a:lnTo>
                        <a:pt x="2008" y="2492"/>
                      </a:lnTo>
                      <a:lnTo>
                        <a:pt x="2069" y="2484"/>
                      </a:lnTo>
                      <a:lnTo>
                        <a:pt x="2129" y="2477"/>
                      </a:lnTo>
                      <a:lnTo>
                        <a:pt x="2190" y="2472"/>
                      </a:lnTo>
                      <a:lnTo>
                        <a:pt x="2252" y="2472"/>
                      </a:lnTo>
                      <a:lnTo>
                        <a:pt x="2315" y="2474"/>
                      </a:lnTo>
                      <a:lnTo>
                        <a:pt x="2380" y="2479"/>
                      </a:lnTo>
                      <a:lnTo>
                        <a:pt x="2447" y="2487"/>
                      </a:lnTo>
                      <a:lnTo>
                        <a:pt x="2516" y="2501"/>
                      </a:lnTo>
                      <a:lnTo>
                        <a:pt x="2586" y="2517"/>
                      </a:lnTo>
                      <a:lnTo>
                        <a:pt x="2644" y="2536"/>
                      </a:lnTo>
                      <a:lnTo>
                        <a:pt x="2704" y="2554"/>
                      </a:lnTo>
                      <a:lnTo>
                        <a:pt x="2829" y="2592"/>
                      </a:lnTo>
                      <a:lnTo>
                        <a:pt x="2869" y="2606"/>
                      </a:lnTo>
                      <a:lnTo>
                        <a:pt x="2908" y="2617"/>
                      </a:lnTo>
                      <a:lnTo>
                        <a:pt x="2984" y="2639"/>
                      </a:lnTo>
                      <a:lnTo>
                        <a:pt x="3058" y="2654"/>
                      </a:lnTo>
                      <a:lnTo>
                        <a:pt x="3129" y="2668"/>
                      </a:lnTo>
                      <a:lnTo>
                        <a:pt x="3200" y="2674"/>
                      </a:lnTo>
                      <a:lnTo>
                        <a:pt x="3268" y="2679"/>
                      </a:lnTo>
                      <a:lnTo>
                        <a:pt x="3335" y="2681"/>
                      </a:lnTo>
                      <a:lnTo>
                        <a:pt x="3400" y="2678"/>
                      </a:lnTo>
                      <a:lnTo>
                        <a:pt x="3463" y="2674"/>
                      </a:lnTo>
                      <a:lnTo>
                        <a:pt x="3525" y="2666"/>
                      </a:lnTo>
                      <a:lnTo>
                        <a:pt x="3587" y="2658"/>
                      </a:lnTo>
                      <a:lnTo>
                        <a:pt x="3647" y="2646"/>
                      </a:lnTo>
                      <a:lnTo>
                        <a:pt x="3705" y="2634"/>
                      </a:lnTo>
                      <a:lnTo>
                        <a:pt x="3763" y="2619"/>
                      </a:lnTo>
                      <a:lnTo>
                        <a:pt x="3880" y="2589"/>
                      </a:lnTo>
                      <a:lnTo>
                        <a:pt x="3994" y="2559"/>
                      </a:lnTo>
                      <a:lnTo>
                        <a:pt x="4109" y="2529"/>
                      </a:lnTo>
                      <a:lnTo>
                        <a:pt x="4167" y="2516"/>
                      </a:lnTo>
                      <a:lnTo>
                        <a:pt x="4225" y="2504"/>
                      </a:lnTo>
                      <a:lnTo>
                        <a:pt x="4284" y="2492"/>
                      </a:lnTo>
                      <a:lnTo>
                        <a:pt x="4342" y="2484"/>
                      </a:lnTo>
                      <a:lnTo>
                        <a:pt x="4402" y="2477"/>
                      </a:lnTo>
                      <a:lnTo>
                        <a:pt x="4464" y="2472"/>
                      </a:lnTo>
                      <a:lnTo>
                        <a:pt x="4527" y="2472"/>
                      </a:lnTo>
                      <a:lnTo>
                        <a:pt x="4591" y="2474"/>
                      </a:lnTo>
                      <a:lnTo>
                        <a:pt x="4656" y="2479"/>
                      </a:lnTo>
                      <a:lnTo>
                        <a:pt x="4723" y="2487"/>
                      </a:lnTo>
                      <a:lnTo>
                        <a:pt x="4791" y="2501"/>
                      </a:lnTo>
                      <a:lnTo>
                        <a:pt x="4861" y="2517"/>
                      </a:lnTo>
                      <a:lnTo>
                        <a:pt x="4919" y="2536"/>
                      </a:lnTo>
                      <a:lnTo>
                        <a:pt x="4978" y="2554"/>
                      </a:lnTo>
                      <a:lnTo>
                        <a:pt x="5105" y="2592"/>
                      </a:lnTo>
                      <a:lnTo>
                        <a:pt x="5173" y="2616"/>
                      </a:lnTo>
                      <a:lnTo>
                        <a:pt x="5240" y="2634"/>
                      </a:lnTo>
                      <a:lnTo>
                        <a:pt x="5303" y="2651"/>
                      </a:lnTo>
                      <a:lnTo>
                        <a:pt x="5365" y="2663"/>
                      </a:lnTo>
                      <a:lnTo>
                        <a:pt x="5425" y="2673"/>
                      </a:lnTo>
                      <a:lnTo>
                        <a:pt x="5482" y="2679"/>
                      </a:lnTo>
                      <a:lnTo>
                        <a:pt x="5538" y="2684"/>
                      </a:lnTo>
                      <a:lnTo>
                        <a:pt x="5592" y="2686"/>
                      </a:lnTo>
                      <a:lnTo>
                        <a:pt x="5643" y="2684"/>
                      </a:lnTo>
                      <a:lnTo>
                        <a:pt x="5695" y="2681"/>
                      </a:lnTo>
                      <a:lnTo>
                        <a:pt x="5743" y="2678"/>
                      </a:lnTo>
                      <a:lnTo>
                        <a:pt x="5792" y="2671"/>
                      </a:lnTo>
                      <a:lnTo>
                        <a:pt x="5839" y="2663"/>
                      </a:lnTo>
                      <a:lnTo>
                        <a:pt x="5885" y="2653"/>
                      </a:lnTo>
                      <a:lnTo>
                        <a:pt x="5932" y="2642"/>
                      </a:lnTo>
                      <a:lnTo>
                        <a:pt x="5977" y="2631"/>
                      </a:lnTo>
                      <a:lnTo>
                        <a:pt x="6065" y="2606"/>
                      </a:lnTo>
                      <a:lnTo>
                        <a:pt x="6154" y="2579"/>
                      </a:lnTo>
                      <a:lnTo>
                        <a:pt x="6242" y="2552"/>
                      </a:lnTo>
                      <a:lnTo>
                        <a:pt x="6334" y="2527"/>
                      </a:lnTo>
                      <a:lnTo>
                        <a:pt x="6381" y="2516"/>
                      </a:lnTo>
                      <a:lnTo>
                        <a:pt x="6427" y="2504"/>
                      </a:lnTo>
                      <a:lnTo>
                        <a:pt x="6476" y="2496"/>
                      </a:lnTo>
                      <a:lnTo>
                        <a:pt x="6524" y="2487"/>
                      </a:lnTo>
                      <a:lnTo>
                        <a:pt x="6576" y="2481"/>
                      </a:lnTo>
                      <a:lnTo>
                        <a:pt x="6628" y="2474"/>
                      </a:lnTo>
                      <a:lnTo>
                        <a:pt x="6681" y="2472"/>
                      </a:lnTo>
                      <a:lnTo>
                        <a:pt x="6736" y="2471"/>
                      </a:lnTo>
                      <a:lnTo>
                        <a:pt x="6736" y="2604"/>
                      </a:lnTo>
                      <a:lnTo>
                        <a:pt x="6681" y="2606"/>
                      </a:lnTo>
                      <a:lnTo>
                        <a:pt x="6629" y="2609"/>
                      </a:lnTo>
                      <a:lnTo>
                        <a:pt x="6578" y="2614"/>
                      </a:lnTo>
                      <a:lnTo>
                        <a:pt x="6527" y="2621"/>
                      </a:lnTo>
                      <a:lnTo>
                        <a:pt x="6479" y="2629"/>
                      </a:lnTo>
                      <a:lnTo>
                        <a:pt x="6432" y="2639"/>
                      </a:lnTo>
                      <a:lnTo>
                        <a:pt x="6386" y="2649"/>
                      </a:lnTo>
                      <a:lnTo>
                        <a:pt x="6339" y="2663"/>
                      </a:lnTo>
                      <a:lnTo>
                        <a:pt x="6249" y="2688"/>
                      </a:lnTo>
                      <a:lnTo>
                        <a:pt x="6160" y="2716"/>
                      </a:lnTo>
                      <a:lnTo>
                        <a:pt x="6070" y="2743"/>
                      </a:lnTo>
                      <a:lnTo>
                        <a:pt x="5980" y="2768"/>
                      </a:lnTo>
                      <a:lnTo>
                        <a:pt x="5934" y="2779"/>
                      </a:lnTo>
                      <a:lnTo>
                        <a:pt x="5887" y="2791"/>
                      </a:lnTo>
                      <a:lnTo>
                        <a:pt x="5839" y="2799"/>
                      </a:lnTo>
                      <a:lnTo>
                        <a:pt x="5790" y="2808"/>
                      </a:lnTo>
                      <a:lnTo>
                        <a:pt x="5740" y="2814"/>
                      </a:lnTo>
                      <a:lnTo>
                        <a:pt x="5688" y="2818"/>
                      </a:lnTo>
                      <a:lnTo>
                        <a:pt x="5635" y="2821"/>
                      </a:lnTo>
                      <a:lnTo>
                        <a:pt x="5582" y="2821"/>
                      </a:lnTo>
                      <a:lnTo>
                        <a:pt x="5525" y="2819"/>
                      </a:lnTo>
                      <a:lnTo>
                        <a:pt x="5465" y="2814"/>
                      </a:lnTo>
                      <a:lnTo>
                        <a:pt x="5405" y="2806"/>
                      </a:lnTo>
                      <a:lnTo>
                        <a:pt x="5341" y="2796"/>
                      </a:lnTo>
                      <a:lnTo>
                        <a:pt x="5276" y="2783"/>
                      </a:lnTo>
                      <a:lnTo>
                        <a:pt x="5208" y="2764"/>
                      </a:lnTo>
                      <a:lnTo>
                        <a:pt x="5138" y="2744"/>
                      </a:lnTo>
                      <a:lnTo>
                        <a:pt x="5063" y="2719"/>
                      </a:lnTo>
                      <a:lnTo>
                        <a:pt x="4974" y="2693"/>
                      </a:lnTo>
                      <a:lnTo>
                        <a:pt x="4893" y="2669"/>
                      </a:lnTo>
                      <a:lnTo>
                        <a:pt x="4816" y="2649"/>
                      </a:lnTo>
                      <a:lnTo>
                        <a:pt x="4746" y="2632"/>
                      </a:lnTo>
                      <a:lnTo>
                        <a:pt x="4681" y="2621"/>
                      </a:lnTo>
                      <a:lnTo>
                        <a:pt x="4617" y="2611"/>
                      </a:lnTo>
                      <a:lnTo>
                        <a:pt x="4556" y="2604"/>
                      </a:lnTo>
                      <a:lnTo>
                        <a:pt x="4494" y="2602"/>
                      </a:lnTo>
                      <a:lnTo>
                        <a:pt x="4432" y="2604"/>
                      </a:lnTo>
                      <a:lnTo>
                        <a:pt x="4367" y="2609"/>
                      </a:lnTo>
                      <a:lnTo>
                        <a:pt x="4300" y="2619"/>
                      </a:lnTo>
                      <a:lnTo>
                        <a:pt x="4229" y="2632"/>
                      </a:lnTo>
                      <a:lnTo>
                        <a:pt x="4152" y="2649"/>
                      </a:lnTo>
                      <a:lnTo>
                        <a:pt x="4069" y="2673"/>
                      </a:lnTo>
                      <a:lnTo>
                        <a:pt x="3975" y="2699"/>
                      </a:lnTo>
                      <a:lnTo>
                        <a:pt x="3875" y="2729"/>
                      </a:lnTo>
                      <a:lnTo>
                        <a:pt x="3832" y="2743"/>
                      </a:lnTo>
                      <a:lnTo>
                        <a:pt x="3788" y="2756"/>
                      </a:lnTo>
                      <a:lnTo>
                        <a:pt x="3703" y="2776"/>
                      </a:lnTo>
                      <a:lnTo>
                        <a:pt x="3622" y="2793"/>
                      </a:lnTo>
                      <a:lnTo>
                        <a:pt x="3543" y="2804"/>
                      </a:lnTo>
                      <a:lnTo>
                        <a:pt x="3466" y="2813"/>
                      </a:lnTo>
                      <a:lnTo>
                        <a:pt x="3393" y="2816"/>
                      </a:lnTo>
                      <a:lnTo>
                        <a:pt x="3321" y="2818"/>
                      </a:lnTo>
                      <a:lnTo>
                        <a:pt x="3253" y="2814"/>
                      </a:lnTo>
                      <a:lnTo>
                        <a:pt x="3186" y="2809"/>
                      </a:lnTo>
                      <a:lnTo>
                        <a:pt x="3123" y="2803"/>
                      </a:lnTo>
                      <a:lnTo>
                        <a:pt x="3061" y="2793"/>
                      </a:lnTo>
                      <a:lnTo>
                        <a:pt x="3001" y="2781"/>
                      </a:lnTo>
                      <a:lnTo>
                        <a:pt x="2944" y="2768"/>
                      </a:lnTo>
                      <a:lnTo>
                        <a:pt x="2891" y="2753"/>
                      </a:lnTo>
                      <a:lnTo>
                        <a:pt x="2839" y="2736"/>
                      </a:lnTo>
                      <a:lnTo>
                        <a:pt x="2789" y="2719"/>
                      </a:lnTo>
                      <a:lnTo>
                        <a:pt x="2699" y="2693"/>
                      </a:lnTo>
                      <a:lnTo>
                        <a:pt x="2617" y="2669"/>
                      </a:lnTo>
                      <a:lnTo>
                        <a:pt x="2542" y="2649"/>
                      </a:lnTo>
                      <a:lnTo>
                        <a:pt x="2472" y="2632"/>
                      </a:lnTo>
                      <a:lnTo>
                        <a:pt x="2405" y="2621"/>
                      </a:lnTo>
                      <a:lnTo>
                        <a:pt x="2342" y="2611"/>
                      </a:lnTo>
                      <a:lnTo>
                        <a:pt x="2280" y="2604"/>
                      </a:lnTo>
                      <a:lnTo>
                        <a:pt x="2219" y="2602"/>
                      </a:lnTo>
                      <a:lnTo>
                        <a:pt x="2157" y="2604"/>
                      </a:lnTo>
                      <a:lnTo>
                        <a:pt x="2094" y="2609"/>
                      </a:lnTo>
                      <a:lnTo>
                        <a:pt x="2025" y="2619"/>
                      </a:lnTo>
                      <a:lnTo>
                        <a:pt x="1955" y="2632"/>
                      </a:lnTo>
                      <a:lnTo>
                        <a:pt x="1877" y="2649"/>
                      </a:lnTo>
                      <a:lnTo>
                        <a:pt x="1793" y="2673"/>
                      </a:lnTo>
                      <a:lnTo>
                        <a:pt x="1702" y="2699"/>
                      </a:lnTo>
                      <a:lnTo>
                        <a:pt x="1600" y="2729"/>
                      </a:lnTo>
                      <a:lnTo>
                        <a:pt x="1556" y="2743"/>
                      </a:lnTo>
                      <a:lnTo>
                        <a:pt x="1513" y="2756"/>
                      </a:lnTo>
                      <a:lnTo>
                        <a:pt x="1430" y="2776"/>
                      </a:lnTo>
                      <a:lnTo>
                        <a:pt x="1348" y="2793"/>
                      </a:lnTo>
                      <a:lnTo>
                        <a:pt x="1268" y="2804"/>
                      </a:lnTo>
                      <a:lnTo>
                        <a:pt x="1191" y="2813"/>
                      </a:lnTo>
                      <a:lnTo>
                        <a:pt x="1118" y="2816"/>
                      </a:lnTo>
                      <a:lnTo>
                        <a:pt x="1046" y="2818"/>
                      </a:lnTo>
                      <a:lnTo>
                        <a:pt x="978" y="2814"/>
                      </a:lnTo>
                      <a:lnTo>
                        <a:pt x="911" y="2809"/>
                      </a:lnTo>
                      <a:lnTo>
                        <a:pt x="847" y="2803"/>
                      </a:lnTo>
                      <a:lnTo>
                        <a:pt x="786" y="2793"/>
                      </a:lnTo>
                      <a:lnTo>
                        <a:pt x="727" y="2781"/>
                      </a:lnTo>
                      <a:lnTo>
                        <a:pt x="671" y="2768"/>
                      </a:lnTo>
                      <a:lnTo>
                        <a:pt x="616" y="2753"/>
                      </a:lnTo>
                      <a:lnTo>
                        <a:pt x="564" y="2736"/>
                      </a:lnTo>
                      <a:lnTo>
                        <a:pt x="514" y="2719"/>
                      </a:lnTo>
                      <a:lnTo>
                        <a:pt x="385" y="2681"/>
                      </a:lnTo>
                      <a:lnTo>
                        <a:pt x="322" y="2663"/>
                      </a:lnTo>
                      <a:lnTo>
                        <a:pt x="259" y="2648"/>
                      </a:lnTo>
                      <a:lnTo>
                        <a:pt x="195" y="2632"/>
                      </a:lnTo>
                      <a:lnTo>
                        <a:pt x="132" y="2621"/>
                      </a:lnTo>
                      <a:lnTo>
                        <a:pt x="67" y="2611"/>
                      </a:lnTo>
                      <a:lnTo>
                        <a:pt x="0" y="2606"/>
                      </a:lnTo>
                      <a:lnTo>
                        <a:pt x="0" y="2472"/>
                      </a:lnTo>
                      <a:close/>
                      <a:moveTo>
                        <a:pt x="307" y="549"/>
                      </a:moveTo>
                      <a:lnTo>
                        <a:pt x="255" y="415"/>
                      </a:lnTo>
                      <a:lnTo>
                        <a:pt x="417" y="415"/>
                      </a:lnTo>
                      <a:lnTo>
                        <a:pt x="417" y="135"/>
                      </a:lnTo>
                      <a:lnTo>
                        <a:pt x="711" y="0"/>
                      </a:lnTo>
                      <a:lnTo>
                        <a:pt x="711" y="415"/>
                      </a:lnTo>
                      <a:lnTo>
                        <a:pt x="789" y="415"/>
                      </a:lnTo>
                      <a:lnTo>
                        <a:pt x="789" y="158"/>
                      </a:lnTo>
                      <a:lnTo>
                        <a:pt x="922" y="158"/>
                      </a:lnTo>
                      <a:lnTo>
                        <a:pt x="922" y="415"/>
                      </a:lnTo>
                      <a:lnTo>
                        <a:pt x="1456" y="415"/>
                      </a:lnTo>
                      <a:lnTo>
                        <a:pt x="1451" y="549"/>
                      </a:lnTo>
                      <a:lnTo>
                        <a:pt x="307" y="549"/>
                      </a:lnTo>
                      <a:close/>
                      <a:moveTo>
                        <a:pt x="307" y="1702"/>
                      </a:moveTo>
                      <a:lnTo>
                        <a:pt x="307" y="1615"/>
                      </a:lnTo>
                      <a:lnTo>
                        <a:pt x="455" y="1585"/>
                      </a:lnTo>
                      <a:lnTo>
                        <a:pt x="447" y="904"/>
                      </a:lnTo>
                      <a:lnTo>
                        <a:pt x="360" y="682"/>
                      </a:lnTo>
                      <a:lnTo>
                        <a:pt x="512" y="682"/>
                      </a:lnTo>
                      <a:lnTo>
                        <a:pt x="581" y="872"/>
                      </a:lnTo>
                      <a:lnTo>
                        <a:pt x="587" y="1558"/>
                      </a:lnTo>
                      <a:lnTo>
                        <a:pt x="1199" y="1433"/>
                      </a:lnTo>
                      <a:lnTo>
                        <a:pt x="1193" y="859"/>
                      </a:lnTo>
                      <a:lnTo>
                        <a:pt x="1243" y="816"/>
                      </a:lnTo>
                      <a:lnTo>
                        <a:pt x="674" y="816"/>
                      </a:lnTo>
                      <a:lnTo>
                        <a:pt x="674" y="682"/>
                      </a:lnTo>
                      <a:lnTo>
                        <a:pt x="1313" y="682"/>
                      </a:lnTo>
                      <a:lnTo>
                        <a:pt x="1446" y="682"/>
                      </a:lnTo>
                      <a:lnTo>
                        <a:pt x="1441" y="817"/>
                      </a:lnTo>
                      <a:lnTo>
                        <a:pt x="1328" y="919"/>
                      </a:lnTo>
                      <a:lnTo>
                        <a:pt x="1335" y="1715"/>
                      </a:lnTo>
                      <a:lnTo>
                        <a:pt x="307" y="1702"/>
                      </a:lnTo>
                      <a:close/>
                      <a:moveTo>
                        <a:pt x="1536" y="1126"/>
                      </a:moveTo>
                      <a:lnTo>
                        <a:pt x="2140" y="1126"/>
                      </a:lnTo>
                      <a:lnTo>
                        <a:pt x="2140" y="1356"/>
                      </a:lnTo>
                      <a:lnTo>
                        <a:pt x="1536" y="1356"/>
                      </a:lnTo>
                      <a:lnTo>
                        <a:pt x="1536" y="1126"/>
                      </a:lnTo>
                      <a:close/>
                      <a:moveTo>
                        <a:pt x="5211" y="1486"/>
                      </a:moveTo>
                      <a:lnTo>
                        <a:pt x="5815" y="1486"/>
                      </a:lnTo>
                      <a:lnTo>
                        <a:pt x="5815" y="1715"/>
                      </a:lnTo>
                      <a:lnTo>
                        <a:pt x="5211" y="1715"/>
                      </a:lnTo>
                      <a:lnTo>
                        <a:pt x="5211" y="1486"/>
                      </a:lnTo>
                      <a:close/>
                      <a:moveTo>
                        <a:pt x="4486" y="1486"/>
                      </a:moveTo>
                      <a:lnTo>
                        <a:pt x="5078" y="1486"/>
                      </a:lnTo>
                      <a:lnTo>
                        <a:pt x="5078" y="1715"/>
                      </a:lnTo>
                      <a:lnTo>
                        <a:pt x="4486" y="1715"/>
                      </a:lnTo>
                      <a:lnTo>
                        <a:pt x="4486" y="1486"/>
                      </a:lnTo>
                      <a:close/>
                      <a:moveTo>
                        <a:pt x="3748" y="1486"/>
                      </a:moveTo>
                      <a:lnTo>
                        <a:pt x="4352" y="1486"/>
                      </a:lnTo>
                      <a:lnTo>
                        <a:pt x="4352" y="1715"/>
                      </a:lnTo>
                      <a:lnTo>
                        <a:pt x="3748" y="1715"/>
                      </a:lnTo>
                      <a:lnTo>
                        <a:pt x="3748" y="1486"/>
                      </a:lnTo>
                      <a:close/>
                      <a:moveTo>
                        <a:pt x="3011" y="1486"/>
                      </a:moveTo>
                      <a:lnTo>
                        <a:pt x="3615" y="1486"/>
                      </a:lnTo>
                      <a:lnTo>
                        <a:pt x="3615" y="1715"/>
                      </a:lnTo>
                      <a:lnTo>
                        <a:pt x="3011" y="1715"/>
                      </a:lnTo>
                      <a:lnTo>
                        <a:pt x="3011" y="1486"/>
                      </a:lnTo>
                      <a:close/>
                      <a:moveTo>
                        <a:pt x="2274" y="1486"/>
                      </a:moveTo>
                      <a:lnTo>
                        <a:pt x="2878" y="1486"/>
                      </a:lnTo>
                      <a:lnTo>
                        <a:pt x="2878" y="1715"/>
                      </a:lnTo>
                      <a:lnTo>
                        <a:pt x="2274" y="1715"/>
                      </a:lnTo>
                      <a:lnTo>
                        <a:pt x="2274" y="1486"/>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sp>
              <p:nvSpPr>
                <p:cNvPr id="196" name="Freeform 26"/>
                <p:cNvSpPr>
                  <a:spLocks noChangeAspect="1" noEditPoints="1"/>
                </p:cNvSpPr>
                <p:nvPr/>
              </p:nvSpPr>
              <p:spPr bwMode="auto">
                <a:xfrm>
                  <a:off x="8664245" y="5456312"/>
                  <a:ext cx="317510" cy="152631"/>
                </a:xfrm>
                <a:custGeom>
                  <a:avLst/>
                  <a:gdLst>
                    <a:gd name="T0" fmla="*/ 2147483647 w 6736"/>
                    <a:gd name="T1" fmla="*/ 2147483647 h 3247"/>
                    <a:gd name="T2" fmla="*/ 2147483647 w 6736"/>
                    <a:gd name="T3" fmla="*/ 2147483647 h 3247"/>
                    <a:gd name="T4" fmla="*/ 2147483647 w 6736"/>
                    <a:gd name="T5" fmla="*/ 2147483647 h 3247"/>
                    <a:gd name="T6" fmla="*/ 2147483647 w 6736"/>
                    <a:gd name="T7" fmla="*/ 2147483647 h 3247"/>
                    <a:gd name="T8" fmla="*/ 2147483647 w 6736"/>
                    <a:gd name="T9" fmla="*/ 2147483647 h 3247"/>
                    <a:gd name="T10" fmla="*/ 2147483647 w 6736"/>
                    <a:gd name="T11" fmla="*/ 2147483647 h 3247"/>
                    <a:gd name="T12" fmla="*/ 2147483647 w 6736"/>
                    <a:gd name="T13" fmla="*/ 2147483647 h 3247"/>
                    <a:gd name="T14" fmla="*/ 2147483647 w 6736"/>
                    <a:gd name="T15" fmla="*/ 2147483647 h 3247"/>
                    <a:gd name="T16" fmla="*/ 2147483647 w 6736"/>
                    <a:gd name="T17" fmla="*/ 2147483647 h 3247"/>
                    <a:gd name="T18" fmla="*/ 2147483647 w 6736"/>
                    <a:gd name="T19" fmla="*/ 2147483647 h 3247"/>
                    <a:gd name="T20" fmla="*/ 2147483647 w 6736"/>
                    <a:gd name="T21" fmla="*/ 2147483647 h 3247"/>
                    <a:gd name="T22" fmla="*/ 2147483647 w 6736"/>
                    <a:gd name="T23" fmla="*/ 2147483647 h 3247"/>
                    <a:gd name="T24" fmla="*/ 2147483647 w 6736"/>
                    <a:gd name="T25" fmla="*/ 2147483647 h 3247"/>
                    <a:gd name="T26" fmla="*/ 2147483647 w 6736"/>
                    <a:gd name="T27" fmla="*/ 2147483647 h 3247"/>
                    <a:gd name="T28" fmla="*/ 2147483647 w 6736"/>
                    <a:gd name="T29" fmla="*/ 2147483647 h 3247"/>
                    <a:gd name="T30" fmla="*/ 2147483647 w 6736"/>
                    <a:gd name="T31" fmla="*/ 2147483647 h 3247"/>
                    <a:gd name="T32" fmla="*/ 2147483647 w 6736"/>
                    <a:gd name="T33" fmla="*/ 2147483647 h 3247"/>
                    <a:gd name="T34" fmla="*/ 2147483647 w 6736"/>
                    <a:gd name="T35" fmla="*/ 2147483647 h 3247"/>
                    <a:gd name="T36" fmla="*/ 2147483647 w 6736"/>
                    <a:gd name="T37" fmla="*/ 2147483647 h 3247"/>
                    <a:gd name="T38" fmla="*/ 2147483647 w 6736"/>
                    <a:gd name="T39" fmla="*/ 2147483647 h 3247"/>
                    <a:gd name="T40" fmla="*/ 2147483647 w 6736"/>
                    <a:gd name="T41" fmla="*/ 2147483647 h 3247"/>
                    <a:gd name="T42" fmla="*/ 2147483647 w 6736"/>
                    <a:gd name="T43" fmla="*/ 2147483647 h 3247"/>
                    <a:gd name="T44" fmla="*/ 2147483647 w 6736"/>
                    <a:gd name="T45" fmla="*/ 2147483647 h 3247"/>
                    <a:gd name="T46" fmla="*/ 2147483647 w 6736"/>
                    <a:gd name="T47" fmla="*/ 2147483647 h 3247"/>
                    <a:gd name="T48" fmla="*/ 2147483647 w 6736"/>
                    <a:gd name="T49" fmla="*/ 2147483647 h 3247"/>
                    <a:gd name="T50" fmla="*/ 2147483647 w 6736"/>
                    <a:gd name="T51" fmla="*/ 2147483647 h 3247"/>
                    <a:gd name="T52" fmla="*/ 2147483647 w 6736"/>
                    <a:gd name="T53" fmla="*/ 2147483647 h 3247"/>
                    <a:gd name="T54" fmla="*/ 2147483647 w 6736"/>
                    <a:gd name="T55" fmla="*/ 2147483647 h 3247"/>
                    <a:gd name="T56" fmla="*/ 2147483647 w 6736"/>
                    <a:gd name="T57" fmla="*/ 2147483647 h 3247"/>
                    <a:gd name="T58" fmla="*/ 2147483647 w 6736"/>
                    <a:gd name="T59" fmla="*/ 2147483647 h 3247"/>
                    <a:gd name="T60" fmla="*/ 2147483647 w 6736"/>
                    <a:gd name="T61" fmla="*/ 2147483647 h 3247"/>
                    <a:gd name="T62" fmla="*/ 2147483647 w 6736"/>
                    <a:gd name="T63" fmla="*/ 2147483647 h 3247"/>
                    <a:gd name="T64" fmla="*/ 2147483647 w 6736"/>
                    <a:gd name="T65" fmla="*/ 2147483647 h 3247"/>
                    <a:gd name="T66" fmla="*/ 2147483647 w 6736"/>
                    <a:gd name="T67" fmla="*/ 2147483647 h 3247"/>
                    <a:gd name="T68" fmla="*/ 2147483647 w 6736"/>
                    <a:gd name="T69" fmla="*/ 2147483647 h 3247"/>
                    <a:gd name="T70" fmla="*/ 2147483647 w 6736"/>
                    <a:gd name="T71" fmla="*/ 2147483647 h 3247"/>
                    <a:gd name="T72" fmla="*/ 2147483647 w 6736"/>
                    <a:gd name="T73" fmla="*/ 2147483647 h 3247"/>
                    <a:gd name="T74" fmla="*/ 2147483647 w 6736"/>
                    <a:gd name="T75" fmla="*/ 2147483647 h 3247"/>
                    <a:gd name="T76" fmla="*/ 2147483647 w 6736"/>
                    <a:gd name="T77" fmla="*/ 2147483647 h 3247"/>
                    <a:gd name="T78" fmla="*/ 2147483647 w 6736"/>
                    <a:gd name="T79" fmla="*/ 2147483647 h 3247"/>
                    <a:gd name="T80" fmla="*/ 2147483647 w 6736"/>
                    <a:gd name="T81" fmla="*/ 2147483647 h 3247"/>
                    <a:gd name="T82" fmla="*/ 2147483647 w 6736"/>
                    <a:gd name="T83" fmla="*/ 2147483647 h 3247"/>
                    <a:gd name="T84" fmla="*/ 2147483647 w 6736"/>
                    <a:gd name="T85" fmla="*/ 2147483647 h 3247"/>
                    <a:gd name="T86" fmla="*/ 2147483647 w 6736"/>
                    <a:gd name="T87" fmla="*/ 2147483647 h 3247"/>
                    <a:gd name="T88" fmla="*/ 2147483647 w 6736"/>
                    <a:gd name="T89" fmla="*/ 2147483647 h 3247"/>
                    <a:gd name="T90" fmla="*/ 2147483647 w 6736"/>
                    <a:gd name="T91" fmla="*/ 2147483647 h 3247"/>
                    <a:gd name="T92" fmla="*/ 2147483647 w 6736"/>
                    <a:gd name="T93" fmla="*/ 2147483647 h 3247"/>
                    <a:gd name="T94" fmla="*/ 2147483647 w 6736"/>
                    <a:gd name="T95" fmla="*/ 2147483647 h 3247"/>
                    <a:gd name="T96" fmla="*/ 2147483647 w 6736"/>
                    <a:gd name="T97" fmla="*/ 2147483647 h 3247"/>
                    <a:gd name="T98" fmla="*/ 2147483647 w 6736"/>
                    <a:gd name="T99" fmla="*/ 2147483647 h 3247"/>
                    <a:gd name="T100" fmla="*/ 2147483647 w 6736"/>
                    <a:gd name="T101" fmla="*/ 2147483647 h 3247"/>
                    <a:gd name="T102" fmla="*/ 2147483647 w 6736"/>
                    <a:gd name="T103" fmla="*/ 2147483647 h 3247"/>
                    <a:gd name="T104" fmla="*/ 0 w 6736"/>
                    <a:gd name="T105" fmla="*/ 2147483647 h 3247"/>
                    <a:gd name="T106" fmla="*/ 2147483647 w 6736"/>
                    <a:gd name="T107" fmla="*/ 2147483647 h 3247"/>
                    <a:gd name="T108" fmla="*/ 2147483647 w 6736"/>
                    <a:gd name="T109" fmla="*/ 0 h 3247"/>
                    <a:gd name="T110" fmla="*/ 2147483647 w 6736"/>
                    <a:gd name="T111" fmla="*/ 2147483647 h 3247"/>
                    <a:gd name="T112" fmla="*/ 0 w 6736"/>
                    <a:gd name="T113" fmla="*/ 2147483647 h 3247"/>
                    <a:gd name="T114" fmla="*/ 2147483647 w 6736"/>
                    <a:gd name="T115" fmla="*/ 2147483647 h 32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36"/>
                    <a:gd name="T175" fmla="*/ 0 h 3247"/>
                    <a:gd name="T176" fmla="*/ 6736 w 6736"/>
                    <a:gd name="T177" fmla="*/ 3247 h 32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36" h="3247">
                      <a:moveTo>
                        <a:pt x="5548" y="2435"/>
                      </a:moveTo>
                      <a:lnTo>
                        <a:pt x="5548" y="2435"/>
                      </a:lnTo>
                      <a:lnTo>
                        <a:pt x="5520" y="2437"/>
                      </a:lnTo>
                      <a:lnTo>
                        <a:pt x="5493" y="2442"/>
                      </a:lnTo>
                      <a:lnTo>
                        <a:pt x="5467" y="2448"/>
                      </a:lnTo>
                      <a:lnTo>
                        <a:pt x="5442" y="2457"/>
                      </a:lnTo>
                      <a:lnTo>
                        <a:pt x="5418" y="2469"/>
                      </a:lnTo>
                      <a:lnTo>
                        <a:pt x="5396" y="2482"/>
                      </a:lnTo>
                      <a:lnTo>
                        <a:pt x="5376" y="2497"/>
                      </a:lnTo>
                      <a:lnTo>
                        <a:pt x="5357" y="2514"/>
                      </a:lnTo>
                      <a:lnTo>
                        <a:pt x="5339" y="2535"/>
                      </a:lnTo>
                      <a:lnTo>
                        <a:pt x="5324" y="2555"/>
                      </a:lnTo>
                      <a:lnTo>
                        <a:pt x="5310" y="2577"/>
                      </a:lnTo>
                      <a:lnTo>
                        <a:pt x="5298" y="2601"/>
                      </a:lnTo>
                      <a:lnTo>
                        <a:pt x="5290" y="2626"/>
                      </a:lnTo>
                      <a:lnTo>
                        <a:pt x="5283" y="2651"/>
                      </a:lnTo>
                      <a:lnTo>
                        <a:pt x="5280" y="2678"/>
                      </a:lnTo>
                      <a:lnTo>
                        <a:pt x="5278" y="2706"/>
                      </a:lnTo>
                      <a:lnTo>
                        <a:pt x="5280" y="2734"/>
                      </a:lnTo>
                      <a:lnTo>
                        <a:pt x="5283" y="2761"/>
                      </a:lnTo>
                      <a:lnTo>
                        <a:pt x="5290" y="2787"/>
                      </a:lnTo>
                      <a:lnTo>
                        <a:pt x="5298" y="2812"/>
                      </a:lnTo>
                      <a:lnTo>
                        <a:pt x="5310" y="2836"/>
                      </a:lnTo>
                      <a:lnTo>
                        <a:pt x="5324" y="2858"/>
                      </a:lnTo>
                      <a:lnTo>
                        <a:pt x="5339" y="2878"/>
                      </a:lnTo>
                      <a:lnTo>
                        <a:pt x="5357" y="2897"/>
                      </a:lnTo>
                      <a:lnTo>
                        <a:pt x="5376" y="2915"/>
                      </a:lnTo>
                      <a:lnTo>
                        <a:pt x="5396" y="2931"/>
                      </a:lnTo>
                      <a:lnTo>
                        <a:pt x="5418" y="2944"/>
                      </a:lnTo>
                      <a:lnTo>
                        <a:pt x="5442" y="2956"/>
                      </a:lnTo>
                      <a:lnTo>
                        <a:pt x="5467" y="2964"/>
                      </a:lnTo>
                      <a:lnTo>
                        <a:pt x="5493" y="2971"/>
                      </a:lnTo>
                      <a:lnTo>
                        <a:pt x="5520" y="2975"/>
                      </a:lnTo>
                      <a:lnTo>
                        <a:pt x="5548" y="2976"/>
                      </a:lnTo>
                      <a:lnTo>
                        <a:pt x="5576" y="2975"/>
                      </a:lnTo>
                      <a:lnTo>
                        <a:pt x="5603" y="2971"/>
                      </a:lnTo>
                      <a:lnTo>
                        <a:pt x="5628" y="2964"/>
                      </a:lnTo>
                      <a:lnTo>
                        <a:pt x="5653" y="2956"/>
                      </a:lnTo>
                      <a:lnTo>
                        <a:pt x="5677" y="2944"/>
                      </a:lnTo>
                      <a:lnTo>
                        <a:pt x="5699" y="2931"/>
                      </a:lnTo>
                      <a:lnTo>
                        <a:pt x="5719" y="2915"/>
                      </a:lnTo>
                      <a:lnTo>
                        <a:pt x="5740" y="2897"/>
                      </a:lnTo>
                      <a:lnTo>
                        <a:pt x="5757" y="2878"/>
                      </a:lnTo>
                      <a:lnTo>
                        <a:pt x="5772" y="2858"/>
                      </a:lnTo>
                      <a:lnTo>
                        <a:pt x="5785" y="2836"/>
                      </a:lnTo>
                      <a:lnTo>
                        <a:pt x="5797" y="2812"/>
                      </a:lnTo>
                      <a:lnTo>
                        <a:pt x="5807" y="2787"/>
                      </a:lnTo>
                      <a:lnTo>
                        <a:pt x="5812" y="2761"/>
                      </a:lnTo>
                      <a:lnTo>
                        <a:pt x="5817" y="2734"/>
                      </a:lnTo>
                      <a:lnTo>
                        <a:pt x="5819" y="2706"/>
                      </a:lnTo>
                      <a:lnTo>
                        <a:pt x="5817" y="2678"/>
                      </a:lnTo>
                      <a:lnTo>
                        <a:pt x="5812" y="2651"/>
                      </a:lnTo>
                      <a:lnTo>
                        <a:pt x="5807" y="2626"/>
                      </a:lnTo>
                      <a:lnTo>
                        <a:pt x="5797" y="2601"/>
                      </a:lnTo>
                      <a:lnTo>
                        <a:pt x="5785" y="2577"/>
                      </a:lnTo>
                      <a:lnTo>
                        <a:pt x="5772" y="2555"/>
                      </a:lnTo>
                      <a:lnTo>
                        <a:pt x="5757" y="2535"/>
                      </a:lnTo>
                      <a:lnTo>
                        <a:pt x="5740" y="2514"/>
                      </a:lnTo>
                      <a:lnTo>
                        <a:pt x="5719" y="2497"/>
                      </a:lnTo>
                      <a:lnTo>
                        <a:pt x="5699" y="2482"/>
                      </a:lnTo>
                      <a:lnTo>
                        <a:pt x="5677" y="2469"/>
                      </a:lnTo>
                      <a:lnTo>
                        <a:pt x="5653" y="2457"/>
                      </a:lnTo>
                      <a:lnTo>
                        <a:pt x="5628" y="2448"/>
                      </a:lnTo>
                      <a:lnTo>
                        <a:pt x="5603" y="2442"/>
                      </a:lnTo>
                      <a:lnTo>
                        <a:pt x="5576" y="2437"/>
                      </a:lnTo>
                      <a:lnTo>
                        <a:pt x="5548" y="2435"/>
                      </a:lnTo>
                      <a:close/>
                      <a:moveTo>
                        <a:pt x="1272" y="2689"/>
                      </a:moveTo>
                      <a:lnTo>
                        <a:pt x="731" y="2689"/>
                      </a:lnTo>
                      <a:lnTo>
                        <a:pt x="731" y="2706"/>
                      </a:lnTo>
                      <a:lnTo>
                        <a:pt x="732" y="2734"/>
                      </a:lnTo>
                      <a:lnTo>
                        <a:pt x="736" y="2761"/>
                      </a:lnTo>
                      <a:lnTo>
                        <a:pt x="743" y="2787"/>
                      </a:lnTo>
                      <a:lnTo>
                        <a:pt x="753" y="2812"/>
                      </a:lnTo>
                      <a:lnTo>
                        <a:pt x="763" y="2836"/>
                      </a:lnTo>
                      <a:lnTo>
                        <a:pt x="776" y="2858"/>
                      </a:lnTo>
                      <a:lnTo>
                        <a:pt x="793" y="2878"/>
                      </a:lnTo>
                      <a:lnTo>
                        <a:pt x="810" y="2897"/>
                      </a:lnTo>
                      <a:lnTo>
                        <a:pt x="829" y="2915"/>
                      </a:lnTo>
                      <a:lnTo>
                        <a:pt x="851" y="2931"/>
                      </a:lnTo>
                      <a:lnTo>
                        <a:pt x="873" y="2944"/>
                      </a:lnTo>
                      <a:lnTo>
                        <a:pt x="897" y="2956"/>
                      </a:lnTo>
                      <a:lnTo>
                        <a:pt x="922" y="2964"/>
                      </a:lnTo>
                      <a:lnTo>
                        <a:pt x="947" y="2971"/>
                      </a:lnTo>
                      <a:lnTo>
                        <a:pt x="974" y="2975"/>
                      </a:lnTo>
                      <a:lnTo>
                        <a:pt x="1001" y="2976"/>
                      </a:lnTo>
                      <a:lnTo>
                        <a:pt x="1029" y="2975"/>
                      </a:lnTo>
                      <a:lnTo>
                        <a:pt x="1056" y="2971"/>
                      </a:lnTo>
                      <a:lnTo>
                        <a:pt x="1083" y="2964"/>
                      </a:lnTo>
                      <a:lnTo>
                        <a:pt x="1106" y="2956"/>
                      </a:lnTo>
                      <a:lnTo>
                        <a:pt x="1130" y="2944"/>
                      </a:lnTo>
                      <a:lnTo>
                        <a:pt x="1154" y="2931"/>
                      </a:lnTo>
                      <a:lnTo>
                        <a:pt x="1174" y="2915"/>
                      </a:lnTo>
                      <a:lnTo>
                        <a:pt x="1193" y="2897"/>
                      </a:lnTo>
                      <a:lnTo>
                        <a:pt x="1211" y="2878"/>
                      </a:lnTo>
                      <a:lnTo>
                        <a:pt x="1226" y="2858"/>
                      </a:lnTo>
                      <a:lnTo>
                        <a:pt x="1240" y="2836"/>
                      </a:lnTo>
                      <a:lnTo>
                        <a:pt x="1252" y="2812"/>
                      </a:lnTo>
                      <a:lnTo>
                        <a:pt x="1260" y="2787"/>
                      </a:lnTo>
                      <a:lnTo>
                        <a:pt x="1267" y="2761"/>
                      </a:lnTo>
                      <a:lnTo>
                        <a:pt x="1270" y="2734"/>
                      </a:lnTo>
                      <a:lnTo>
                        <a:pt x="1272" y="2706"/>
                      </a:lnTo>
                      <a:lnTo>
                        <a:pt x="1272" y="2689"/>
                      </a:lnTo>
                      <a:close/>
                      <a:moveTo>
                        <a:pt x="2328" y="2689"/>
                      </a:moveTo>
                      <a:lnTo>
                        <a:pt x="1788" y="2689"/>
                      </a:lnTo>
                      <a:lnTo>
                        <a:pt x="1788" y="2706"/>
                      </a:lnTo>
                      <a:lnTo>
                        <a:pt x="1788" y="2734"/>
                      </a:lnTo>
                      <a:lnTo>
                        <a:pt x="1793" y="2761"/>
                      </a:lnTo>
                      <a:lnTo>
                        <a:pt x="1800" y="2787"/>
                      </a:lnTo>
                      <a:lnTo>
                        <a:pt x="1808" y="2812"/>
                      </a:lnTo>
                      <a:lnTo>
                        <a:pt x="1820" y="2836"/>
                      </a:lnTo>
                      <a:lnTo>
                        <a:pt x="1834" y="2858"/>
                      </a:lnTo>
                      <a:lnTo>
                        <a:pt x="1849" y="2878"/>
                      </a:lnTo>
                      <a:lnTo>
                        <a:pt x="1868" y="2897"/>
                      </a:lnTo>
                      <a:lnTo>
                        <a:pt x="1886" y="2915"/>
                      </a:lnTo>
                      <a:lnTo>
                        <a:pt x="1906" y="2931"/>
                      </a:lnTo>
                      <a:lnTo>
                        <a:pt x="1928" y="2944"/>
                      </a:lnTo>
                      <a:lnTo>
                        <a:pt x="1952" y="2956"/>
                      </a:lnTo>
                      <a:lnTo>
                        <a:pt x="1977" y="2964"/>
                      </a:lnTo>
                      <a:lnTo>
                        <a:pt x="2003" y="2971"/>
                      </a:lnTo>
                      <a:lnTo>
                        <a:pt x="2030" y="2975"/>
                      </a:lnTo>
                      <a:lnTo>
                        <a:pt x="2059" y="2976"/>
                      </a:lnTo>
                      <a:lnTo>
                        <a:pt x="2086" y="2975"/>
                      </a:lnTo>
                      <a:lnTo>
                        <a:pt x="2113" y="2971"/>
                      </a:lnTo>
                      <a:lnTo>
                        <a:pt x="2138" y="2964"/>
                      </a:lnTo>
                      <a:lnTo>
                        <a:pt x="2164" y="2956"/>
                      </a:lnTo>
                      <a:lnTo>
                        <a:pt x="2187" y="2944"/>
                      </a:lnTo>
                      <a:lnTo>
                        <a:pt x="2209" y="2931"/>
                      </a:lnTo>
                      <a:lnTo>
                        <a:pt x="2230" y="2915"/>
                      </a:lnTo>
                      <a:lnTo>
                        <a:pt x="2250" y="2897"/>
                      </a:lnTo>
                      <a:lnTo>
                        <a:pt x="2267" y="2878"/>
                      </a:lnTo>
                      <a:lnTo>
                        <a:pt x="2282" y="2858"/>
                      </a:lnTo>
                      <a:lnTo>
                        <a:pt x="2296" y="2836"/>
                      </a:lnTo>
                      <a:lnTo>
                        <a:pt x="2307" y="2812"/>
                      </a:lnTo>
                      <a:lnTo>
                        <a:pt x="2316" y="2787"/>
                      </a:lnTo>
                      <a:lnTo>
                        <a:pt x="2323" y="2761"/>
                      </a:lnTo>
                      <a:lnTo>
                        <a:pt x="2328" y="2734"/>
                      </a:lnTo>
                      <a:lnTo>
                        <a:pt x="2329" y="2706"/>
                      </a:lnTo>
                      <a:lnTo>
                        <a:pt x="2328" y="2689"/>
                      </a:lnTo>
                      <a:close/>
                      <a:moveTo>
                        <a:pt x="6316" y="2249"/>
                      </a:moveTo>
                      <a:lnTo>
                        <a:pt x="6601" y="2249"/>
                      </a:lnTo>
                      <a:lnTo>
                        <a:pt x="6601" y="2149"/>
                      </a:lnTo>
                      <a:lnTo>
                        <a:pt x="6316" y="2149"/>
                      </a:lnTo>
                      <a:lnTo>
                        <a:pt x="6316" y="2014"/>
                      </a:lnTo>
                      <a:lnTo>
                        <a:pt x="6601" y="2014"/>
                      </a:lnTo>
                      <a:lnTo>
                        <a:pt x="6601" y="1914"/>
                      </a:lnTo>
                      <a:lnTo>
                        <a:pt x="6316" y="1914"/>
                      </a:lnTo>
                      <a:lnTo>
                        <a:pt x="6316" y="1778"/>
                      </a:lnTo>
                      <a:lnTo>
                        <a:pt x="6533" y="1778"/>
                      </a:lnTo>
                      <a:lnTo>
                        <a:pt x="6364" y="1563"/>
                      </a:lnTo>
                      <a:lnTo>
                        <a:pt x="6362" y="1562"/>
                      </a:lnTo>
                      <a:lnTo>
                        <a:pt x="5707" y="1562"/>
                      </a:lnTo>
                      <a:lnTo>
                        <a:pt x="5501" y="985"/>
                      </a:lnTo>
                      <a:lnTo>
                        <a:pt x="6161" y="985"/>
                      </a:lnTo>
                      <a:lnTo>
                        <a:pt x="6146" y="944"/>
                      </a:lnTo>
                      <a:lnTo>
                        <a:pt x="6137" y="926"/>
                      </a:lnTo>
                      <a:lnTo>
                        <a:pt x="6129" y="907"/>
                      </a:lnTo>
                      <a:lnTo>
                        <a:pt x="6119" y="892"/>
                      </a:lnTo>
                      <a:lnTo>
                        <a:pt x="6108" y="876"/>
                      </a:lnTo>
                      <a:lnTo>
                        <a:pt x="6097" y="861"/>
                      </a:lnTo>
                      <a:lnTo>
                        <a:pt x="6085" y="849"/>
                      </a:lnTo>
                      <a:lnTo>
                        <a:pt x="6071" y="838"/>
                      </a:lnTo>
                      <a:lnTo>
                        <a:pt x="6056" y="827"/>
                      </a:lnTo>
                      <a:lnTo>
                        <a:pt x="6039" y="819"/>
                      </a:lnTo>
                      <a:lnTo>
                        <a:pt x="6020" y="812"/>
                      </a:lnTo>
                      <a:lnTo>
                        <a:pt x="6000" y="805"/>
                      </a:lnTo>
                      <a:lnTo>
                        <a:pt x="5978" y="802"/>
                      </a:lnTo>
                      <a:lnTo>
                        <a:pt x="5954" y="800"/>
                      </a:lnTo>
                      <a:lnTo>
                        <a:pt x="5927" y="799"/>
                      </a:lnTo>
                      <a:lnTo>
                        <a:pt x="5200" y="799"/>
                      </a:lnTo>
                      <a:lnTo>
                        <a:pt x="5200" y="663"/>
                      </a:lnTo>
                      <a:lnTo>
                        <a:pt x="5927" y="663"/>
                      </a:lnTo>
                      <a:lnTo>
                        <a:pt x="5970" y="665"/>
                      </a:lnTo>
                      <a:lnTo>
                        <a:pt x="6007" y="670"/>
                      </a:lnTo>
                      <a:lnTo>
                        <a:pt x="6042" y="677"/>
                      </a:lnTo>
                      <a:lnTo>
                        <a:pt x="6075" y="687"/>
                      </a:lnTo>
                      <a:lnTo>
                        <a:pt x="6105" y="700"/>
                      </a:lnTo>
                      <a:lnTo>
                        <a:pt x="6130" y="716"/>
                      </a:lnTo>
                      <a:lnTo>
                        <a:pt x="6156" y="733"/>
                      </a:lnTo>
                      <a:lnTo>
                        <a:pt x="6178" y="751"/>
                      </a:lnTo>
                      <a:lnTo>
                        <a:pt x="6196" y="772"/>
                      </a:lnTo>
                      <a:lnTo>
                        <a:pt x="6215" y="792"/>
                      </a:lnTo>
                      <a:lnTo>
                        <a:pt x="6230" y="816"/>
                      </a:lnTo>
                      <a:lnTo>
                        <a:pt x="6245" y="839"/>
                      </a:lnTo>
                      <a:lnTo>
                        <a:pt x="6257" y="865"/>
                      </a:lnTo>
                      <a:lnTo>
                        <a:pt x="6269" y="890"/>
                      </a:lnTo>
                      <a:lnTo>
                        <a:pt x="6279" y="915"/>
                      </a:lnTo>
                      <a:lnTo>
                        <a:pt x="6289" y="941"/>
                      </a:lnTo>
                      <a:lnTo>
                        <a:pt x="6484" y="1497"/>
                      </a:lnTo>
                      <a:lnTo>
                        <a:pt x="6736" y="1817"/>
                      </a:lnTo>
                      <a:lnTo>
                        <a:pt x="6736" y="2129"/>
                      </a:lnTo>
                      <a:lnTo>
                        <a:pt x="6736" y="2347"/>
                      </a:lnTo>
                      <a:lnTo>
                        <a:pt x="6734" y="2455"/>
                      </a:lnTo>
                      <a:lnTo>
                        <a:pt x="6731" y="2481"/>
                      </a:lnTo>
                      <a:lnTo>
                        <a:pt x="6724" y="2506"/>
                      </a:lnTo>
                      <a:lnTo>
                        <a:pt x="6717" y="2530"/>
                      </a:lnTo>
                      <a:lnTo>
                        <a:pt x="6707" y="2552"/>
                      </a:lnTo>
                      <a:lnTo>
                        <a:pt x="6697" y="2572"/>
                      </a:lnTo>
                      <a:lnTo>
                        <a:pt x="6684" y="2590"/>
                      </a:lnTo>
                      <a:lnTo>
                        <a:pt x="6668" y="2609"/>
                      </a:lnTo>
                      <a:lnTo>
                        <a:pt x="6653" y="2624"/>
                      </a:lnTo>
                      <a:lnTo>
                        <a:pt x="6635" y="2638"/>
                      </a:lnTo>
                      <a:lnTo>
                        <a:pt x="6616" y="2651"/>
                      </a:lnTo>
                      <a:lnTo>
                        <a:pt x="6594" y="2662"/>
                      </a:lnTo>
                      <a:lnTo>
                        <a:pt x="6572" y="2670"/>
                      </a:lnTo>
                      <a:lnTo>
                        <a:pt x="6548" y="2678"/>
                      </a:lnTo>
                      <a:lnTo>
                        <a:pt x="6523" y="2684"/>
                      </a:lnTo>
                      <a:lnTo>
                        <a:pt x="6497" y="2685"/>
                      </a:lnTo>
                      <a:lnTo>
                        <a:pt x="6469" y="2687"/>
                      </a:lnTo>
                      <a:lnTo>
                        <a:pt x="6090" y="2687"/>
                      </a:lnTo>
                      <a:lnTo>
                        <a:pt x="6090" y="2706"/>
                      </a:lnTo>
                      <a:lnTo>
                        <a:pt x="6088" y="2734"/>
                      </a:lnTo>
                      <a:lnTo>
                        <a:pt x="6086" y="2761"/>
                      </a:lnTo>
                      <a:lnTo>
                        <a:pt x="6083" y="2788"/>
                      </a:lnTo>
                      <a:lnTo>
                        <a:pt x="6078" y="2816"/>
                      </a:lnTo>
                      <a:lnTo>
                        <a:pt x="6073" y="2841"/>
                      </a:lnTo>
                      <a:lnTo>
                        <a:pt x="6064" y="2866"/>
                      </a:lnTo>
                      <a:lnTo>
                        <a:pt x="6056" y="2892"/>
                      </a:lnTo>
                      <a:lnTo>
                        <a:pt x="6048" y="2917"/>
                      </a:lnTo>
                      <a:lnTo>
                        <a:pt x="6036" y="2941"/>
                      </a:lnTo>
                      <a:lnTo>
                        <a:pt x="6024" y="2964"/>
                      </a:lnTo>
                      <a:lnTo>
                        <a:pt x="6010" y="2986"/>
                      </a:lnTo>
                      <a:lnTo>
                        <a:pt x="5997" y="3008"/>
                      </a:lnTo>
                      <a:lnTo>
                        <a:pt x="5982" y="3030"/>
                      </a:lnTo>
                      <a:lnTo>
                        <a:pt x="5966" y="3051"/>
                      </a:lnTo>
                      <a:lnTo>
                        <a:pt x="5949" y="3069"/>
                      </a:lnTo>
                      <a:lnTo>
                        <a:pt x="5931" y="3090"/>
                      </a:lnTo>
                      <a:lnTo>
                        <a:pt x="5912" y="3107"/>
                      </a:lnTo>
                      <a:lnTo>
                        <a:pt x="5892" y="3123"/>
                      </a:lnTo>
                      <a:lnTo>
                        <a:pt x="5872" y="3140"/>
                      </a:lnTo>
                      <a:lnTo>
                        <a:pt x="5851" y="3156"/>
                      </a:lnTo>
                      <a:lnTo>
                        <a:pt x="5829" y="3169"/>
                      </a:lnTo>
                      <a:lnTo>
                        <a:pt x="5806" y="3183"/>
                      </a:lnTo>
                      <a:lnTo>
                        <a:pt x="5782" y="3195"/>
                      </a:lnTo>
                      <a:lnTo>
                        <a:pt x="5758" y="3205"/>
                      </a:lnTo>
                      <a:lnTo>
                        <a:pt x="5735" y="3215"/>
                      </a:lnTo>
                      <a:lnTo>
                        <a:pt x="5709" y="3223"/>
                      </a:lnTo>
                      <a:lnTo>
                        <a:pt x="5684" y="3230"/>
                      </a:lnTo>
                      <a:lnTo>
                        <a:pt x="5657" y="3237"/>
                      </a:lnTo>
                      <a:lnTo>
                        <a:pt x="5630" y="3242"/>
                      </a:lnTo>
                      <a:lnTo>
                        <a:pt x="5603" y="3245"/>
                      </a:lnTo>
                      <a:lnTo>
                        <a:pt x="5576" y="3247"/>
                      </a:lnTo>
                      <a:lnTo>
                        <a:pt x="5548" y="3247"/>
                      </a:lnTo>
                      <a:lnTo>
                        <a:pt x="5520" y="3247"/>
                      </a:lnTo>
                      <a:lnTo>
                        <a:pt x="5493" y="3245"/>
                      </a:lnTo>
                      <a:lnTo>
                        <a:pt x="5466" y="3242"/>
                      </a:lnTo>
                      <a:lnTo>
                        <a:pt x="5439" y="3237"/>
                      </a:lnTo>
                      <a:lnTo>
                        <a:pt x="5413" y="3230"/>
                      </a:lnTo>
                      <a:lnTo>
                        <a:pt x="5388" y="3223"/>
                      </a:lnTo>
                      <a:lnTo>
                        <a:pt x="5362" y="3215"/>
                      </a:lnTo>
                      <a:lnTo>
                        <a:pt x="5337" y="3205"/>
                      </a:lnTo>
                      <a:lnTo>
                        <a:pt x="5313" y="3195"/>
                      </a:lnTo>
                      <a:lnTo>
                        <a:pt x="5290" y="3183"/>
                      </a:lnTo>
                      <a:lnTo>
                        <a:pt x="5268" y="3169"/>
                      </a:lnTo>
                      <a:lnTo>
                        <a:pt x="5246" y="3156"/>
                      </a:lnTo>
                      <a:lnTo>
                        <a:pt x="5224" y="3140"/>
                      </a:lnTo>
                      <a:lnTo>
                        <a:pt x="5203" y="3123"/>
                      </a:lnTo>
                      <a:lnTo>
                        <a:pt x="5185" y="3107"/>
                      </a:lnTo>
                      <a:lnTo>
                        <a:pt x="5164" y="3090"/>
                      </a:lnTo>
                      <a:lnTo>
                        <a:pt x="5148" y="3069"/>
                      </a:lnTo>
                      <a:lnTo>
                        <a:pt x="5131" y="3051"/>
                      </a:lnTo>
                      <a:lnTo>
                        <a:pt x="5114" y="3030"/>
                      </a:lnTo>
                      <a:lnTo>
                        <a:pt x="5099" y="3008"/>
                      </a:lnTo>
                      <a:lnTo>
                        <a:pt x="5085" y="2986"/>
                      </a:lnTo>
                      <a:lnTo>
                        <a:pt x="5071" y="2964"/>
                      </a:lnTo>
                      <a:lnTo>
                        <a:pt x="5060" y="2941"/>
                      </a:lnTo>
                      <a:lnTo>
                        <a:pt x="5049" y="2917"/>
                      </a:lnTo>
                      <a:lnTo>
                        <a:pt x="5039" y="2892"/>
                      </a:lnTo>
                      <a:lnTo>
                        <a:pt x="5031" y="2866"/>
                      </a:lnTo>
                      <a:lnTo>
                        <a:pt x="5024" y="2841"/>
                      </a:lnTo>
                      <a:lnTo>
                        <a:pt x="5017" y="2816"/>
                      </a:lnTo>
                      <a:lnTo>
                        <a:pt x="5012" y="2788"/>
                      </a:lnTo>
                      <a:lnTo>
                        <a:pt x="5009" y="2761"/>
                      </a:lnTo>
                      <a:lnTo>
                        <a:pt x="5007" y="2734"/>
                      </a:lnTo>
                      <a:lnTo>
                        <a:pt x="5007" y="2706"/>
                      </a:lnTo>
                      <a:lnTo>
                        <a:pt x="5007" y="2689"/>
                      </a:lnTo>
                      <a:lnTo>
                        <a:pt x="2600" y="2689"/>
                      </a:lnTo>
                      <a:lnTo>
                        <a:pt x="2600" y="2706"/>
                      </a:lnTo>
                      <a:lnTo>
                        <a:pt x="2598" y="2734"/>
                      </a:lnTo>
                      <a:lnTo>
                        <a:pt x="2597" y="2761"/>
                      </a:lnTo>
                      <a:lnTo>
                        <a:pt x="2593" y="2788"/>
                      </a:lnTo>
                      <a:lnTo>
                        <a:pt x="2588" y="2816"/>
                      </a:lnTo>
                      <a:lnTo>
                        <a:pt x="2583" y="2841"/>
                      </a:lnTo>
                      <a:lnTo>
                        <a:pt x="2575" y="2866"/>
                      </a:lnTo>
                      <a:lnTo>
                        <a:pt x="2566" y="2892"/>
                      </a:lnTo>
                      <a:lnTo>
                        <a:pt x="2558" y="2917"/>
                      </a:lnTo>
                      <a:lnTo>
                        <a:pt x="2546" y="2941"/>
                      </a:lnTo>
                      <a:lnTo>
                        <a:pt x="2534" y="2964"/>
                      </a:lnTo>
                      <a:lnTo>
                        <a:pt x="2521" y="2986"/>
                      </a:lnTo>
                      <a:lnTo>
                        <a:pt x="2507" y="3008"/>
                      </a:lnTo>
                      <a:lnTo>
                        <a:pt x="2492" y="3030"/>
                      </a:lnTo>
                      <a:lnTo>
                        <a:pt x="2477" y="3051"/>
                      </a:lnTo>
                      <a:lnTo>
                        <a:pt x="2460" y="3069"/>
                      </a:lnTo>
                      <a:lnTo>
                        <a:pt x="2441" y="3090"/>
                      </a:lnTo>
                      <a:lnTo>
                        <a:pt x="2422" y="3107"/>
                      </a:lnTo>
                      <a:lnTo>
                        <a:pt x="2402" y="3123"/>
                      </a:lnTo>
                      <a:lnTo>
                        <a:pt x="2382" y="3140"/>
                      </a:lnTo>
                      <a:lnTo>
                        <a:pt x="2361" y="3156"/>
                      </a:lnTo>
                      <a:lnTo>
                        <a:pt x="2339" y="3169"/>
                      </a:lnTo>
                      <a:lnTo>
                        <a:pt x="2316" y="3183"/>
                      </a:lnTo>
                      <a:lnTo>
                        <a:pt x="2292" y="3195"/>
                      </a:lnTo>
                      <a:lnTo>
                        <a:pt x="2268" y="3205"/>
                      </a:lnTo>
                      <a:lnTo>
                        <a:pt x="2245" y="3215"/>
                      </a:lnTo>
                      <a:lnTo>
                        <a:pt x="2219" y="3223"/>
                      </a:lnTo>
                      <a:lnTo>
                        <a:pt x="2194" y="3230"/>
                      </a:lnTo>
                      <a:lnTo>
                        <a:pt x="2167" y="3237"/>
                      </a:lnTo>
                      <a:lnTo>
                        <a:pt x="2140" y="3242"/>
                      </a:lnTo>
                      <a:lnTo>
                        <a:pt x="2113" y="3245"/>
                      </a:lnTo>
                      <a:lnTo>
                        <a:pt x="2086" y="3247"/>
                      </a:lnTo>
                      <a:lnTo>
                        <a:pt x="2059" y="3247"/>
                      </a:lnTo>
                      <a:lnTo>
                        <a:pt x="2033" y="3247"/>
                      </a:lnTo>
                      <a:lnTo>
                        <a:pt x="2010" y="3245"/>
                      </a:lnTo>
                      <a:lnTo>
                        <a:pt x="1986" y="3244"/>
                      </a:lnTo>
                      <a:lnTo>
                        <a:pt x="1964" y="3239"/>
                      </a:lnTo>
                      <a:lnTo>
                        <a:pt x="1918" y="3230"/>
                      </a:lnTo>
                      <a:lnTo>
                        <a:pt x="1874" y="3215"/>
                      </a:lnTo>
                      <a:lnTo>
                        <a:pt x="1832" y="3198"/>
                      </a:lnTo>
                      <a:lnTo>
                        <a:pt x="1791" y="3178"/>
                      </a:lnTo>
                      <a:lnTo>
                        <a:pt x="1754" y="3154"/>
                      </a:lnTo>
                      <a:lnTo>
                        <a:pt x="1717" y="3127"/>
                      </a:lnTo>
                      <a:lnTo>
                        <a:pt x="1683" y="3096"/>
                      </a:lnTo>
                      <a:lnTo>
                        <a:pt x="1653" y="3064"/>
                      </a:lnTo>
                      <a:lnTo>
                        <a:pt x="1624" y="3030"/>
                      </a:lnTo>
                      <a:lnTo>
                        <a:pt x="1599" y="2993"/>
                      </a:lnTo>
                      <a:lnTo>
                        <a:pt x="1577" y="2954"/>
                      </a:lnTo>
                      <a:lnTo>
                        <a:pt x="1558" y="2912"/>
                      </a:lnTo>
                      <a:lnTo>
                        <a:pt x="1541" y="2870"/>
                      </a:lnTo>
                      <a:lnTo>
                        <a:pt x="1529" y="2824"/>
                      </a:lnTo>
                      <a:lnTo>
                        <a:pt x="1517" y="2870"/>
                      </a:lnTo>
                      <a:lnTo>
                        <a:pt x="1502" y="2912"/>
                      </a:lnTo>
                      <a:lnTo>
                        <a:pt x="1484" y="2954"/>
                      </a:lnTo>
                      <a:lnTo>
                        <a:pt x="1462" y="2993"/>
                      </a:lnTo>
                      <a:lnTo>
                        <a:pt x="1436" y="3030"/>
                      </a:lnTo>
                      <a:lnTo>
                        <a:pt x="1407" y="3064"/>
                      </a:lnTo>
                      <a:lnTo>
                        <a:pt x="1375" y="3096"/>
                      </a:lnTo>
                      <a:lnTo>
                        <a:pt x="1341" y="3127"/>
                      </a:lnTo>
                      <a:lnTo>
                        <a:pt x="1306" y="3154"/>
                      </a:lnTo>
                      <a:lnTo>
                        <a:pt x="1269" y="3178"/>
                      </a:lnTo>
                      <a:lnTo>
                        <a:pt x="1228" y="3198"/>
                      </a:lnTo>
                      <a:lnTo>
                        <a:pt x="1186" y="3215"/>
                      </a:lnTo>
                      <a:lnTo>
                        <a:pt x="1142" y="3230"/>
                      </a:lnTo>
                      <a:lnTo>
                        <a:pt x="1096" y="3239"/>
                      </a:lnTo>
                      <a:lnTo>
                        <a:pt x="1072" y="3244"/>
                      </a:lnTo>
                      <a:lnTo>
                        <a:pt x="1049" y="3245"/>
                      </a:lnTo>
                      <a:lnTo>
                        <a:pt x="1025" y="3247"/>
                      </a:lnTo>
                      <a:lnTo>
                        <a:pt x="1001" y="3247"/>
                      </a:lnTo>
                      <a:lnTo>
                        <a:pt x="974" y="3247"/>
                      </a:lnTo>
                      <a:lnTo>
                        <a:pt x="946" y="3245"/>
                      </a:lnTo>
                      <a:lnTo>
                        <a:pt x="919" y="3242"/>
                      </a:lnTo>
                      <a:lnTo>
                        <a:pt x="893" y="3237"/>
                      </a:lnTo>
                      <a:lnTo>
                        <a:pt x="866" y="3230"/>
                      </a:lnTo>
                      <a:lnTo>
                        <a:pt x="841" y="3223"/>
                      </a:lnTo>
                      <a:lnTo>
                        <a:pt x="815" y="3215"/>
                      </a:lnTo>
                      <a:lnTo>
                        <a:pt x="792" y="3205"/>
                      </a:lnTo>
                      <a:lnTo>
                        <a:pt x="766" y="3195"/>
                      </a:lnTo>
                      <a:lnTo>
                        <a:pt x="744" y="3183"/>
                      </a:lnTo>
                      <a:lnTo>
                        <a:pt x="721" y="3169"/>
                      </a:lnTo>
                      <a:lnTo>
                        <a:pt x="699" y="3156"/>
                      </a:lnTo>
                      <a:lnTo>
                        <a:pt x="678" y="3140"/>
                      </a:lnTo>
                      <a:lnTo>
                        <a:pt x="658" y="3123"/>
                      </a:lnTo>
                      <a:lnTo>
                        <a:pt x="638" y="3107"/>
                      </a:lnTo>
                      <a:lnTo>
                        <a:pt x="619" y="3090"/>
                      </a:lnTo>
                      <a:lnTo>
                        <a:pt x="601" y="3069"/>
                      </a:lnTo>
                      <a:lnTo>
                        <a:pt x="584" y="3051"/>
                      </a:lnTo>
                      <a:lnTo>
                        <a:pt x="568" y="3030"/>
                      </a:lnTo>
                      <a:lnTo>
                        <a:pt x="553" y="3008"/>
                      </a:lnTo>
                      <a:lnTo>
                        <a:pt x="538" y="2986"/>
                      </a:lnTo>
                      <a:lnTo>
                        <a:pt x="526" y="2964"/>
                      </a:lnTo>
                      <a:lnTo>
                        <a:pt x="514" y="2941"/>
                      </a:lnTo>
                      <a:lnTo>
                        <a:pt x="502" y="2917"/>
                      </a:lnTo>
                      <a:lnTo>
                        <a:pt x="494" y="2892"/>
                      </a:lnTo>
                      <a:lnTo>
                        <a:pt x="484" y="2866"/>
                      </a:lnTo>
                      <a:lnTo>
                        <a:pt x="477" y="2841"/>
                      </a:lnTo>
                      <a:lnTo>
                        <a:pt x="472" y="2816"/>
                      </a:lnTo>
                      <a:lnTo>
                        <a:pt x="467" y="2788"/>
                      </a:lnTo>
                      <a:lnTo>
                        <a:pt x="464" y="2761"/>
                      </a:lnTo>
                      <a:lnTo>
                        <a:pt x="462" y="2734"/>
                      </a:lnTo>
                      <a:lnTo>
                        <a:pt x="460" y="2706"/>
                      </a:lnTo>
                      <a:lnTo>
                        <a:pt x="460" y="2689"/>
                      </a:lnTo>
                      <a:lnTo>
                        <a:pt x="460" y="2428"/>
                      </a:lnTo>
                      <a:lnTo>
                        <a:pt x="5083" y="2428"/>
                      </a:lnTo>
                      <a:lnTo>
                        <a:pt x="5102" y="2399"/>
                      </a:lnTo>
                      <a:lnTo>
                        <a:pt x="5122" y="2371"/>
                      </a:lnTo>
                      <a:lnTo>
                        <a:pt x="5144" y="2345"/>
                      </a:lnTo>
                      <a:lnTo>
                        <a:pt x="5168" y="2320"/>
                      </a:lnTo>
                      <a:lnTo>
                        <a:pt x="5193" y="2298"/>
                      </a:lnTo>
                      <a:lnTo>
                        <a:pt x="5220" y="2276"/>
                      </a:lnTo>
                      <a:lnTo>
                        <a:pt x="5247" y="2255"/>
                      </a:lnTo>
                      <a:lnTo>
                        <a:pt x="5278" y="2237"/>
                      </a:lnTo>
                      <a:lnTo>
                        <a:pt x="5308" y="2220"/>
                      </a:lnTo>
                      <a:lnTo>
                        <a:pt x="5339" y="2206"/>
                      </a:lnTo>
                      <a:lnTo>
                        <a:pt x="5373" y="2195"/>
                      </a:lnTo>
                      <a:lnTo>
                        <a:pt x="5405" y="2184"/>
                      </a:lnTo>
                      <a:lnTo>
                        <a:pt x="5440" y="2176"/>
                      </a:lnTo>
                      <a:lnTo>
                        <a:pt x="5476" y="2169"/>
                      </a:lnTo>
                      <a:lnTo>
                        <a:pt x="5511" y="2166"/>
                      </a:lnTo>
                      <a:lnTo>
                        <a:pt x="5548" y="2164"/>
                      </a:lnTo>
                      <a:lnTo>
                        <a:pt x="5594" y="2166"/>
                      </a:lnTo>
                      <a:lnTo>
                        <a:pt x="5638" y="2173"/>
                      </a:lnTo>
                      <a:lnTo>
                        <a:pt x="5682" y="2181"/>
                      </a:lnTo>
                      <a:lnTo>
                        <a:pt x="5723" y="2193"/>
                      </a:lnTo>
                      <a:lnTo>
                        <a:pt x="5763" y="2210"/>
                      </a:lnTo>
                      <a:lnTo>
                        <a:pt x="5802" y="2228"/>
                      </a:lnTo>
                      <a:lnTo>
                        <a:pt x="5839" y="2250"/>
                      </a:lnTo>
                      <a:lnTo>
                        <a:pt x="5875" y="2274"/>
                      </a:lnTo>
                      <a:lnTo>
                        <a:pt x="5907" y="2301"/>
                      </a:lnTo>
                      <a:lnTo>
                        <a:pt x="5938" y="2332"/>
                      </a:lnTo>
                      <a:lnTo>
                        <a:pt x="5966" y="2362"/>
                      </a:lnTo>
                      <a:lnTo>
                        <a:pt x="5992" y="2398"/>
                      </a:lnTo>
                      <a:lnTo>
                        <a:pt x="6015" y="2433"/>
                      </a:lnTo>
                      <a:lnTo>
                        <a:pt x="6036" y="2470"/>
                      </a:lnTo>
                      <a:lnTo>
                        <a:pt x="6053" y="2511"/>
                      </a:lnTo>
                      <a:lnTo>
                        <a:pt x="6068" y="2552"/>
                      </a:lnTo>
                      <a:lnTo>
                        <a:pt x="6469" y="2552"/>
                      </a:lnTo>
                      <a:lnTo>
                        <a:pt x="6497" y="2550"/>
                      </a:lnTo>
                      <a:lnTo>
                        <a:pt x="6511" y="2548"/>
                      </a:lnTo>
                      <a:lnTo>
                        <a:pt x="6523" y="2545"/>
                      </a:lnTo>
                      <a:lnTo>
                        <a:pt x="6533" y="2541"/>
                      </a:lnTo>
                      <a:lnTo>
                        <a:pt x="6543" y="2536"/>
                      </a:lnTo>
                      <a:lnTo>
                        <a:pt x="6553" y="2530"/>
                      </a:lnTo>
                      <a:lnTo>
                        <a:pt x="6562" y="2525"/>
                      </a:lnTo>
                      <a:lnTo>
                        <a:pt x="6570" y="2516"/>
                      </a:lnTo>
                      <a:lnTo>
                        <a:pt x="6577" y="2508"/>
                      </a:lnTo>
                      <a:lnTo>
                        <a:pt x="6582" y="2499"/>
                      </a:lnTo>
                      <a:lnTo>
                        <a:pt x="6587" y="2489"/>
                      </a:lnTo>
                      <a:lnTo>
                        <a:pt x="6592" y="2479"/>
                      </a:lnTo>
                      <a:lnTo>
                        <a:pt x="6596" y="2467"/>
                      </a:lnTo>
                      <a:lnTo>
                        <a:pt x="6601" y="2440"/>
                      </a:lnTo>
                      <a:lnTo>
                        <a:pt x="6601" y="2408"/>
                      </a:lnTo>
                      <a:lnTo>
                        <a:pt x="6601" y="2384"/>
                      </a:lnTo>
                      <a:lnTo>
                        <a:pt x="6316" y="2384"/>
                      </a:lnTo>
                      <a:lnTo>
                        <a:pt x="6316" y="2249"/>
                      </a:lnTo>
                      <a:close/>
                      <a:moveTo>
                        <a:pt x="164" y="135"/>
                      </a:moveTo>
                      <a:lnTo>
                        <a:pt x="164" y="135"/>
                      </a:lnTo>
                      <a:lnTo>
                        <a:pt x="157" y="137"/>
                      </a:lnTo>
                      <a:lnTo>
                        <a:pt x="152" y="139"/>
                      </a:lnTo>
                      <a:lnTo>
                        <a:pt x="147" y="140"/>
                      </a:lnTo>
                      <a:lnTo>
                        <a:pt x="144" y="144"/>
                      </a:lnTo>
                      <a:lnTo>
                        <a:pt x="140" y="149"/>
                      </a:lnTo>
                      <a:lnTo>
                        <a:pt x="137" y="154"/>
                      </a:lnTo>
                      <a:lnTo>
                        <a:pt x="135" y="159"/>
                      </a:lnTo>
                      <a:lnTo>
                        <a:pt x="135" y="164"/>
                      </a:lnTo>
                      <a:lnTo>
                        <a:pt x="135" y="2022"/>
                      </a:lnTo>
                      <a:lnTo>
                        <a:pt x="0" y="2022"/>
                      </a:lnTo>
                      <a:lnTo>
                        <a:pt x="0" y="164"/>
                      </a:lnTo>
                      <a:lnTo>
                        <a:pt x="0" y="147"/>
                      </a:lnTo>
                      <a:lnTo>
                        <a:pt x="3" y="132"/>
                      </a:lnTo>
                      <a:lnTo>
                        <a:pt x="7" y="115"/>
                      </a:lnTo>
                      <a:lnTo>
                        <a:pt x="14" y="102"/>
                      </a:lnTo>
                      <a:lnTo>
                        <a:pt x="20" y="86"/>
                      </a:lnTo>
                      <a:lnTo>
                        <a:pt x="29" y="73"/>
                      </a:lnTo>
                      <a:lnTo>
                        <a:pt x="37" y="61"/>
                      </a:lnTo>
                      <a:lnTo>
                        <a:pt x="47" y="49"/>
                      </a:lnTo>
                      <a:lnTo>
                        <a:pt x="59" y="39"/>
                      </a:lnTo>
                      <a:lnTo>
                        <a:pt x="73" y="29"/>
                      </a:lnTo>
                      <a:lnTo>
                        <a:pt x="86" y="20"/>
                      </a:lnTo>
                      <a:lnTo>
                        <a:pt x="100" y="14"/>
                      </a:lnTo>
                      <a:lnTo>
                        <a:pt x="115" y="8"/>
                      </a:lnTo>
                      <a:lnTo>
                        <a:pt x="130" y="3"/>
                      </a:lnTo>
                      <a:lnTo>
                        <a:pt x="147" y="2"/>
                      </a:lnTo>
                      <a:lnTo>
                        <a:pt x="164" y="0"/>
                      </a:lnTo>
                      <a:lnTo>
                        <a:pt x="4902" y="0"/>
                      </a:lnTo>
                      <a:lnTo>
                        <a:pt x="4918" y="2"/>
                      </a:lnTo>
                      <a:lnTo>
                        <a:pt x="4934" y="3"/>
                      </a:lnTo>
                      <a:lnTo>
                        <a:pt x="4950" y="8"/>
                      </a:lnTo>
                      <a:lnTo>
                        <a:pt x="4965" y="14"/>
                      </a:lnTo>
                      <a:lnTo>
                        <a:pt x="4980" y="20"/>
                      </a:lnTo>
                      <a:lnTo>
                        <a:pt x="4994" y="29"/>
                      </a:lnTo>
                      <a:lnTo>
                        <a:pt x="5005" y="39"/>
                      </a:lnTo>
                      <a:lnTo>
                        <a:pt x="5017" y="49"/>
                      </a:lnTo>
                      <a:lnTo>
                        <a:pt x="5027" y="61"/>
                      </a:lnTo>
                      <a:lnTo>
                        <a:pt x="5038" y="73"/>
                      </a:lnTo>
                      <a:lnTo>
                        <a:pt x="5046" y="86"/>
                      </a:lnTo>
                      <a:lnTo>
                        <a:pt x="5053" y="102"/>
                      </a:lnTo>
                      <a:lnTo>
                        <a:pt x="5058" y="115"/>
                      </a:lnTo>
                      <a:lnTo>
                        <a:pt x="5061" y="132"/>
                      </a:lnTo>
                      <a:lnTo>
                        <a:pt x="5065" y="147"/>
                      </a:lnTo>
                      <a:lnTo>
                        <a:pt x="5065" y="164"/>
                      </a:lnTo>
                      <a:lnTo>
                        <a:pt x="5065" y="2293"/>
                      </a:lnTo>
                      <a:lnTo>
                        <a:pt x="0" y="2293"/>
                      </a:lnTo>
                      <a:lnTo>
                        <a:pt x="0" y="2157"/>
                      </a:lnTo>
                      <a:lnTo>
                        <a:pt x="4929" y="2157"/>
                      </a:lnTo>
                      <a:lnTo>
                        <a:pt x="4929" y="164"/>
                      </a:lnTo>
                      <a:lnTo>
                        <a:pt x="4929" y="159"/>
                      </a:lnTo>
                      <a:lnTo>
                        <a:pt x="4928" y="154"/>
                      </a:lnTo>
                      <a:lnTo>
                        <a:pt x="4924" y="149"/>
                      </a:lnTo>
                      <a:lnTo>
                        <a:pt x="4921" y="144"/>
                      </a:lnTo>
                      <a:lnTo>
                        <a:pt x="4918" y="140"/>
                      </a:lnTo>
                      <a:lnTo>
                        <a:pt x="4912" y="139"/>
                      </a:lnTo>
                      <a:lnTo>
                        <a:pt x="4907" y="137"/>
                      </a:lnTo>
                      <a:lnTo>
                        <a:pt x="4902" y="135"/>
                      </a:lnTo>
                      <a:lnTo>
                        <a:pt x="164" y="135"/>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sp>
              <p:nvSpPr>
                <p:cNvPr id="197" name="Freeform 10"/>
                <p:cNvSpPr>
                  <a:spLocks noChangeAspect="1" noEditPoints="1"/>
                </p:cNvSpPr>
                <p:nvPr/>
              </p:nvSpPr>
              <p:spPr bwMode="auto">
                <a:xfrm>
                  <a:off x="8367131" y="5422692"/>
                  <a:ext cx="262821" cy="101453"/>
                </a:xfrm>
                <a:custGeom>
                  <a:avLst/>
                  <a:gdLst>
                    <a:gd name="T0" fmla="*/ 2147483647 w 6736"/>
                    <a:gd name="T1" fmla="*/ 2147483647 h 2607"/>
                    <a:gd name="T2" fmla="*/ 2147483647 w 6736"/>
                    <a:gd name="T3" fmla="*/ 2147483647 h 2607"/>
                    <a:gd name="T4" fmla="*/ 2147483647 w 6736"/>
                    <a:gd name="T5" fmla="*/ 2147483647 h 2607"/>
                    <a:gd name="T6" fmla="*/ 2147483647 w 6736"/>
                    <a:gd name="T7" fmla="*/ 2147483647 h 2607"/>
                    <a:gd name="T8" fmla="*/ 2147483647 w 6736"/>
                    <a:gd name="T9" fmla="*/ 2147483647 h 2607"/>
                    <a:gd name="T10" fmla="*/ 2147483647 w 6736"/>
                    <a:gd name="T11" fmla="*/ 2147483647 h 2607"/>
                    <a:gd name="T12" fmla="*/ 2147483647 w 6736"/>
                    <a:gd name="T13" fmla="*/ 2147483647 h 2607"/>
                    <a:gd name="T14" fmla="*/ 2147483647 w 6736"/>
                    <a:gd name="T15" fmla="*/ 2147483647 h 2607"/>
                    <a:gd name="T16" fmla="*/ 2147483647 w 6736"/>
                    <a:gd name="T17" fmla="*/ 2147483647 h 2607"/>
                    <a:gd name="T18" fmla="*/ 2147483647 w 6736"/>
                    <a:gd name="T19" fmla="*/ 2147483647 h 2607"/>
                    <a:gd name="T20" fmla="*/ 2147483647 w 6736"/>
                    <a:gd name="T21" fmla="*/ 2147483647 h 2607"/>
                    <a:gd name="T22" fmla="*/ 2147483647 w 6736"/>
                    <a:gd name="T23" fmla="*/ 2147483647 h 2607"/>
                    <a:gd name="T24" fmla="*/ 2147483647 w 6736"/>
                    <a:gd name="T25" fmla="*/ 2147483647 h 2607"/>
                    <a:gd name="T26" fmla="*/ 2147483647 w 6736"/>
                    <a:gd name="T27" fmla="*/ 2147483647 h 2607"/>
                    <a:gd name="T28" fmla="*/ 2147483647 w 6736"/>
                    <a:gd name="T29" fmla="*/ 2147483647 h 2607"/>
                    <a:gd name="T30" fmla="*/ 2147483647 w 6736"/>
                    <a:gd name="T31" fmla="*/ 2147483647 h 2607"/>
                    <a:gd name="T32" fmla="*/ 2147483647 w 6736"/>
                    <a:gd name="T33" fmla="*/ 2147483647 h 2607"/>
                    <a:gd name="T34" fmla="*/ 2147483647 w 6736"/>
                    <a:gd name="T35" fmla="*/ 2147483647 h 2607"/>
                    <a:gd name="T36" fmla="*/ 2147483647 w 6736"/>
                    <a:gd name="T37" fmla="*/ 2147483647 h 2607"/>
                    <a:gd name="T38" fmla="*/ 2147483647 w 6736"/>
                    <a:gd name="T39" fmla="*/ 2147483647 h 2607"/>
                    <a:gd name="T40" fmla="*/ 2147483647 w 6736"/>
                    <a:gd name="T41" fmla="*/ 2147483647 h 2607"/>
                    <a:gd name="T42" fmla="*/ 2147483647 w 6736"/>
                    <a:gd name="T43" fmla="*/ 2147483647 h 2607"/>
                    <a:gd name="T44" fmla="*/ 2147483647 w 6736"/>
                    <a:gd name="T45" fmla="*/ 2147483647 h 2607"/>
                    <a:gd name="T46" fmla="*/ 2147483647 w 6736"/>
                    <a:gd name="T47" fmla="*/ 2147483647 h 2607"/>
                    <a:gd name="T48" fmla="*/ 2147483647 w 6736"/>
                    <a:gd name="T49" fmla="*/ 2147483647 h 2607"/>
                    <a:gd name="T50" fmla="*/ 2147483647 w 6736"/>
                    <a:gd name="T51" fmla="*/ 2147483647 h 2607"/>
                    <a:gd name="T52" fmla="*/ 2147483647 w 6736"/>
                    <a:gd name="T53" fmla="*/ 2147483647 h 2607"/>
                    <a:gd name="T54" fmla="*/ 2147483647 w 6736"/>
                    <a:gd name="T55" fmla="*/ 2147483647 h 2607"/>
                    <a:gd name="T56" fmla="*/ 2147483647 w 6736"/>
                    <a:gd name="T57" fmla="*/ 2147483647 h 2607"/>
                    <a:gd name="T58" fmla="*/ 2147483647 w 6736"/>
                    <a:gd name="T59" fmla="*/ 2147483647 h 2607"/>
                    <a:gd name="T60" fmla="*/ 2147483647 w 6736"/>
                    <a:gd name="T61" fmla="*/ 2147483647 h 2607"/>
                    <a:gd name="T62" fmla="*/ 2147483647 w 6736"/>
                    <a:gd name="T63" fmla="*/ 2147483647 h 2607"/>
                    <a:gd name="T64" fmla="*/ 2147483647 w 6736"/>
                    <a:gd name="T65" fmla="*/ 2147483647 h 2607"/>
                    <a:gd name="T66" fmla="*/ 2147483647 w 6736"/>
                    <a:gd name="T67" fmla="*/ 2147483647 h 2607"/>
                    <a:gd name="T68" fmla="*/ 2147483647 w 6736"/>
                    <a:gd name="T69" fmla="*/ 2147483647 h 2607"/>
                    <a:gd name="T70" fmla="*/ 2147483647 w 6736"/>
                    <a:gd name="T71" fmla="*/ 2147483647 h 2607"/>
                    <a:gd name="T72" fmla="*/ 2147483647 w 6736"/>
                    <a:gd name="T73" fmla="*/ 2147483647 h 2607"/>
                    <a:gd name="T74" fmla="*/ 2147483647 w 6736"/>
                    <a:gd name="T75" fmla="*/ 2147483647 h 2607"/>
                    <a:gd name="T76" fmla="*/ 2147483647 w 6736"/>
                    <a:gd name="T77" fmla="*/ 2147483647 h 2607"/>
                    <a:gd name="T78" fmla="*/ 2147483647 w 6736"/>
                    <a:gd name="T79" fmla="*/ 2147483647 h 2607"/>
                    <a:gd name="T80" fmla="*/ 2147483647 w 6736"/>
                    <a:gd name="T81" fmla="*/ 2147483647 h 2607"/>
                    <a:gd name="T82" fmla="*/ 2147483647 w 6736"/>
                    <a:gd name="T83" fmla="*/ 2147483647 h 2607"/>
                    <a:gd name="T84" fmla="*/ 2147483647 w 6736"/>
                    <a:gd name="T85" fmla="*/ 2147483647 h 2607"/>
                    <a:gd name="T86" fmla="*/ 2147483647 w 6736"/>
                    <a:gd name="T87" fmla="*/ 2147483647 h 2607"/>
                    <a:gd name="T88" fmla="*/ 2147483647 w 6736"/>
                    <a:gd name="T89" fmla="*/ 2147483647 h 2607"/>
                    <a:gd name="T90" fmla="*/ 2147483647 w 6736"/>
                    <a:gd name="T91" fmla="*/ 2147483647 h 2607"/>
                    <a:gd name="T92" fmla="*/ 2147483647 w 6736"/>
                    <a:gd name="T93" fmla="*/ 2147483647 h 2607"/>
                    <a:gd name="T94" fmla="*/ 0 w 6736"/>
                    <a:gd name="T95" fmla="*/ 2147483647 h 2607"/>
                    <a:gd name="T96" fmla="*/ 2147483647 w 6736"/>
                    <a:gd name="T97" fmla="*/ 2147483647 h 2607"/>
                    <a:gd name="T98" fmla="*/ 2147483647 w 6736"/>
                    <a:gd name="T99" fmla="*/ 2147483647 h 260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36"/>
                    <a:gd name="T151" fmla="*/ 0 h 2607"/>
                    <a:gd name="T152" fmla="*/ 6736 w 6736"/>
                    <a:gd name="T153" fmla="*/ 2607 h 260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36" h="2607">
                      <a:moveTo>
                        <a:pt x="649" y="2222"/>
                      </a:moveTo>
                      <a:lnTo>
                        <a:pt x="2420" y="2351"/>
                      </a:lnTo>
                      <a:lnTo>
                        <a:pt x="5456" y="1540"/>
                      </a:lnTo>
                      <a:lnTo>
                        <a:pt x="5525" y="1518"/>
                      </a:lnTo>
                      <a:lnTo>
                        <a:pt x="5587" y="1498"/>
                      </a:lnTo>
                      <a:lnTo>
                        <a:pt x="5661" y="1472"/>
                      </a:lnTo>
                      <a:lnTo>
                        <a:pt x="5745" y="1442"/>
                      </a:lnTo>
                      <a:lnTo>
                        <a:pt x="5836" y="1408"/>
                      </a:lnTo>
                      <a:lnTo>
                        <a:pt x="5931" y="1370"/>
                      </a:lnTo>
                      <a:lnTo>
                        <a:pt x="6027" y="1329"/>
                      </a:lnTo>
                      <a:lnTo>
                        <a:pt x="6122" y="1285"/>
                      </a:lnTo>
                      <a:lnTo>
                        <a:pt x="6168" y="1262"/>
                      </a:lnTo>
                      <a:lnTo>
                        <a:pt x="6212" y="1239"/>
                      </a:lnTo>
                      <a:lnTo>
                        <a:pt x="6255" y="1215"/>
                      </a:lnTo>
                      <a:lnTo>
                        <a:pt x="6294" y="1191"/>
                      </a:lnTo>
                      <a:lnTo>
                        <a:pt x="6330" y="1168"/>
                      </a:lnTo>
                      <a:lnTo>
                        <a:pt x="6365" y="1144"/>
                      </a:lnTo>
                      <a:lnTo>
                        <a:pt x="6395" y="1120"/>
                      </a:lnTo>
                      <a:lnTo>
                        <a:pt x="6422" y="1097"/>
                      </a:lnTo>
                      <a:lnTo>
                        <a:pt x="6444" y="1072"/>
                      </a:lnTo>
                      <a:lnTo>
                        <a:pt x="6461" y="1048"/>
                      </a:lnTo>
                      <a:lnTo>
                        <a:pt x="6468" y="1037"/>
                      </a:lnTo>
                      <a:lnTo>
                        <a:pt x="6474" y="1024"/>
                      </a:lnTo>
                      <a:lnTo>
                        <a:pt x="6479" y="1013"/>
                      </a:lnTo>
                      <a:lnTo>
                        <a:pt x="6482" y="1002"/>
                      </a:lnTo>
                      <a:lnTo>
                        <a:pt x="6483" y="989"/>
                      </a:lnTo>
                      <a:lnTo>
                        <a:pt x="6483" y="978"/>
                      </a:lnTo>
                      <a:lnTo>
                        <a:pt x="6482" y="967"/>
                      </a:lnTo>
                      <a:lnTo>
                        <a:pt x="6479" y="956"/>
                      </a:lnTo>
                      <a:lnTo>
                        <a:pt x="6476" y="950"/>
                      </a:lnTo>
                      <a:lnTo>
                        <a:pt x="6471" y="942"/>
                      </a:lnTo>
                      <a:lnTo>
                        <a:pt x="6464" y="934"/>
                      </a:lnTo>
                      <a:lnTo>
                        <a:pt x="6455" y="926"/>
                      </a:lnTo>
                      <a:lnTo>
                        <a:pt x="6446" y="918"/>
                      </a:lnTo>
                      <a:lnTo>
                        <a:pt x="6433" y="911"/>
                      </a:lnTo>
                      <a:lnTo>
                        <a:pt x="6419" y="903"/>
                      </a:lnTo>
                      <a:lnTo>
                        <a:pt x="6401" y="895"/>
                      </a:lnTo>
                      <a:lnTo>
                        <a:pt x="6384" y="888"/>
                      </a:lnTo>
                      <a:lnTo>
                        <a:pt x="6363" y="881"/>
                      </a:lnTo>
                      <a:lnTo>
                        <a:pt x="6341" y="874"/>
                      </a:lnTo>
                      <a:lnTo>
                        <a:pt x="6318" y="868"/>
                      </a:lnTo>
                      <a:lnTo>
                        <a:pt x="6291" y="862"/>
                      </a:lnTo>
                      <a:lnTo>
                        <a:pt x="6262" y="857"/>
                      </a:lnTo>
                      <a:lnTo>
                        <a:pt x="6232" y="852"/>
                      </a:lnTo>
                      <a:lnTo>
                        <a:pt x="6199" y="847"/>
                      </a:lnTo>
                      <a:lnTo>
                        <a:pt x="6165" y="844"/>
                      </a:lnTo>
                      <a:lnTo>
                        <a:pt x="6127" y="843"/>
                      </a:lnTo>
                      <a:lnTo>
                        <a:pt x="6087" y="843"/>
                      </a:lnTo>
                      <a:lnTo>
                        <a:pt x="6045" y="843"/>
                      </a:lnTo>
                      <a:lnTo>
                        <a:pt x="6000" y="844"/>
                      </a:lnTo>
                      <a:lnTo>
                        <a:pt x="5955" y="847"/>
                      </a:lnTo>
                      <a:lnTo>
                        <a:pt x="5906" y="851"/>
                      </a:lnTo>
                      <a:lnTo>
                        <a:pt x="5854" y="857"/>
                      </a:lnTo>
                      <a:lnTo>
                        <a:pt x="5800" y="863"/>
                      </a:lnTo>
                      <a:lnTo>
                        <a:pt x="5743" y="873"/>
                      </a:lnTo>
                      <a:lnTo>
                        <a:pt x="5685" y="884"/>
                      </a:lnTo>
                      <a:lnTo>
                        <a:pt x="5623" y="895"/>
                      </a:lnTo>
                      <a:lnTo>
                        <a:pt x="5558" y="909"/>
                      </a:lnTo>
                      <a:lnTo>
                        <a:pt x="5492" y="925"/>
                      </a:lnTo>
                      <a:lnTo>
                        <a:pt x="5423" y="944"/>
                      </a:lnTo>
                      <a:lnTo>
                        <a:pt x="5352" y="964"/>
                      </a:lnTo>
                      <a:lnTo>
                        <a:pt x="4346" y="1232"/>
                      </a:lnTo>
                      <a:lnTo>
                        <a:pt x="4431" y="1545"/>
                      </a:lnTo>
                      <a:lnTo>
                        <a:pt x="4029" y="1654"/>
                      </a:lnTo>
                      <a:lnTo>
                        <a:pt x="3702" y="1600"/>
                      </a:lnTo>
                      <a:lnTo>
                        <a:pt x="3667" y="1469"/>
                      </a:lnTo>
                      <a:lnTo>
                        <a:pt x="3809" y="1354"/>
                      </a:lnTo>
                      <a:lnTo>
                        <a:pt x="2538" y="527"/>
                      </a:lnTo>
                      <a:lnTo>
                        <a:pt x="2393" y="366"/>
                      </a:lnTo>
                      <a:lnTo>
                        <a:pt x="2423" y="543"/>
                      </a:lnTo>
                      <a:lnTo>
                        <a:pt x="3171" y="1547"/>
                      </a:lnTo>
                      <a:lnTo>
                        <a:pt x="2911" y="1616"/>
                      </a:lnTo>
                      <a:lnTo>
                        <a:pt x="2183" y="645"/>
                      </a:lnTo>
                      <a:lnTo>
                        <a:pt x="2092" y="107"/>
                      </a:lnTo>
                      <a:lnTo>
                        <a:pt x="2401" y="0"/>
                      </a:lnTo>
                      <a:lnTo>
                        <a:pt x="2703" y="333"/>
                      </a:lnTo>
                      <a:lnTo>
                        <a:pt x="3877" y="1097"/>
                      </a:lnTo>
                      <a:lnTo>
                        <a:pt x="5284" y="721"/>
                      </a:lnTo>
                      <a:lnTo>
                        <a:pt x="5350" y="702"/>
                      </a:lnTo>
                      <a:lnTo>
                        <a:pt x="5415" y="685"/>
                      </a:lnTo>
                      <a:lnTo>
                        <a:pt x="5479" y="669"/>
                      </a:lnTo>
                      <a:lnTo>
                        <a:pt x="5544" y="655"/>
                      </a:lnTo>
                      <a:lnTo>
                        <a:pt x="5607" y="642"/>
                      </a:lnTo>
                      <a:lnTo>
                        <a:pt x="5669" y="630"/>
                      </a:lnTo>
                      <a:lnTo>
                        <a:pt x="5730" y="620"/>
                      </a:lnTo>
                      <a:lnTo>
                        <a:pt x="5790" y="611"/>
                      </a:lnTo>
                      <a:lnTo>
                        <a:pt x="5849" y="604"/>
                      </a:lnTo>
                      <a:lnTo>
                        <a:pt x="5907" y="598"/>
                      </a:lnTo>
                      <a:lnTo>
                        <a:pt x="5962" y="595"/>
                      </a:lnTo>
                      <a:lnTo>
                        <a:pt x="6018" y="592"/>
                      </a:lnTo>
                      <a:lnTo>
                        <a:pt x="6071" y="590"/>
                      </a:lnTo>
                      <a:lnTo>
                        <a:pt x="6123" y="590"/>
                      </a:lnTo>
                      <a:lnTo>
                        <a:pt x="6174" y="593"/>
                      </a:lnTo>
                      <a:lnTo>
                        <a:pt x="6223" y="597"/>
                      </a:lnTo>
                      <a:lnTo>
                        <a:pt x="6270" y="601"/>
                      </a:lnTo>
                      <a:lnTo>
                        <a:pt x="6316" y="608"/>
                      </a:lnTo>
                      <a:lnTo>
                        <a:pt x="6359" y="617"/>
                      </a:lnTo>
                      <a:lnTo>
                        <a:pt x="6401" y="627"/>
                      </a:lnTo>
                      <a:lnTo>
                        <a:pt x="6441" y="638"/>
                      </a:lnTo>
                      <a:lnTo>
                        <a:pt x="6477" y="650"/>
                      </a:lnTo>
                      <a:lnTo>
                        <a:pt x="6512" y="666"/>
                      </a:lnTo>
                      <a:lnTo>
                        <a:pt x="6545" y="682"/>
                      </a:lnTo>
                      <a:lnTo>
                        <a:pt x="6577" y="701"/>
                      </a:lnTo>
                      <a:lnTo>
                        <a:pt x="6603" y="720"/>
                      </a:lnTo>
                      <a:lnTo>
                        <a:pt x="6630" y="742"/>
                      </a:lnTo>
                      <a:lnTo>
                        <a:pt x="6652" y="765"/>
                      </a:lnTo>
                      <a:lnTo>
                        <a:pt x="6673" y="789"/>
                      </a:lnTo>
                      <a:lnTo>
                        <a:pt x="6690" y="816"/>
                      </a:lnTo>
                      <a:lnTo>
                        <a:pt x="6706" y="844"/>
                      </a:lnTo>
                      <a:lnTo>
                        <a:pt x="6717" y="874"/>
                      </a:lnTo>
                      <a:lnTo>
                        <a:pt x="6725" y="898"/>
                      </a:lnTo>
                      <a:lnTo>
                        <a:pt x="6730" y="920"/>
                      </a:lnTo>
                      <a:lnTo>
                        <a:pt x="6733" y="944"/>
                      </a:lnTo>
                      <a:lnTo>
                        <a:pt x="6736" y="966"/>
                      </a:lnTo>
                      <a:lnTo>
                        <a:pt x="6736" y="988"/>
                      </a:lnTo>
                      <a:lnTo>
                        <a:pt x="6734" y="1010"/>
                      </a:lnTo>
                      <a:lnTo>
                        <a:pt x="6731" y="1032"/>
                      </a:lnTo>
                      <a:lnTo>
                        <a:pt x="6727" y="1053"/>
                      </a:lnTo>
                      <a:lnTo>
                        <a:pt x="6720" y="1075"/>
                      </a:lnTo>
                      <a:lnTo>
                        <a:pt x="6712" y="1095"/>
                      </a:lnTo>
                      <a:lnTo>
                        <a:pt x="6704" y="1116"/>
                      </a:lnTo>
                      <a:lnTo>
                        <a:pt x="6693" y="1136"/>
                      </a:lnTo>
                      <a:lnTo>
                        <a:pt x="6682" y="1157"/>
                      </a:lnTo>
                      <a:lnTo>
                        <a:pt x="6670" y="1177"/>
                      </a:lnTo>
                      <a:lnTo>
                        <a:pt x="6655" y="1196"/>
                      </a:lnTo>
                      <a:lnTo>
                        <a:pt x="6641" y="1215"/>
                      </a:lnTo>
                      <a:lnTo>
                        <a:pt x="6625" y="1236"/>
                      </a:lnTo>
                      <a:lnTo>
                        <a:pt x="6608" y="1253"/>
                      </a:lnTo>
                      <a:lnTo>
                        <a:pt x="6570" y="1291"/>
                      </a:lnTo>
                      <a:lnTo>
                        <a:pt x="6529" y="1326"/>
                      </a:lnTo>
                      <a:lnTo>
                        <a:pt x="6487" y="1360"/>
                      </a:lnTo>
                      <a:lnTo>
                        <a:pt x="6439" y="1395"/>
                      </a:lnTo>
                      <a:lnTo>
                        <a:pt x="6390" y="1427"/>
                      </a:lnTo>
                      <a:lnTo>
                        <a:pt x="6338" y="1458"/>
                      </a:lnTo>
                      <a:lnTo>
                        <a:pt x="6286" y="1488"/>
                      </a:lnTo>
                      <a:lnTo>
                        <a:pt x="6232" y="1517"/>
                      </a:lnTo>
                      <a:lnTo>
                        <a:pt x="6177" y="1543"/>
                      </a:lnTo>
                      <a:lnTo>
                        <a:pt x="6120" y="1570"/>
                      </a:lnTo>
                      <a:lnTo>
                        <a:pt x="6065" y="1594"/>
                      </a:lnTo>
                      <a:lnTo>
                        <a:pt x="6010" y="1618"/>
                      </a:lnTo>
                      <a:lnTo>
                        <a:pt x="5955" y="1640"/>
                      </a:lnTo>
                      <a:lnTo>
                        <a:pt x="5847" y="1681"/>
                      </a:lnTo>
                      <a:lnTo>
                        <a:pt x="5748" y="1715"/>
                      </a:lnTo>
                      <a:lnTo>
                        <a:pt x="5659" y="1744"/>
                      </a:lnTo>
                      <a:lnTo>
                        <a:pt x="5582" y="1767"/>
                      </a:lnTo>
                      <a:lnTo>
                        <a:pt x="5522" y="1783"/>
                      </a:lnTo>
                      <a:lnTo>
                        <a:pt x="2444" y="2607"/>
                      </a:lnTo>
                      <a:lnTo>
                        <a:pt x="526" y="2465"/>
                      </a:lnTo>
                      <a:lnTo>
                        <a:pt x="505" y="2463"/>
                      </a:lnTo>
                      <a:lnTo>
                        <a:pt x="485" y="2459"/>
                      </a:lnTo>
                      <a:lnTo>
                        <a:pt x="464" y="2452"/>
                      </a:lnTo>
                      <a:lnTo>
                        <a:pt x="445" y="2444"/>
                      </a:lnTo>
                      <a:lnTo>
                        <a:pt x="428" y="2435"/>
                      </a:lnTo>
                      <a:lnTo>
                        <a:pt x="412" y="2426"/>
                      </a:lnTo>
                      <a:lnTo>
                        <a:pt x="396" y="2413"/>
                      </a:lnTo>
                      <a:lnTo>
                        <a:pt x="382" y="2400"/>
                      </a:lnTo>
                      <a:lnTo>
                        <a:pt x="369" y="2386"/>
                      </a:lnTo>
                      <a:lnTo>
                        <a:pt x="357" y="2372"/>
                      </a:lnTo>
                      <a:lnTo>
                        <a:pt x="346" y="2356"/>
                      </a:lnTo>
                      <a:lnTo>
                        <a:pt x="336" y="2340"/>
                      </a:lnTo>
                      <a:lnTo>
                        <a:pt x="328" y="2323"/>
                      </a:lnTo>
                      <a:lnTo>
                        <a:pt x="320" y="2306"/>
                      </a:lnTo>
                      <a:lnTo>
                        <a:pt x="314" y="2288"/>
                      </a:lnTo>
                      <a:lnTo>
                        <a:pt x="308" y="2271"/>
                      </a:lnTo>
                      <a:lnTo>
                        <a:pt x="305" y="2252"/>
                      </a:lnTo>
                      <a:lnTo>
                        <a:pt x="302" y="2235"/>
                      </a:lnTo>
                      <a:lnTo>
                        <a:pt x="300" y="2217"/>
                      </a:lnTo>
                      <a:lnTo>
                        <a:pt x="298" y="2200"/>
                      </a:lnTo>
                      <a:lnTo>
                        <a:pt x="300" y="2182"/>
                      </a:lnTo>
                      <a:lnTo>
                        <a:pt x="302" y="2167"/>
                      </a:lnTo>
                      <a:lnTo>
                        <a:pt x="305" y="2151"/>
                      </a:lnTo>
                      <a:lnTo>
                        <a:pt x="309" y="2135"/>
                      </a:lnTo>
                      <a:lnTo>
                        <a:pt x="314" y="2121"/>
                      </a:lnTo>
                      <a:lnTo>
                        <a:pt x="320" y="2108"/>
                      </a:lnTo>
                      <a:lnTo>
                        <a:pt x="330" y="2096"/>
                      </a:lnTo>
                      <a:lnTo>
                        <a:pt x="338" y="2085"/>
                      </a:lnTo>
                      <a:lnTo>
                        <a:pt x="349" y="2075"/>
                      </a:lnTo>
                      <a:lnTo>
                        <a:pt x="362" y="2067"/>
                      </a:lnTo>
                      <a:lnTo>
                        <a:pt x="374" y="2061"/>
                      </a:lnTo>
                      <a:lnTo>
                        <a:pt x="388" y="2056"/>
                      </a:lnTo>
                      <a:lnTo>
                        <a:pt x="744" y="1960"/>
                      </a:lnTo>
                      <a:lnTo>
                        <a:pt x="865" y="2164"/>
                      </a:lnTo>
                      <a:lnTo>
                        <a:pt x="649" y="2222"/>
                      </a:lnTo>
                      <a:close/>
                      <a:moveTo>
                        <a:pt x="415" y="1917"/>
                      </a:moveTo>
                      <a:lnTo>
                        <a:pt x="0" y="1206"/>
                      </a:lnTo>
                      <a:lnTo>
                        <a:pt x="461" y="1064"/>
                      </a:lnTo>
                      <a:lnTo>
                        <a:pt x="1686" y="1682"/>
                      </a:lnTo>
                      <a:lnTo>
                        <a:pt x="2617" y="1433"/>
                      </a:lnTo>
                      <a:lnTo>
                        <a:pt x="2780" y="1651"/>
                      </a:lnTo>
                      <a:lnTo>
                        <a:pt x="1658" y="1952"/>
                      </a:lnTo>
                      <a:lnTo>
                        <a:pt x="437" y="1335"/>
                      </a:lnTo>
                      <a:lnTo>
                        <a:pt x="382" y="1352"/>
                      </a:lnTo>
                      <a:lnTo>
                        <a:pt x="677" y="1848"/>
                      </a:lnTo>
                      <a:lnTo>
                        <a:pt x="415" y="1917"/>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66" name="Group 165"/>
              <p:cNvGrpSpPr/>
              <p:nvPr/>
            </p:nvGrpSpPr>
            <p:grpSpPr>
              <a:xfrm>
                <a:off x="6436729" y="1757003"/>
                <a:ext cx="646887" cy="646887"/>
                <a:chOff x="6364026" y="6365038"/>
                <a:chExt cx="684476" cy="684476"/>
              </a:xfrm>
            </p:grpSpPr>
            <p:sp>
              <p:nvSpPr>
                <p:cNvPr id="192" name="Oval 191"/>
                <p:cNvSpPr/>
                <p:nvPr/>
              </p:nvSpPr>
              <p:spPr>
                <a:xfrm>
                  <a:off x="6364026" y="6365038"/>
                  <a:ext cx="684476" cy="684476"/>
                </a:xfrm>
                <a:prstGeom prst="ellipse">
                  <a:avLst/>
                </a:prstGeom>
                <a:solidFill>
                  <a:srgbClr val="999999"/>
                </a:solidFill>
                <a:ln w="12700">
                  <a:noFill/>
                  <a:prstDash val="solid"/>
                  <a:round/>
                  <a:headEnd/>
                  <a:tailEnd/>
                </a:ln>
              </p:spPr>
              <p:txBody>
                <a:bodyPr wrap="none" lIns="0" tIns="0" rIns="0" bIns="486344" anchor="t"/>
                <a:lstStyle/>
                <a:p>
                  <a:pPr algn="ctr" defTabSz="558057">
                    <a:lnSpc>
                      <a:spcPct val="90000"/>
                    </a:lnSpc>
                    <a:defRPr/>
                  </a:pPr>
                  <a:r>
                    <a:rPr lang="de-DE" sz="716" b="1" kern="0" dirty="0">
                      <a:solidFill>
                        <a:srgbClr val="F0F0F0"/>
                      </a:solidFill>
                      <a:latin typeface="+mj-lt"/>
                    </a:rPr>
                    <a:t>Eng.</a:t>
                  </a:r>
                  <a:br>
                    <a:rPr lang="de-DE" sz="716" b="1" kern="0" dirty="0">
                      <a:solidFill>
                        <a:srgbClr val="F0F0F0"/>
                      </a:solidFill>
                      <a:latin typeface="+mj-lt"/>
                    </a:rPr>
                  </a:br>
                  <a:r>
                    <a:rPr lang="de-DE" sz="716" b="1" kern="0" dirty="0" smtClean="0">
                      <a:solidFill>
                        <a:srgbClr val="F0F0F0"/>
                      </a:solidFill>
                      <a:latin typeface="+mj-lt"/>
                    </a:rPr>
                    <a:t>contractor</a:t>
                  </a:r>
                  <a:endParaRPr lang="de-DE" sz="716" b="1" kern="0" dirty="0">
                    <a:solidFill>
                      <a:srgbClr val="F0F0F0"/>
                    </a:solidFill>
                    <a:latin typeface="+mj-lt"/>
                  </a:endParaRPr>
                </a:p>
              </p:txBody>
            </p:sp>
            <p:sp>
              <p:nvSpPr>
                <p:cNvPr id="193" name="Freeform 51"/>
                <p:cNvSpPr>
                  <a:spLocks noChangeAspect="1" noEditPoints="1"/>
                </p:cNvSpPr>
                <p:nvPr/>
              </p:nvSpPr>
              <p:spPr bwMode="auto">
                <a:xfrm>
                  <a:off x="6562906" y="6707723"/>
                  <a:ext cx="314416" cy="260978"/>
                </a:xfrm>
                <a:custGeom>
                  <a:avLst/>
                  <a:gdLst>
                    <a:gd name="T0" fmla="*/ 2147483647 w 5744"/>
                    <a:gd name="T1" fmla="*/ 2147483647 h 4763"/>
                    <a:gd name="T2" fmla="*/ 2147483647 w 5744"/>
                    <a:gd name="T3" fmla="*/ 2147483647 h 4763"/>
                    <a:gd name="T4" fmla="*/ 2147483647 w 5744"/>
                    <a:gd name="T5" fmla="*/ 2147483647 h 4763"/>
                    <a:gd name="T6" fmla="*/ 2147483647 w 5744"/>
                    <a:gd name="T7" fmla="*/ 2147483647 h 4763"/>
                    <a:gd name="T8" fmla="*/ 2147483647 w 5744"/>
                    <a:gd name="T9" fmla="*/ 2147483647 h 4763"/>
                    <a:gd name="T10" fmla="*/ 2147483647 w 5744"/>
                    <a:gd name="T11" fmla="*/ 2147483647 h 4763"/>
                    <a:gd name="T12" fmla="*/ 2147483647 w 5744"/>
                    <a:gd name="T13" fmla="*/ 2147483647 h 4763"/>
                    <a:gd name="T14" fmla="*/ 2147483647 w 5744"/>
                    <a:gd name="T15" fmla="*/ 2147483647 h 4763"/>
                    <a:gd name="T16" fmla="*/ 2147483647 w 5744"/>
                    <a:gd name="T17" fmla="*/ 2147483647 h 4763"/>
                    <a:gd name="T18" fmla="*/ 2147483647 w 5744"/>
                    <a:gd name="T19" fmla="*/ 2147483647 h 4763"/>
                    <a:gd name="T20" fmla="*/ 2147483647 w 5744"/>
                    <a:gd name="T21" fmla="*/ 2147483647 h 4763"/>
                    <a:gd name="T22" fmla="*/ 2147483647 w 5744"/>
                    <a:gd name="T23" fmla="*/ 2147483647 h 4763"/>
                    <a:gd name="T24" fmla="*/ 2147483647 w 5744"/>
                    <a:gd name="T25" fmla="*/ 2147483647 h 4763"/>
                    <a:gd name="T26" fmla="*/ 2147483647 w 5744"/>
                    <a:gd name="T27" fmla="*/ 2147483647 h 4763"/>
                    <a:gd name="T28" fmla="*/ 2147483647 w 5744"/>
                    <a:gd name="T29" fmla="*/ 2147483647 h 4763"/>
                    <a:gd name="T30" fmla="*/ 2147483647 w 5744"/>
                    <a:gd name="T31" fmla="*/ 2147483647 h 4763"/>
                    <a:gd name="T32" fmla="*/ 2147483647 w 5744"/>
                    <a:gd name="T33" fmla="*/ 2147483647 h 4763"/>
                    <a:gd name="T34" fmla="*/ 2147483647 w 5744"/>
                    <a:gd name="T35" fmla="*/ 2147483647 h 4763"/>
                    <a:gd name="T36" fmla="*/ 2147483647 w 5744"/>
                    <a:gd name="T37" fmla="*/ 2147483647 h 4763"/>
                    <a:gd name="T38" fmla="*/ 2147483647 w 5744"/>
                    <a:gd name="T39" fmla="*/ 2147483647 h 4763"/>
                    <a:gd name="T40" fmla="*/ 2147483647 w 5744"/>
                    <a:gd name="T41" fmla="*/ 2147483647 h 4763"/>
                    <a:gd name="T42" fmla="*/ 2147483647 w 5744"/>
                    <a:gd name="T43" fmla="*/ 2147483647 h 4763"/>
                    <a:gd name="T44" fmla="*/ 2147483647 w 5744"/>
                    <a:gd name="T45" fmla="*/ 2147483647 h 4763"/>
                    <a:gd name="T46" fmla="*/ 2147483647 w 5744"/>
                    <a:gd name="T47" fmla="*/ 2147483647 h 4763"/>
                    <a:gd name="T48" fmla="*/ 2147483647 w 5744"/>
                    <a:gd name="T49" fmla="*/ 2147483647 h 4763"/>
                    <a:gd name="T50" fmla="*/ 2147483647 w 5744"/>
                    <a:gd name="T51" fmla="*/ 2147483647 h 4763"/>
                    <a:gd name="T52" fmla="*/ 2147483647 w 5744"/>
                    <a:gd name="T53" fmla="*/ 2147483647 h 4763"/>
                    <a:gd name="T54" fmla="*/ 2147483647 w 5744"/>
                    <a:gd name="T55" fmla="*/ 2147483647 h 4763"/>
                    <a:gd name="T56" fmla="*/ 2147483647 w 5744"/>
                    <a:gd name="T57" fmla="*/ 2147483647 h 4763"/>
                    <a:gd name="T58" fmla="*/ 2147483647 w 5744"/>
                    <a:gd name="T59" fmla="*/ 2147483647 h 4763"/>
                    <a:gd name="T60" fmla="*/ 2147483647 w 5744"/>
                    <a:gd name="T61" fmla="*/ 2147483647 h 4763"/>
                    <a:gd name="T62" fmla="*/ 2147483647 w 5744"/>
                    <a:gd name="T63" fmla="*/ 2147483647 h 4763"/>
                    <a:gd name="T64" fmla="*/ 2147483647 w 5744"/>
                    <a:gd name="T65" fmla="*/ 2147483647 h 4763"/>
                    <a:gd name="T66" fmla="*/ 2147483647 w 5744"/>
                    <a:gd name="T67" fmla="*/ 2147483647 h 4763"/>
                    <a:gd name="T68" fmla="*/ 2147483647 w 5744"/>
                    <a:gd name="T69" fmla="*/ 2147483647 h 4763"/>
                    <a:gd name="T70" fmla="*/ 2147483647 w 5744"/>
                    <a:gd name="T71" fmla="*/ 2147483647 h 4763"/>
                    <a:gd name="T72" fmla="*/ 2147483647 w 5744"/>
                    <a:gd name="T73" fmla="*/ 2147483647 h 4763"/>
                    <a:gd name="T74" fmla="*/ 2147483647 w 5744"/>
                    <a:gd name="T75" fmla="*/ 2147483647 h 4763"/>
                    <a:gd name="T76" fmla="*/ 2147483647 w 5744"/>
                    <a:gd name="T77" fmla="*/ 2147483647 h 4763"/>
                    <a:gd name="T78" fmla="*/ 2147483647 w 5744"/>
                    <a:gd name="T79" fmla="*/ 2147483647 h 4763"/>
                    <a:gd name="T80" fmla="*/ 2147483647 w 5744"/>
                    <a:gd name="T81" fmla="*/ 2147483647 h 4763"/>
                    <a:gd name="T82" fmla="*/ 2147483647 w 5744"/>
                    <a:gd name="T83" fmla="*/ 2147483647 h 4763"/>
                    <a:gd name="T84" fmla="*/ 2147483647 w 5744"/>
                    <a:gd name="T85" fmla="*/ 2147483647 h 4763"/>
                    <a:gd name="T86" fmla="*/ 2147483647 w 5744"/>
                    <a:gd name="T87" fmla="*/ 2147483647 h 4763"/>
                    <a:gd name="T88" fmla="*/ 2147483647 w 5744"/>
                    <a:gd name="T89" fmla="*/ 2147483647 h 4763"/>
                    <a:gd name="T90" fmla="*/ 2147483647 w 5744"/>
                    <a:gd name="T91" fmla="*/ 2147483647 h 4763"/>
                    <a:gd name="T92" fmla="*/ 2147483647 w 5744"/>
                    <a:gd name="T93" fmla="*/ 2147483647 h 4763"/>
                    <a:gd name="T94" fmla="*/ 2147483647 w 5744"/>
                    <a:gd name="T95" fmla="*/ 2147483647 h 4763"/>
                    <a:gd name="T96" fmla="*/ 2147483647 w 5744"/>
                    <a:gd name="T97" fmla="*/ 2147483647 h 4763"/>
                    <a:gd name="T98" fmla="*/ 2147483647 w 5744"/>
                    <a:gd name="T99" fmla="*/ 2147483647 h 4763"/>
                    <a:gd name="T100" fmla="*/ 2147483647 w 5744"/>
                    <a:gd name="T101" fmla="*/ 2147483647 h 4763"/>
                    <a:gd name="T102" fmla="*/ 2147483647 w 5744"/>
                    <a:gd name="T103" fmla="*/ 2147483647 h 4763"/>
                    <a:gd name="T104" fmla="*/ 2147483647 w 5744"/>
                    <a:gd name="T105" fmla="*/ 2147483647 h 4763"/>
                    <a:gd name="T106" fmla="*/ 2147483647 w 5744"/>
                    <a:gd name="T107" fmla="*/ 2147483647 h 4763"/>
                    <a:gd name="T108" fmla="*/ 2147483647 w 5744"/>
                    <a:gd name="T109" fmla="*/ 2147483647 h 4763"/>
                    <a:gd name="T110" fmla="*/ 2147483647 w 5744"/>
                    <a:gd name="T111" fmla="*/ 2147483647 h 4763"/>
                    <a:gd name="T112" fmla="*/ 2147483647 w 5744"/>
                    <a:gd name="T113" fmla="*/ 2147483647 h 4763"/>
                    <a:gd name="T114" fmla="*/ 2147483647 w 5744"/>
                    <a:gd name="T115" fmla="*/ 2147483647 h 4763"/>
                    <a:gd name="T116" fmla="*/ 2147483647 w 5744"/>
                    <a:gd name="T117" fmla="*/ 2147483647 h 4763"/>
                    <a:gd name="T118" fmla="*/ 2147483647 w 5744"/>
                    <a:gd name="T119" fmla="*/ 2147483647 h 4763"/>
                    <a:gd name="T120" fmla="*/ 2147483647 w 5744"/>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744"/>
                    <a:gd name="T184" fmla="*/ 0 h 4763"/>
                    <a:gd name="T185" fmla="*/ 5744 w 5744"/>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744" h="4763">
                      <a:moveTo>
                        <a:pt x="354" y="1386"/>
                      </a:moveTo>
                      <a:lnTo>
                        <a:pt x="258" y="1581"/>
                      </a:lnTo>
                      <a:lnTo>
                        <a:pt x="507" y="1764"/>
                      </a:lnTo>
                      <a:lnTo>
                        <a:pt x="671" y="1608"/>
                      </a:lnTo>
                      <a:lnTo>
                        <a:pt x="701" y="1618"/>
                      </a:lnTo>
                      <a:lnTo>
                        <a:pt x="731" y="1627"/>
                      </a:lnTo>
                      <a:lnTo>
                        <a:pt x="762" y="1634"/>
                      </a:lnTo>
                      <a:lnTo>
                        <a:pt x="793" y="1640"/>
                      </a:lnTo>
                      <a:lnTo>
                        <a:pt x="824" y="1644"/>
                      </a:lnTo>
                      <a:lnTo>
                        <a:pt x="856" y="1647"/>
                      </a:lnTo>
                      <a:lnTo>
                        <a:pt x="887" y="1648"/>
                      </a:lnTo>
                      <a:lnTo>
                        <a:pt x="919" y="1648"/>
                      </a:lnTo>
                      <a:lnTo>
                        <a:pt x="1018" y="1858"/>
                      </a:lnTo>
                      <a:lnTo>
                        <a:pt x="1316" y="1776"/>
                      </a:lnTo>
                      <a:lnTo>
                        <a:pt x="1294" y="1538"/>
                      </a:lnTo>
                      <a:lnTo>
                        <a:pt x="1317" y="1524"/>
                      </a:lnTo>
                      <a:lnTo>
                        <a:pt x="1340" y="1506"/>
                      </a:lnTo>
                      <a:lnTo>
                        <a:pt x="1361" y="1491"/>
                      </a:lnTo>
                      <a:lnTo>
                        <a:pt x="1383" y="1472"/>
                      </a:lnTo>
                      <a:lnTo>
                        <a:pt x="1407" y="1451"/>
                      </a:lnTo>
                      <a:lnTo>
                        <a:pt x="1430" y="1428"/>
                      </a:lnTo>
                      <a:lnTo>
                        <a:pt x="1452" y="1405"/>
                      </a:lnTo>
                      <a:lnTo>
                        <a:pt x="1472" y="1380"/>
                      </a:lnTo>
                      <a:lnTo>
                        <a:pt x="1707" y="1436"/>
                      </a:lnTo>
                      <a:lnTo>
                        <a:pt x="1830" y="1152"/>
                      </a:lnTo>
                      <a:lnTo>
                        <a:pt x="1625" y="1018"/>
                      </a:lnTo>
                      <a:lnTo>
                        <a:pt x="1628" y="989"/>
                      </a:lnTo>
                      <a:lnTo>
                        <a:pt x="1631" y="959"/>
                      </a:lnTo>
                      <a:lnTo>
                        <a:pt x="1631" y="930"/>
                      </a:lnTo>
                      <a:lnTo>
                        <a:pt x="1631" y="902"/>
                      </a:lnTo>
                      <a:lnTo>
                        <a:pt x="1629" y="871"/>
                      </a:lnTo>
                      <a:lnTo>
                        <a:pt x="1627" y="843"/>
                      </a:lnTo>
                      <a:lnTo>
                        <a:pt x="1622" y="813"/>
                      </a:lnTo>
                      <a:lnTo>
                        <a:pt x="1617" y="784"/>
                      </a:lnTo>
                      <a:lnTo>
                        <a:pt x="1807" y="634"/>
                      </a:lnTo>
                      <a:lnTo>
                        <a:pt x="1662" y="361"/>
                      </a:lnTo>
                      <a:lnTo>
                        <a:pt x="1436" y="436"/>
                      </a:lnTo>
                      <a:lnTo>
                        <a:pt x="1415" y="413"/>
                      </a:lnTo>
                      <a:lnTo>
                        <a:pt x="1392" y="391"/>
                      </a:lnTo>
                      <a:lnTo>
                        <a:pt x="1369" y="371"/>
                      </a:lnTo>
                      <a:lnTo>
                        <a:pt x="1344" y="353"/>
                      </a:lnTo>
                      <a:lnTo>
                        <a:pt x="1320" y="334"/>
                      </a:lnTo>
                      <a:lnTo>
                        <a:pt x="1294" y="318"/>
                      </a:lnTo>
                      <a:lnTo>
                        <a:pt x="1268" y="302"/>
                      </a:lnTo>
                      <a:lnTo>
                        <a:pt x="1241" y="288"/>
                      </a:lnTo>
                      <a:lnTo>
                        <a:pt x="1244" y="56"/>
                      </a:lnTo>
                      <a:lnTo>
                        <a:pt x="939" y="0"/>
                      </a:lnTo>
                      <a:lnTo>
                        <a:pt x="861" y="209"/>
                      </a:lnTo>
                      <a:lnTo>
                        <a:pt x="828" y="212"/>
                      </a:lnTo>
                      <a:lnTo>
                        <a:pt x="797" y="216"/>
                      </a:lnTo>
                      <a:lnTo>
                        <a:pt x="764" y="222"/>
                      </a:lnTo>
                      <a:lnTo>
                        <a:pt x="732" y="229"/>
                      </a:lnTo>
                      <a:lnTo>
                        <a:pt x="701" y="238"/>
                      </a:lnTo>
                      <a:lnTo>
                        <a:pt x="669" y="248"/>
                      </a:lnTo>
                      <a:lnTo>
                        <a:pt x="639" y="259"/>
                      </a:lnTo>
                      <a:lnTo>
                        <a:pt x="609" y="274"/>
                      </a:lnTo>
                      <a:lnTo>
                        <a:pt x="439" y="136"/>
                      </a:lnTo>
                      <a:lnTo>
                        <a:pt x="205" y="340"/>
                      </a:lnTo>
                      <a:lnTo>
                        <a:pt x="315" y="522"/>
                      </a:lnTo>
                      <a:lnTo>
                        <a:pt x="297" y="550"/>
                      </a:lnTo>
                      <a:lnTo>
                        <a:pt x="279" y="581"/>
                      </a:lnTo>
                      <a:lnTo>
                        <a:pt x="264" y="611"/>
                      </a:lnTo>
                      <a:lnTo>
                        <a:pt x="249" y="641"/>
                      </a:lnTo>
                      <a:lnTo>
                        <a:pt x="236" y="672"/>
                      </a:lnTo>
                      <a:lnTo>
                        <a:pt x="225" y="705"/>
                      </a:lnTo>
                      <a:lnTo>
                        <a:pt x="215" y="737"/>
                      </a:lnTo>
                      <a:lnTo>
                        <a:pt x="208" y="770"/>
                      </a:lnTo>
                      <a:lnTo>
                        <a:pt x="0" y="816"/>
                      </a:lnTo>
                      <a:lnTo>
                        <a:pt x="13" y="1125"/>
                      </a:lnTo>
                      <a:lnTo>
                        <a:pt x="225" y="1152"/>
                      </a:lnTo>
                      <a:lnTo>
                        <a:pt x="236" y="1184"/>
                      </a:lnTo>
                      <a:lnTo>
                        <a:pt x="248" y="1214"/>
                      </a:lnTo>
                      <a:lnTo>
                        <a:pt x="262" y="1244"/>
                      </a:lnTo>
                      <a:lnTo>
                        <a:pt x="278" y="1274"/>
                      </a:lnTo>
                      <a:lnTo>
                        <a:pt x="295" y="1303"/>
                      </a:lnTo>
                      <a:lnTo>
                        <a:pt x="312" y="1332"/>
                      </a:lnTo>
                      <a:lnTo>
                        <a:pt x="332" y="1359"/>
                      </a:lnTo>
                      <a:lnTo>
                        <a:pt x="354" y="1386"/>
                      </a:lnTo>
                      <a:close/>
                      <a:moveTo>
                        <a:pt x="565" y="530"/>
                      </a:moveTo>
                      <a:lnTo>
                        <a:pt x="565" y="530"/>
                      </a:lnTo>
                      <a:lnTo>
                        <a:pt x="586" y="513"/>
                      </a:lnTo>
                      <a:lnTo>
                        <a:pt x="608" y="497"/>
                      </a:lnTo>
                      <a:lnTo>
                        <a:pt x="629" y="482"/>
                      </a:lnTo>
                      <a:lnTo>
                        <a:pt x="652" y="469"/>
                      </a:lnTo>
                      <a:lnTo>
                        <a:pt x="675" y="456"/>
                      </a:lnTo>
                      <a:lnTo>
                        <a:pt x="698" y="446"/>
                      </a:lnTo>
                      <a:lnTo>
                        <a:pt x="722" y="436"/>
                      </a:lnTo>
                      <a:lnTo>
                        <a:pt x="745" y="427"/>
                      </a:lnTo>
                      <a:lnTo>
                        <a:pt x="771" y="420"/>
                      </a:lnTo>
                      <a:lnTo>
                        <a:pt x="795" y="414"/>
                      </a:lnTo>
                      <a:lnTo>
                        <a:pt x="820" y="409"/>
                      </a:lnTo>
                      <a:lnTo>
                        <a:pt x="846" y="406"/>
                      </a:lnTo>
                      <a:lnTo>
                        <a:pt x="870" y="403"/>
                      </a:lnTo>
                      <a:lnTo>
                        <a:pt x="896" y="401"/>
                      </a:lnTo>
                      <a:lnTo>
                        <a:pt x="920" y="401"/>
                      </a:lnTo>
                      <a:lnTo>
                        <a:pt x="946" y="403"/>
                      </a:lnTo>
                      <a:lnTo>
                        <a:pt x="970" y="404"/>
                      </a:lnTo>
                      <a:lnTo>
                        <a:pt x="996" y="409"/>
                      </a:lnTo>
                      <a:lnTo>
                        <a:pt x="1020" y="413"/>
                      </a:lnTo>
                      <a:lnTo>
                        <a:pt x="1045" y="419"/>
                      </a:lnTo>
                      <a:lnTo>
                        <a:pt x="1069" y="426"/>
                      </a:lnTo>
                      <a:lnTo>
                        <a:pt x="1093" y="434"/>
                      </a:lnTo>
                      <a:lnTo>
                        <a:pt x="1116" y="444"/>
                      </a:lnTo>
                      <a:lnTo>
                        <a:pt x="1139" y="454"/>
                      </a:lnTo>
                      <a:lnTo>
                        <a:pt x="1162" y="466"/>
                      </a:lnTo>
                      <a:lnTo>
                        <a:pt x="1185" y="479"/>
                      </a:lnTo>
                      <a:lnTo>
                        <a:pt x="1207" y="493"/>
                      </a:lnTo>
                      <a:lnTo>
                        <a:pt x="1228" y="509"/>
                      </a:lnTo>
                      <a:lnTo>
                        <a:pt x="1248" y="525"/>
                      </a:lnTo>
                      <a:lnTo>
                        <a:pt x="1268" y="543"/>
                      </a:lnTo>
                      <a:lnTo>
                        <a:pt x="1287" y="562"/>
                      </a:lnTo>
                      <a:lnTo>
                        <a:pt x="1306" y="582"/>
                      </a:lnTo>
                      <a:lnTo>
                        <a:pt x="1323" y="602"/>
                      </a:lnTo>
                      <a:lnTo>
                        <a:pt x="1339" y="624"/>
                      </a:lnTo>
                      <a:lnTo>
                        <a:pt x="1353" y="646"/>
                      </a:lnTo>
                      <a:lnTo>
                        <a:pt x="1366" y="668"/>
                      </a:lnTo>
                      <a:lnTo>
                        <a:pt x="1379" y="691"/>
                      </a:lnTo>
                      <a:lnTo>
                        <a:pt x="1390" y="715"/>
                      </a:lnTo>
                      <a:lnTo>
                        <a:pt x="1399" y="738"/>
                      </a:lnTo>
                      <a:lnTo>
                        <a:pt x="1407" y="763"/>
                      </a:lnTo>
                      <a:lnTo>
                        <a:pt x="1415" y="787"/>
                      </a:lnTo>
                      <a:lnTo>
                        <a:pt x="1422" y="811"/>
                      </a:lnTo>
                      <a:lnTo>
                        <a:pt x="1426" y="837"/>
                      </a:lnTo>
                      <a:lnTo>
                        <a:pt x="1430" y="861"/>
                      </a:lnTo>
                      <a:lnTo>
                        <a:pt x="1432" y="887"/>
                      </a:lnTo>
                      <a:lnTo>
                        <a:pt x="1433" y="912"/>
                      </a:lnTo>
                      <a:lnTo>
                        <a:pt x="1433" y="937"/>
                      </a:lnTo>
                      <a:lnTo>
                        <a:pt x="1432" y="962"/>
                      </a:lnTo>
                      <a:lnTo>
                        <a:pt x="1430" y="988"/>
                      </a:lnTo>
                      <a:lnTo>
                        <a:pt x="1426" y="1012"/>
                      </a:lnTo>
                      <a:lnTo>
                        <a:pt x="1422" y="1038"/>
                      </a:lnTo>
                      <a:lnTo>
                        <a:pt x="1416" y="1062"/>
                      </a:lnTo>
                      <a:lnTo>
                        <a:pt x="1409" y="1086"/>
                      </a:lnTo>
                      <a:lnTo>
                        <a:pt x="1400" y="1109"/>
                      </a:lnTo>
                      <a:lnTo>
                        <a:pt x="1392" y="1134"/>
                      </a:lnTo>
                      <a:lnTo>
                        <a:pt x="1380" y="1157"/>
                      </a:lnTo>
                      <a:lnTo>
                        <a:pt x="1369" y="1180"/>
                      </a:lnTo>
                      <a:lnTo>
                        <a:pt x="1356" y="1201"/>
                      </a:lnTo>
                      <a:lnTo>
                        <a:pt x="1341" y="1223"/>
                      </a:lnTo>
                      <a:lnTo>
                        <a:pt x="1326" y="1244"/>
                      </a:lnTo>
                      <a:lnTo>
                        <a:pt x="1310" y="1264"/>
                      </a:lnTo>
                      <a:lnTo>
                        <a:pt x="1291" y="1284"/>
                      </a:lnTo>
                      <a:lnTo>
                        <a:pt x="1273" y="1303"/>
                      </a:lnTo>
                      <a:lnTo>
                        <a:pt x="1253" y="1322"/>
                      </a:lnTo>
                      <a:lnTo>
                        <a:pt x="1232" y="1339"/>
                      </a:lnTo>
                      <a:lnTo>
                        <a:pt x="1211" y="1355"/>
                      </a:lnTo>
                      <a:lnTo>
                        <a:pt x="1190" y="1370"/>
                      </a:lnTo>
                      <a:lnTo>
                        <a:pt x="1167" y="1383"/>
                      </a:lnTo>
                      <a:lnTo>
                        <a:pt x="1144" y="1396"/>
                      </a:lnTo>
                      <a:lnTo>
                        <a:pt x="1121" y="1406"/>
                      </a:lnTo>
                      <a:lnTo>
                        <a:pt x="1096" y="1416"/>
                      </a:lnTo>
                      <a:lnTo>
                        <a:pt x="1072" y="1425"/>
                      </a:lnTo>
                      <a:lnTo>
                        <a:pt x="1048" y="1432"/>
                      </a:lnTo>
                      <a:lnTo>
                        <a:pt x="1023" y="1438"/>
                      </a:lnTo>
                      <a:lnTo>
                        <a:pt x="997" y="1443"/>
                      </a:lnTo>
                      <a:lnTo>
                        <a:pt x="973" y="1446"/>
                      </a:lnTo>
                      <a:lnTo>
                        <a:pt x="947" y="1449"/>
                      </a:lnTo>
                      <a:lnTo>
                        <a:pt x="923" y="1451"/>
                      </a:lnTo>
                      <a:lnTo>
                        <a:pt x="897" y="1451"/>
                      </a:lnTo>
                      <a:lnTo>
                        <a:pt x="873" y="1449"/>
                      </a:lnTo>
                      <a:lnTo>
                        <a:pt x="847" y="1446"/>
                      </a:lnTo>
                      <a:lnTo>
                        <a:pt x="823" y="1443"/>
                      </a:lnTo>
                      <a:lnTo>
                        <a:pt x="798" y="1439"/>
                      </a:lnTo>
                      <a:lnTo>
                        <a:pt x="772" y="1433"/>
                      </a:lnTo>
                      <a:lnTo>
                        <a:pt x="750" y="1426"/>
                      </a:lnTo>
                      <a:lnTo>
                        <a:pt x="725" y="1418"/>
                      </a:lnTo>
                      <a:lnTo>
                        <a:pt x="701" y="1408"/>
                      </a:lnTo>
                      <a:lnTo>
                        <a:pt x="678" y="1398"/>
                      </a:lnTo>
                      <a:lnTo>
                        <a:pt x="655" y="1386"/>
                      </a:lnTo>
                      <a:lnTo>
                        <a:pt x="633" y="1372"/>
                      </a:lnTo>
                      <a:lnTo>
                        <a:pt x="612" y="1359"/>
                      </a:lnTo>
                      <a:lnTo>
                        <a:pt x="590" y="1343"/>
                      </a:lnTo>
                      <a:lnTo>
                        <a:pt x="570" y="1326"/>
                      </a:lnTo>
                      <a:lnTo>
                        <a:pt x="550" y="1309"/>
                      </a:lnTo>
                      <a:lnTo>
                        <a:pt x="532" y="1290"/>
                      </a:lnTo>
                      <a:lnTo>
                        <a:pt x="513" y="1270"/>
                      </a:lnTo>
                      <a:lnTo>
                        <a:pt x="496" y="1250"/>
                      </a:lnTo>
                      <a:lnTo>
                        <a:pt x="480" y="1228"/>
                      </a:lnTo>
                      <a:lnTo>
                        <a:pt x="466" y="1205"/>
                      </a:lnTo>
                      <a:lnTo>
                        <a:pt x="451" y="1184"/>
                      </a:lnTo>
                      <a:lnTo>
                        <a:pt x="440" y="1161"/>
                      </a:lnTo>
                      <a:lnTo>
                        <a:pt x="429" y="1137"/>
                      </a:lnTo>
                      <a:lnTo>
                        <a:pt x="418" y="1114"/>
                      </a:lnTo>
                      <a:lnTo>
                        <a:pt x="410" y="1089"/>
                      </a:lnTo>
                      <a:lnTo>
                        <a:pt x="403" y="1065"/>
                      </a:lnTo>
                      <a:lnTo>
                        <a:pt x="397" y="1039"/>
                      </a:lnTo>
                      <a:lnTo>
                        <a:pt x="391" y="1015"/>
                      </a:lnTo>
                      <a:lnTo>
                        <a:pt x="388" y="990"/>
                      </a:lnTo>
                      <a:lnTo>
                        <a:pt x="386" y="965"/>
                      </a:lnTo>
                      <a:lnTo>
                        <a:pt x="384" y="940"/>
                      </a:lnTo>
                      <a:lnTo>
                        <a:pt x="384" y="914"/>
                      </a:lnTo>
                      <a:lnTo>
                        <a:pt x="386" y="889"/>
                      </a:lnTo>
                      <a:lnTo>
                        <a:pt x="388" y="864"/>
                      </a:lnTo>
                      <a:lnTo>
                        <a:pt x="391" y="840"/>
                      </a:lnTo>
                      <a:lnTo>
                        <a:pt x="396" y="814"/>
                      </a:lnTo>
                      <a:lnTo>
                        <a:pt x="403" y="790"/>
                      </a:lnTo>
                      <a:lnTo>
                        <a:pt x="410" y="765"/>
                      </a:lnTo>
                      <a:lnTo>
                        <a:pt x="417" y="742"/>
                      </a:lnTo>
                      <a:lnTo>
                        <a:pt x="427" y="718"/>
                      </a:lnTo>
                      <a:lnTo>
                        <a:pt x="437" y="695"/>
                      </a:lnTo>
                      <a:lnTo>
                        <a:pt x="450" y="672"/>
                      </a:lnTo>
                      <a:lnTo>
                        <a:pt x="463" y="651"/>
                      </a:lnTo>
                      <a:lnTo>
                        <a:pt x="477" y="628"/>
                      </a:lnTo>
                      <a:lnTo>
                        <a:pt x="492" y="608"/>
                      </a:lnTo>
                      <a:lnTo>
                        <a:pt x="509" y="586"/>
                      </a:lnTo>
                      <a:lnTo>
                        <a:pt x="526" y="568"/>
                      </a:lnTo>
                      <a:lnTo>
                        <a:pt x="545" y="548"/>
                      </a:lnTo>
                      <a:lnTo>
                        <a:pt x="565" y="530"/>
                      </a:lnTo>
                      <a:close/>
                      <a:moveTo>
                        <a:pt x="1102" y="1148"/>
                      </a:moveTo>
                      <a:lnTo>
                        <a:pt x="1102" y="1148"/>
                      </a:lnTo>
                      <a:lnTo>
                        <a:pt x="1125" y="1128"/>
                      </a:lnTo>
                      <a:lnTo>
                        <a:pt x="1144" y="1105"/>
                      </a:lnTo>
                      <a:lnTo>
                        <a:pt x="1161" y="1081"/>
                      </a:lnTo>
                      <a:lnTo>
                        <a:pt x="1174" y="1056"/>
                      </a:lnTo>
                      <a:lnTo>
                        <a:pt x="1185" y="1029"/>
                      </a:lnTo>
                      <a:lnTo>
                        <a:pt x="1194" y="1002"/>
                      </a:lnTo>
                      <a:lnTo>
                        <a:pt x="1201" y="975"/>
                      </a:lnTo>
                      <a:lnTo>
                        <a:pt x="1204" y="946"/>
                      </a:lnTo>
                      <a:lnTo>
                        <a:pt x="1204" y="919"/>
                      </a:lnTo>
                      <a:lnTo>
                        <a:pt x="1202" y="890"/>
                      </a:lnTo>
                      <a:lnTo>
                        <a:pt x="1197" y="861"/>
                      </a:lnTo>
                      <a:lnTo>
                        <a:pt x="1190" y="834"/>
                      </a:lnTo>
                      <a:lnTo>
                        <a:pt x="1179" y="807"/>
                      </a:lnTo>
                      <a:lnTo>
                        <a:pt x="1167" y="781"/>
                      </a:lnTo>
                      <a:lnTo>
                        <a:pt x="1151" y="755"/>
                      </a:lnTo>
                      <a:lnTo>
                        <a:pt x="1132" y="732"/>
                      </a:lnTo>
                      <a:lnTo>
                        <a:pt x="1111" y="711"/>
                      </a:lnTo>
                      <a:lnTo>
                        <a:pt x="1088" y="691"/>
                      </a:lnTo>
                      <a:lnTo>
                        <a:pt x="1065" y="675"/>
                      </a:lnTo>
                      <a:lnTo>
                        <a:pt x="1039" y="661"/>
                      </a:lnTo>
                      <a:lnTo>
                        <a:pt x="1013" y="649"/>
                      </a:lnTo>
                      <a:lnTo>
                        <a:pt x="986" y="641"/>
                      </a:lnTo>
                      <a:lnTo>
                        <a:pt x="957" y="635"/>
                      </a:lnTo>
                      <a:lnTo>
                        <a:pt x="930" y="631"/>
                      </a:lnTo>
                      <a:lnTo>
                        <a:pt x="901" y="631"/>
                      </a:lnTo>
                      <a:lnTo>
                        <a:pt x="873" y="632"/>
                      </a:lnTo>
                      <a:lnTo>
                        <a:pt x="844" y="638"/>
                      </a:lnTo>
                      <a:lnTo>
                        <a:pt x="817" y="645"/>
                      </a:lnTo>
                      <a:lnTo>
                        <a:pt x="790" y="655"/>
                      </a:lnTo>
                      <a:lnTo>
                        <a:pt x="764" y="668"/>
                      </a:lnTo>
                      <a:lnTo>
                        <a:pt x="739" y="684"/>
                      </a:lnTo>
                      <a:lnTo>
                        <a:pt x="715" y="702"/>
                      </a:lnTo>
                      <a:lnTo>
                        <a:pt x="694" y="724"/>
                      </a:lnTo>
                      <a:lnTo>
                        <a:pt x="674" y="747"/>
                      </a:lnTo>
                      <a:lnTo>
                        <a:pt x="658" y="771"/>
                      </a:lnTo>
                      <a:lnTo>
                        <a:pt x="643" y="796"/>
                      </a:lnTo>
                      <a:lnTo>
                        <a:pt x="632" y="823"/>
                      </a:lnTo>
                      <a:lnTo>
                        <a:pt x="623" y="850"/>
                      </a:lnTo>
                      <a:lnTo>
                        <a:pt x="618" y="877"/>
                      </a:lnTo>
                      <a:lnTo>
                        <a:pt x="615" y="906"/>
                      </a:lnTo>
                      <a:lnTo>
                        <a:pt x="613" y="933"/>
                      </a:lnTo>
                      <a:lnTo>
                        <a:pt x="616" y="962"/>
                      </a:lnTo>
                      <a:lnTo>
                        <a:pt x="621" y="990"/>
                      </a:lnTo>
                      <a:lnTo>
                        <a:pt x="628" y="1018"/>
                      </a:lnTo>
                      <a:lnTo>
                        <a:pt x="639" y="1045"/>
                      </a:lnTo>
                      <a:lnTo>
                        <a:pt x="652" y="1071"/>
                      </a:lnTo>
                      <a:lnTo>
                        <a:pt x="668" y="1097"/>
                      </a:lnTo>
                      <a:lnTo>
                        <a:pt x="686" y="1119"/>
                      </a:lnTo>
                      <a:lnTo>
                        <a:pt x="707" y="1141"/>
                      </a:lnTo>
                      <a:lnTo>
                        <a:pt x="729" y="1161"/>
                      </a:lnTo>
                      <a:lnTo>
                        <a:pt x="754" y="1177"/>
                      </a:lnTo>
                      <a:lnTo>
                        <a:pt x="780" y="1191"/>
                      </a:lnTo>
                      <a:lnTo>
                        <a:pt x="805" y="1203"/>
                      </a:lnTo>
                      <a:lnTo>
                        <a:pt x="833" y="1211"/>
                      </a:lnTo>
                      <a:lnTo>
                        <a:pt x="860" y="1217"/>
                      </a:lnTo>
                      <a:lnTo>
                        <a:pt x="889" y="1221"/>
                      </a:lnTo>
                      <a:lnTo>
                        <a:pt x="917" y="1221"/>
                      </a:lnTo>
                      <a:lnTo>
                        <a:pt x="944" y="1218"/>
                      </a:lnTo>
                      <a:lnTo>
                        <a:pt x="973" y="1214"/>
                      </a:lnTo>
                      <a:lnTo>
                        <a:pt x="1000" y="1207"/>
                      </a:lnTo>
                      <a:lnTo>
                        <a:pt x="1028" y="1197"/>
                      </a:lnTo>
                      <a:lnTo>
                        <a:pt x="1053" y="1184"/>
                      </a:lnTo>
                      <a:lnTo>
                        <a:pt x="1079" y="1167"/>
                      </a:lnTo>
                      <a:lnTo>
                        <a:pt x="1102" y="1148"/>
                      </a:lnTo>
                      <a:close/>
                      <a:moveTo>
                        <a:pt x="1595" y="2571"/>
                      </a:moveTo>
                      <a:lnTo>
                        <a:pt x="1595" y="2571"/>
                      </a:lnTo>
                      <a:lnTo>
                        <a:pt x="1559" y="2573"/>
                      </a:lnTo>
                      <a:lnTo>
                        <a:pt x="1523" y="2576"/>
                      </a:lnTo>
                      <a:lnTo>
                        <a:pt x="1489" y="2580"/>
                      </a:lnTo>
                      <a:lnTo>
                        <a:pt x="1455" y="2586"/>
                      </a:lnTo>
                      <a:lnTo>
                        <a:pt x="1420" y="2594"/>
                      </a:lnTo>
                      <a:lnTo>
                        <a:pt x="1387" y="2603"/>
                      </a:lnTo>
                      <a:lnTo>
                        <a:pt x="1356" y="2614"/>
                      </a:lnTo>
                      <a:lnTo>
                        <a:pt x="1324" y="2627"/>
                      </a:lnTo>
                      <a:lnTo>
                        <a:pt x="1293" y="2640"/>
                      </a:lnTo>
                      <a:lnTo>
                        <a:pt x="1263" y="2656"/>
                      </a:lnTo>
                      <a:lnTo>
                        <a:pt x="1234" y="2673"/>
                      </a:lnTo>
                      <a:lnTo>
                        <a:pt x="1205" y="2690"/>
                      </a:lnTo>
                      <a:lnTo>
                        <a:pt x="1178" y="2710"/>
                      </a:lnTo>
                      <a:lnTo>
                        <a:pt x="1152" y="2731"/>
                      </a:lnTo>
                      <a:lnTo>
                        <a:pt x="1126" y="2753"/>
                      </a:lnTo>
                      <a:lnTo>
                        <a:pt x="1102" y="2776"/>
                      </a:lnTo>
                      <a:lnTo>
                        <a:pt x="1079" y="2801"/>
                      </a:lnTo>
                      <a:lnTo>
                        <a:pt x="1058" y="2825"/>
                      </a:lnTo>
                      <a:lnTo>
                        <a:pt x="1038" y="2851"/>
                      </a:lnTo>
                      <a:lnTo>
                        <a:pt x="1018" y="2880"/>
                      </a:lnTo>
                      <a:lnTo>
                        <a:pt x="1000" y="2907"/>
                      </a:lnTo>
                      <a:lnTo>
                        <a:pt x="983" y="2937"/>
                      </a:lnTo>
                      <a:lnTo>
                        <a:pt x="967" y="2966"/>
                      </a:lnTo>
                      <a:lnTo>
                        <a:pt x="953" y="2997"/>
                      </a:lnTo>
                      <a:lnTo>
                        <a:pt x="942" y="3029"/>
                      </a:lnTo>
                      <a:lnTo>
                        <a:pt x="930" y="3062"/>
                      </a:lnTo>
                      <a:lnTo>
                        <a:pt x="922" y="3095"/>
                      </a:lnTo>
                      <a:lnTo>
                        <a:pt x="913" y="3128"/>
                      </a:lnTo>
                      <a:lnTo>
                        <a:pt x="907" y="3162"/>
                      </a:lnTo>
                      <a:lnTo>
                        <a:pt x="903" y="3196"/>
                      </a:lnTo>
                      <a:lnTo>
                        <a:pt x="900" y="3232"/>
                      </a:lnTo>
                      <a:lnTo>
                        <a:pt x="899" y="3268"/>
                      </a:lnTo>
                      <a:lnTo>
                        <a:pt x="900" y="3304"/>
                      </a:lnTo>
                      <a:lnTo>
                        <a:pt x="903" y="3340"/>
                      </a:lnTo>
                      <a:lnTo>
                        <a:pt x="907" y="3374"/>
                      </a:lnTo>
                      <a:lnTo>
                        <a:pt x="913" y="3408"/>
                      </a:lnTo>
                      <a:lnTo>
                        <a:pt x="922" y="3441"/>
                      </a:lnTo>
                      <a:lnTo>
                        <a:pt x="930" y="3474"/>
                      </a:lnTo>
                      <a:lnTo>
                        <a:pt x="942" y="3507"/>
                      </a:lnTo>
                      <a:lnTo>
                        <a:pt x="953" y="3539"/>
                      </a:lnTo>
                      <a:lnTo>
                        <a:pt x="967" y="3569"/>
                      </a:lnTo>
                      <a:lnTo>
                        <a:pt x="983" y="3599"/>
                      </a:lnTo>
                      <a:lnTo>
                        <a:pt x="1000" y="3629"/>
                      </a:lnTo>
                      <a:lnTo>
                        <a:pt x="1018" y="3656"/>
                      </a:lnTo>
                      <a:lnTo>
                        <a:pt x="1038" y="3684"/>
                      </a:lnTo>
                      <a:lnTo>
                        <a:pt x="1058" y="3711"/>
                      </a:lnTo>
                      <a:lnTo>
                        <a:pt x="1079" y="3735"/>
                      </a:lnTo>
                      <a:lnTo>
                        <a:pt x="1102" y="3760"/>
                      </a:lnTo>
                      <a:lnTo>
                        <a:pt x="1126" y="3783"/>
                      </a:lnTo>
                      <a:lnTo>
                        <a:pt x="1152" y="3806"/>
                      </a:lnTo>
                      <a:lnTo>
                        <a:pt x="1178" y="3826"/>
                      </a:lnTo>
                      <a:lnTo>
                        <a:pt x="1205" y="3846"/>
                      </a:lnTo>
                      <a:lnTo>
                        <a:pt x="1234" y="3863"/>
                      </a:lnTo>
                      <a:lnTo>
                        <a:pt x="1263" y="3880"/>
                      </a:lnTo>
                      <a:lnTo>
                        <a:pt x="1293" y="3896"/>
                      </a:lnTo>
                      <a:lnTo>
                        <a:pt x="1324" y="3909"/>
                      </a:lnTo>
                      <a:lnTo>
                        <a:pt x="1356" y="3922"/>
                      </a:lnTo>
                      <a:lnTo>
                        <a:pt x="1387" y="3933"/>
                      </a:lnTo>
                      <a:lnTo>
                        <a:pt x="1420" y="3942"/>
                      </a:lnTo>
                      <a:lnTo>
                        <a:pt x="1455" y="3950"/>
                      </a:lnTo>
                      <a:lnTo>
                        <a:pt x="1489" y="3956"/>
                      </a:lnTo>
                      <a:lnTo>
                        <a:pt x="1523" y="3960"/>
                      </a:lnTo>
                      <a:lnTo>
                        <a:pt x="1559" y="3963"/>
                      </a:lnTo>
                      <a:lnTo>
                        <a:pt x="1595" y="3965"/>
                      </a:lnTo>
                      <a:lnTo>
                        <a:pt x="1631" y="3963"/>
                      </a:lnTo>
                      <a:lnTo>
                        <a:pt x="1665" y="3960"/>
                      </a:lnTo>
                      <a:lnTo>
                        <a:pt x="1701" y="3956"/>
                      </a:lnTo>
                      <a:lnTo>
                        <a:pt x="1736" y="3950"/>
                      </a:lnTo>
                      <a:lnTo>
                        <a:pt x="1768" y="3942"/>
                      </a:lnTo>
                      <a:lnTo>
                        <a:pt x="1801" y="3933"/>
                      </a:lnTo>
                      <a:lnTo>
                        <a:pt x="1834" y="3922"/>
                      </a:lnTo>
                      <a:lnTo>
                        <a:pt x="1866" y="3909"/>
                      </a:lnTo>
                      <a:lnTo>
                        <a:pt x="1896" y="3896"/>
                      </a:lnTo>
                      <a:lnTo>
                        <a:pt x="1926" y="3880"/>
                      </a:lnTo>
                      <a:lnTo>
                        <a:pt x="1956" y="3863"/>
                      </a:lnTo>
                      <a:lnTo>
                        <a:pt x="1983" y="3846"/>
                      </a:lnTo>
                      <a:lnTo>
                        <a:pt x="2011" y="3826"/>
                      </a:lnTo>
                      <a:lnTo>
                        <a:pt x="2038" y="3806"/>
                      </a:lnTo>
                      <a:lnTo>
                        <a:pt x="2062" y="3783"/>
                      </a:lnTo>
                      <a:lnTo>
                        <a:pt x="2087" y="3760"/>
                      </a:lnTo>
                      <a:lnTo>
                        <a:pt x="2110" y="3735"/>
                      </a:lnTo>
                      <a:lnTo>
                        <a:pt x="2131" y="3711"/>
                      </a:lnTo>
                      <a:lnTo>
                        <a:pt x="2153" y="3684"/>
                      </a:lnTo>
                      <a:lnTo>
                        <a:pt x="2171" y="3656"/>
                      </a:lnTo>
                      <a:lnTo>
                        <a:pt x="2190" y="3629"/>
                      </a:lnTo>
                      <a:lnTo>
                        <a:pt x="2207" y="3599"/>
                      </a:lnTo>
                      <a:lnTo>
                        <a:pt x="2221" y="3569"/>
                      </a:lnTo>
                      <a:lnTo>
                        <a:pt x="2236" y="3539"/>
                      </a:lnTo>
                      <a:lnTo>
                        <a:pt x="2249" y="3507"/>
                      </a:lnTo>
                      <a:lnTo>
                        <a:pt x="2259" y="3474"/>
                      </a:lnTo>
                      <a:lnTo>
                        <a:pt x="2269" y="3441"/>
                      </a:lnTo>
                      <a:lnTo>
                        <a:pt x="2276" y="3408"/>
                      </a:lnTo>
                      <a:lnTo>
                        <a:pt x="2283" y="3374"/>
                      </a:lnTo>
                      <a:lnTo>
                        <a:pt x="2287" y="3340"/>
                      </a:lnTo>
                      <a:lnTo>
                        <a:pt x="2290" y="3304"/>
                      </a:lnTo>
                      <a:lnTo>
                        <a:pt x="2290" y="3268"/>
                      </a:lnTo>
                      <a:lnTo>
                        <a:pt x="2290" y="3232"/>
                      </a:lnTo>
                      <a:lnTo>
                        <a:pt x="2287" y="3196"/>
                      </a:lnTo>
                      <a:lnTo>
                        <a:pt x="2283" y="3162"/>
                      </a:lnTo>
                      <a:lnTo>
                        <a:pt x="2276" y="3128"/>
                      </a:lnTo>
                      <a:lnTo>
                        <a:pt x="2269" y="3095"/>
                      </a:lnTo>
                      <a:lnTo>
                        <a:pt x="2259" y="3062"/>
                      </a:lnTo>
                      <a:lnTo>
                        <a:pt x="2249" y="3029"/>
                      </a:lnTo>
                      <a:lnTo>
                        <a:pt x="2236" y="2997"/>
                      </a:lnTo>
                      <a:lnTo>
                        <a:pt x="2221" y="2966"/>
                      </a:lnTo>
                      <a:lnTo>
                        <a:pt x="2207" y="2937"/>
                      </a:lnTo>
                      <a:lnTo>
                        <a:pt x="2190" y="2907"/>
                      </a:lnTo>
                      <a:lnTo>
                        <a:pt x="2171" y="2880"/>
                      </a:lnTo>
                      <a:lnTo>
                        <a:pt x="2153" y="2851"/>
                      </a:lnTo>
                      <a:lnTo>
                        <a:pt x="2131" y="2825"/>
                      </a:lnTo>
                      <a:lnTo>
                        <a:pt x="2110" y="2801"/>
                      </a:lnTo>
                      <a:lnTo>
                        <a:pt x="2087" y="2776"/>
                      </a:lnTo>
                      <a:lnTo>
                        <a:pt x="2062" y="2753"/>
                      </a:lnTo>
                      <a:lnTo>
                        <a:pt x="2038" y="2731"/>
                      </a:lnTo>
                      <a:lnTo>
                        <a:pt x="2011" y="2710"/>
                      </a:lnTo>
                      <a:lnTo>
                        <a:pt x="1983" y="2690"/>
                      </a:lnTo>
                      <a:lnTo>
                        <a:pt x="1956" y="2673"/>
                      </a:lnTo>
                      <a:lnTo>
                        <a:pt x="1926" y="2656"/>
                      </a:lnTo>
                      <a:lnTo>
                        <a:pt x="1896" y="2640"/>
                      </a:lnTo>
                      <a:lnTo>
                        <a:pt x="1866" y="2627"/>
                      </a:lnTo>
                      <a:lnTo>
                        <a:pt x="1834" y="2614"/>
                      </a:lnTo>
                      <a:lnTo>
                        <a:pt x="1801" y="2603"/>
                      </a:lnTo>
                      <a:lnTo>
                        <a:pt x="1768" y="2594"/>
                      </a:lnTo>
                      <a:lnTo>
                        <a:pt x="1736" y="2586"/>
                      </a:lnTo>
                      <a:lnTo>
                        <a:pt x="1701" y="2580"/>
                      </a:lnTo>
                      <a:lnTo>
                        <a:pt x="1665" y="2576"/>
                      </a:lnTo>
                      <a:lnTo>
                        <a:pt x="1631" y="2573"/>
                      </a:lnTo>
                      <a:lnTo>
                        <a:pt x="1595" y="2571"/>
                      </a:lnTo>
                      <a:close/>
                      <a:moveTo>
                        <a:pt x="1595" y="3761"/>
                      </a:moveTo>
                      <a:lnTo>
                        <a:pt x="1595" y="3761"/>
                      </a:lnTo>
                      <a:lnTo>
                        <a:pt x="1569" y="3761"/>
                      </a:lnTo>
                      <a:lnTo>
                        <a:pt x="1545" y="3758"/>
                      </a:lnTo>
                      <a:lnTo>
                        <a:pt x="1519" y="3755"/>
                      </a:lnTo>
                      <a:lnTo>
                        <a:pt x="1495" y="3751"/>
                      </a:lnTo>
                      <a:lnTo>
                        <a:pt x="1472" y="3745"/>
                      </a:lnTo>
                      <a:lnTo>
                        <a:pt x="1447" y="3740"/>
                      </a:lnTo>
                      <a:lnTo>
                        <a:pt x="1425" y="3731"/>
                      </a:lnTo>
                      <a:lnTo>
                        <a:pt x="1403" y="3722"/>
                      </a:lnTo>
                      <a:lnTo>
                        <a:pt x="1382" y="3712"/>
                      </a:lnTo>
                      <a:lnTo>
                        <a:pt x="1360" y="3701"/>
                      </a:lnTo>
                      <a:lnTo>
                        <a:pt x="1339" y="3689"/>
                      </a:lnTo>
                      <a:lnTo>
                        <a:pt x="1318" y="3677"/>
                      </a:lnTo>
                      <a:lnTo>
                        <a:pt x="1300" y="3664"/>
                      </a:lnTo>
                      <a:lnTo>
                        <a:pt x="1281" y="3648"/>
                      </a:lnTo>
                      <a:lnTo>
                        <a:pt x="1263" y="3634"/>
                      </a:lnTo>
                      <a:lnTo>
                        <a:pt x="1245" y="3616"/>
                      </a:lnTo>
                      <a:lnTo>
                        <a:pt x="1230" y="3599"/>
                      </a:lnTo>
                      <a:lnTo>
                        <a:pt x="1214" y="3582"/>
                      </a:lnTo>
                      <a:lnTo>
                        <a:pt x="1200" y="3563"/>
                      </a:lnTo>
                      <a:lnTo>
                        <a:pt x="1185" y="3543"/>
                      </a:lnTo>
                      <a:lnTo>
                        <a:pt x="1174" y="3523"/>
                      </a:lnTo>
                      <a:lnTo>
                        <a:pt x="1161" y="3503"/>
                      </a:lnTo>
                      <a:lnTo>
                        <a:pt x="1151" y="3482"/>
                      </a:lnTo>
                      <a:lnTo>
                        <a:pt x="1141" y="3460"/>
                      </a:lnTo>
                      <a:lnTo>
                        <a:pt x="1132" y="3437"/>
                      </a:lnTo>
                      <a:lnTo>
                        <a:pt x="1124" y="3414"/>
                      </a:lnTo>
                      <a:lnTo>
                        <a:pt x="1118" y="3391"/>
                      </a:lnTo>
                      <a:lnTo>
                        <a:pt x="1112" y="3367"/>
                      </a:lnTo>
                      <a:lnTo>
                        <a:pt x="1108" y="3343"/>
                      </a:lnTo>
                      <a:lnTo>
                        <a:pt x="1105" y="3318"/>
                      </a:lnTo>
                      <a:lnTo>
                        <a:pt x="1102" y="3294"/>
                      </a:lnTo>
                      <a:lnTo>
                        <a:pt x="1102" y="3268"/>
                      </a:lnTo>
                      <a:lnTo>
                        <a:pt x="1102" y="3242"/>
                      </a:lnTo>
                      <a:lnTo>
                        <a:pt x="1105" y="3218"/>
                      </a:lnTo>
                      <a:lnTo>
                        <a:pt x="1108" y="3193"/>
                      </a:lnTo>
                      <a:lnTo>
                        <a:pt x="1112" y="3169"/>
                      </a:lnTo>
                      <a:lnTo>
                        <a:pt x="1118" y="3145"/>
                      </a:lnTo>
                      <a:lnTo>
                        <a:pt x="1124" y="3122"/>
                      </a:lnTo>
                      <a:lnTo>
                        <a:pt x="1132" y="3099"/>
                      </a:lnTo>
                      <a:lnTo>
                        <a:pt x="1141" y="3076"/>
                      </a:lnTo>
                      <a:lnTo>
                        <a:pt x="1151" y="3054"/>
                      </a:lnTo>
                      <a:lnTo>
                        <a:pt x="1161" y="3033"/>
                      </a:lnTo>
                      <a:lnTo>
                        <a:pt x="1174" y="3013"/>
                      </a:lnTo>
                      <a:lnTo>
                        <a:pt x="1185" y="2993"/>
                      </a:lnTo>
                      <a:lnTo>
                        <a:pt x="1200" y="2973"/>
                      </a:lnTo>
                      <a:lnTo>
                        <a:pt x="1214" y="2954"/>
                      </a:lnTo>
                      <a:lnTo>
                        <a:pt x="1230" y="2937"/>
                      </a:lnTo>
                      <a:lnTo>
                        <a:pt x="1245" y="2920"/>
                      </a:lnTo>
                      <a:lnTo>
                        <a:pt x="1263" y="2903"/>
                      </a:lnTo>
                      <a:lnTo>
                        <a:pt x="1281" y="2888"/>
                      </a:lnTo>
                      <a:lnTo>
                        <a:pt x="1300" y="2872"/>
                      </a:lnTo>
                      <a:lnTo>
                        <a:pt x="1318" y="2860"/>
                      </a:lnTo>
                      <a:lnTo>
                        <a:pt x="1339" y="2847"/>
                      </a:lnTo>
                      <a:lnTo>
                        <a:pt x="1360" y="2834"/>
                      </a:lnTo>
                      <a:lnTo>
                        <a:pt x="1382" y="2824"/>
                      </a:lnTo>
                      <a:lnTo>
                        <a:pt x="1403" y="2814"/>
                      </a:lnTo>
                      <a:lnTo>
                        <a:pt x="1425" y="2805"/>
                      </a:lnTo>
                      <a:lnTo>
                        <a:pt x="1447" y="2796"/>
                      </a:lnTo>
                      <a:lnTo>
                        <a:pt x="1472" y="2791"/>
                      </a:lnTo>
                      <a:lnTo>
                        <a:pt x="1495" y="2785"/>
                      </a:lnTo>
                      <a:lnTo>
                        <a:pt x="1519" y="2781"/>
                      </a:lnTo>
                      <a:lnTo>
                        <a:pt x="1545" y="2778"/>
                      </a:lnTo>
                      <a:lnTo>
                        <a:pt x="1569" y="2775"/>
                      </a:lnTo>
                      <a:lnTo>
                        <a:pt x="1595" y="2775"/>
                      </a:lnTo>
                      <a:lnTo>
                        <a:pt x="1619" y="2775"/>
                      </a:lnTo>
                      <a:lnTo>
                        <a:pt x="1645" y="2778"/>
                      </a:lnTo>
                      <a:lnTo>
                        <a:pt x="1670" y="2781"/>
                      </a:lnTo>
                      <a:lnTo>
                        <a:pt x="1694" y="2785"/>
                      </a:lnTo>
                      <a:lnTo>
                        <a:pt x="1718" y="2791"/>
                      </a:lnTo>
                      <a:lnTo>
                        <a:pt x="1741" y="2796"/>
                      </a:lnTo>
                      <a:lnTo>
                        <a:pt x="1764" y="2805"/>
                      </a:lnTo>
                      <a:lnTo>
                        <a:pt x="1787" y="2814"/>
                      </a:lnTo>
                      <a:lnTo>
                        <a:pt x="1809" y="2824"/>
                      </a:lnTo>
                      <a:lnTo>
                        <a:pt x="1830" y="2834"/>
                      </a:lnTo>
                      <a:lnTo>
                        <a:pt x="1850" y="2847"/>
                      </a:lnTo>
                      <a:lnTo>
                        <a:pt x="1870" y="2860"/>
                      </a:lnTo>
                      <a:lnTo>
                        <a:pt x="1890" y="2872"/>
                      </a:lnTo>
                      <a:lnTo>
                        <a:pt x="1909" y="2888"/>
                      </a:lnTo>
                      <a:lnTo>
                        <a:pt x="1926" y="2903"/>
                      </a:lnTo>
                      <a:lnTo>
                        <a:pt x="1943" y="2920"/>
                      </a:lnTo>
                      <a:lnTo>
                        <a:pt x="1959" y="2937"/>
                      </a:lnTo>
                      <a:lnTo>
                        <a:pt x="1975" y="2954"/>
                      </a:lnTo>
                      <a:lnTo>
                        <a:pt x="1989" y="2973"/>
                      </a:lnTo>
                      <a:lnTo>
                        <a:pt x="2004" y="2993"/>
                      </a:lnTo>
                      <a:lnTo>
                        <a:pt x="2016" y="3013"/>
                      </a:lnTo>
                      <a:lnTo>
                        <a:pt x="2028" y="3033"/>
                      </a:lnTo>
                      <a:lnTo>
                        <a:pt x="2039" y="3054"/>
                      </a:lnTo>
                      <a:lnTo>
                        <a:pt x="2049" y="3076"/>
                      </a:lnTo>
                      <a:lnTo>
                        <a:pt x="2058" y="3099"/>
                      </a:lnTo>
                      <a:lnTo>
                        <a:pt x="2065" y="3122"/>
                      </a:lnTo>
                      <a:lnTo>
                        <a:pt x="2072" y="3145"/>
                      </a:lnTo>
                      <a:lnTo>
                        <a:pt x="2078" y="3169"/>
                      </a:lnTo>
                      <a:lnTo>
                        <a:pt x="2082" y="3193"/>
                      </a:lnTo>
                      <a:lnTo>
                        <a:pt x="2085" y="3218"/>
                      </a:lnTo>
                      <a:lnTo>
                        <a:pt x="2087" y="3242"/>
                      </a:lnTo>
                      <a:lnTo>
                        <a:pt x="2088" y="3268"/>
                      </a:lnTo>
                      <a:lnTo>
                        <a:pt x="2087" y="3294"/>
                      </a:lnTo>
                      <a:lnTo>
                        <a:pt x="2085" y="3318"/>
                      </a:lnTo>
                      <a:lnTo>
                        <a:pt x="2082" y="3343"/>
                      </a:lnTo>
                      <a:lnTo>
                        <a:pt x="2078" y="3367"/>
                      </a:lnTo>
                      <a:lnTo>
                        <a:pt x="2072" y="3391"/>
                      </a:lnTo>
                      <a:lnTo>
                        <a:pt x="2065" y="3414"/>
                      </a:lnTo>
                      <a:lnTo>
                        <a:pt x="2058" y="3437"/>
                      </a:lnTo>
                      <a:lnTo>
                        <a:pt x="2049" y="3460"/>
                      </a:lnTo>
                      <a:lnTo>
                        <a:pt x="2039" y="3482"/>
                      </a:lnTo>
                      <a:lnTo>
                        <a:pt x="2028" y="3503"/>
                      </a:lnTo>
                      <a:lnTo>
                        <a:pt x="2016" y="3523"/>
                      </a:lnTo>
                      <a:lnTo>
                        <a:pt x="2004" y="3543"/>
                      </a:lnTo>
                      <a:lnTo>
                        <a:pt x="1989" y="3563"/>
                      </a:lnTo>
                      <a:lnTo>
                        <a:pt x="1975" y="3582"/>
                      </a:lnTo>
                      <a:lnTo>
                        <a:pt x="1959" y="3599"/>
                      </a:lnTo>
                      <a:lnTo>
                        <a:pt x="1943" y="3616"/>
                      </a:lnTo>
                      <a:lnTo>
                        <a:pt x="1926" y="3634"/>
                      </a:lnTo>
                      <a:lnTo>
                        <a:pt x="1909" y="3648"/>
                      </a:lnTo>
                      <a:lnTo>
                        <a:pt x="1890" y="3664"/>
                      </a:lnTo>
                      <a:lnTo>
                        <a:pt x="1870" y="3677"/>
                      </a:lnTo>
                      <a:lnTo>
                        <a:pt x="1850" y="3689"/>
                      </a:lnTo>
                      <a:lnTo>
                        <a:pt x="1830" y="3701"/>
                      </a:lnTo>
                      <a:lnTo>
                        <a:pt x="1809" y="3712"/>
                      </a:lnTo>
                      <a:lnTo>
                        <a:pt x="1787" y="3722"/>
                      </a:lnTo>
                      <a:lnTo>
                        <a:pt x="1764" y="3731"/>
                      </a:lnTo>
                      <a:lnTo>
                        <a:pt x="1741" y="3740"/>
                      </a:lnTo>
                      <a:lnTo>
                        <a:pt x="1718" y="3745"/>
                      </a:lnTo>
                      <a:lnTo>
                        <a:pt x="1694" y="3751"/>
                      </a:lnTo>
                      <a:lnTo>
                        <a:pt x="1670" y="3755"/>
                      </a:lnTo>
                      <a:lnTo>
                        <a:pt x="1645" y="3758"/>
                      </a:lnTo>
                      <a:lnTo>
                        <a:pt x="1619" y="3761"/>
                      </a:lnTo>
                      <a:lnTo>
                        <a:pt x="1595" y="3761"/>
                      </a:lnTo>
                      <a:close/>
                      <a:moveTo>
                        <a:pt x="2699" y="2845"/>
                      </a:moveTo>
                      <a:lnTo>
                        <a:pt x="2954" y="2632"/>
                      </a:lnTo>
                      <a:lnTo>
                        <a:pt x="2796" y="2359"/>
                      </a:lnTo>
                      <a:lnTo>
                        <a:pt x="2472" y="2477"/>
                      </a:lnTo>
                      <a:lnTo>
                        <a:pt x="2441" y="2444"/>
                      </a:lnTo>
                      <a:lnTo>
                        <a:pt x="2408" y="2411"/>
                      </a:lnTo>
                      <a:lnTo>
                        <a:pt x="2375" y="2379"/>
                      </a:lnTo>
                      <a:lnTo>
                        <a:pt x="2339" y="2351"/>
                      </a:lnTo>
                      <a:lnTo>
                        <a:pt x="2454" y="2037"/>
                      </a:lnTo>
                      <a:lnTo>
                        <a:pt x="2181" y="1881"/>
                      </a:lnTo>
                      <a:lnTo>
                        <a:pt x="1959" y="2144"/>
                      </a:lnTo>
                      <a:lnTo>
                        <a:pt x="1916" y="2130"/>
                      </a:lnTo>
                      <a:lnTo>
                        <a:pt x="1872" y="2118"/>
                      </a:lnTo>
                      <a:lnTo>
                        <a:pt x="1826" y="2108"/>
                      </a:lnTo>
                      <a:lnTo>
                        <a:pt x="1780" y="2101"/>
                      </a:lnTo>
                      <a:lnTo>
                        <a:pt x="1723" y="1773"/>
                      </a:lnTo>
                      <a:lnTo>
                        <a:pt x="1409" y="1773"/>
                      </a:lnTo>
                      <a:lnTo>
                        <a:pt x="1349" y="2113"/>
                      </a:lnTo>
                      <a:lnTo>
                        <a:pt x="1303" y="2123"/>
                      </a:lnTo>
                      <a:lnTo>
                        <a:pt x="1258" y="2134"/>
                      </a:lnTo>
                      <a:lnTo>
                        <a:pt x="1215" y="2149"/>
                      </a:lnTo>
                      <a:lnTo>
                        <a:pt x="1172" y="2164"/>
                      </a:lnTo>
                      <a:lnTo>
                        <a:pt x="957" y="1909"/>
                      </a:lnTo>
                      <a:lnTo>
                        <a:pt x="685" y="2067"/>
                      </a:lnTo>
                      <a:lnTo>
                        <a:pt x="804" y="2391"/>
                      </a:lnTo>
                      <a:lnTo>
                        <a:pt x="770" y="2422"/>
                      </a:lnTo>
                      <a:lnTo>
                        <a:pt x="738" y="2454"/>
                      </a:lnTo>
                      <a:lnTo>
                        <a:pt x="707" y="2488"/>
                      </a:lnTo>
                      <a:lnTo>
                        <a:pt x="676" y="2524"/>
                      </a:lnTo>
                      <a:lnTo>
                        <a:pt x="364" y="2409"/>
                      </a:lnTo>
                      <a:lnTo>
                        <a:pt x="206" y="2682"/>
                      </a:lnTo>
                      <a:lnTo>
                        <a:pt x="470" y="2904"/>
                      </a:lnTo>
                      <a:lnTo>
                        <a:pt x="457" y="2947"/>
                      </a:lnTo>
                      <a:lnTo>
                        <a:pt x="446" y="2991"/>
                      </a:lnTo>
                      <a:lnTo>
                        <a:pt x="436" y="3036"/>
                      </a:lnTo>
                      <a:lnTo>
                        <a:pt x="427" y="3082"/>
                      </a:lnTo>
                      <a:lnTo>
                        <a:pt x="100" y="3140"/>
                      </a:lnTo>
                      <a:lnTo>
                        <a:pt x="100" y="3454"/>
                      </a:lnTo>
                      <a:lnTo>
                        <a:pt x="439" y="3515"/>
                      </a:lnTo>
                      <a:lnTo>
                        <a:pt x="450" y="3559"/>
                      </a:lnTo>
                      <a:lnTo>
                        <a:pt x="461" y="3603"/>
                      </a:lnTo>
                      <a:lnTo>
                        <a:pt x="476" y="3648"/>
                      </a:lnTo>
                      <a:lnTo>
                        <a:pt x="492" y="3691"/>
                      </a:lnTo>
                      <a:lnTo>
                        <a:pt x="236" y="3904"/>
                      </a:lnTo>
                      <a:lnTo>
                        <a:pt x="393" y="4177"/>
                      </a:lnTo>
                      <a:lnTo>
                        <a:pt x="717" y="4059"/>
                      </a:lnTo>
                      <a:lnTo>
                        <a:pt x="748" y="4092"/>
                      </a:lnTo>
                      <a:lnTo>
                        <a:pt x="781" y="4125"/>
                      </a:lnTo>
                      <a:lnTo>
                        <a:pt x="815" y="4157"/>
                      </a:lnTo>
                      <a:lnTo>
                        <a:pt x="850" y="4185"/>
                      </a:lnTo>
                      <a:lnTo>
                        <a:pt x="737" y="4499"/>
                      </a:lnTo>
                      <a:lnTo>
                        <a:pt x="1009" y="4655"/>
                      </a:lnTo>
                      <a:lnTo>
                        <a:pt x="1230" y="4392"/>
                      </a:lnTo>
                      <a:lnTo>
                        <a:pt x="1274" y="4406"/>
                      </a:lnTo>
                      <a:lnTo>
                        <a:pt x="1318" y="4418"/>
                      </a:lnTo>
                      <a:lnTo>
                        <a:pt x="1363" y="4428"/>
                      </a:lnTo>
                      <a:lnTo>
                        <a:pt x="1409" y="4435"/>
                      </a:lnTo>
                      <a:lnTo>
                        <a:pt x="1466" y="4763"/>
                      </a:lnTo>
                      <a:lnTo>
                        <a:pt x="1781" y="4763"/>
                      </a:lnTo>
                      <a:lnTo>
                        <a:pt x="1842" y="4423"/>
                      </a:lnTo>
                      <a:lnTo>
                        <a:pt x="1886" y="4413"/>
                      </a:lnTo>
                      <a:lnTo>
                        <a:pt x="1930" y="4402"/>
                      </a:lnTo>
                      <a:lnTo>
                        <a:pt x="1975" y="4387"/>
                      </a:lnTo>
                      <a:lnTo>
                        <a:pt x="2018" y="4372"/>
                      </a:lnTo>
                      <a:lnTo>
                        <a:pt x="2231" y="4627"/>
                      </a:lnTo>
                      <a:lnTo>
                        <a:pt x="2504" y="4469"/>
                      </a:lnTo>
                      <a:lnTo>
                        <a:pt x="2386" y="4145"/>
                      </a:lnTo>
                      <a:lnTo>
                        <a:pt x="2419" y="4114"/>
                      </a:lnTo>
                      <a:lnTo>
                        <a:pt x="2452" y="4082"/>
                      </a:lnTo>
                      <a:lnTo>
                        <a:pt x="2482" y="4048"/>
                      </a:lnTo>
                      <a:lnTo>
                        <a:pt x="2512" y="4012"/>
                      </a:lnTo>
                      <a:lnTo>
                        <a:pt x="2826" y="4127"/>
                      </a:lnTo>
                      <a:lnTo>
                        <a:pt x="2982" y="3854"/>
                      </a:lnTo>
                      <a:lnTo>
                        <a:pt x="2719" y="3632"/>
                      </a:lnTo>
                      <a:lnTo>
                        <a:pt x="2732" y="3589"/>
                      </a:lnTo>
                      <a:lnTo>
                        <a:pt x="2743" y="3545"/>
                      </a:lnTo>
                      <a:lnTo>
                        <a:pt x="2753" y="3499"/>
                      </a:lnTo>
                      <a:lnTo>
                        <a:pt x="2762" y="3454"/>
                      </a:lnTo>
                      <a:lnTo>
                        <a:pt x="3090" y="3396"/>
                      </a:lnTo>
                      <a:lnTo>
                        <a:pt x="3090" y="3082"/>
                      </a:lnTo>
                      <a:lnTo>
                        <a:pt x="2750" y="3021"/>
                      </a:lnTo>
                      <a:lnTo>
                        <a:pt x="2740" y="2977"/>
                      </a:lnTo>
                      <a:lnTo>
                        <a:pt x="2727" y="2933"/>
                      </a:lnTo>
                      <a:lnTo>
                        <a:pt x="2714" y="2888"/>
                      </a:lnTo>
                      <a:lnTo>
                        <a:pt x="2699" y="2845"/>
                      </a:lnTo>
                      <a:close/>
                      <a:moveTo>
                        <a:pt x="1595" y="4194"/>
                      </a:moveTo>
                      <a:lnTo>
                        <a:pt x="1595" y="4194"/>
                      </a:lnTo>
                      <a:lnTo>
                        <a:pt x="1548" y="4193"/>
                      </a:lnTo>
                      <a:lnTo>
                        <a:pt x="1500" y="4188"/>
                      </a:lnTo>
                      <a:lnTo>
                        <a:pt x="1453" y="4182"/>
                      </a:lnTo>
                      <a:lnTo>
                        <a:pt x="1409" y="4174"/>
                      </a:lnTo>
                      <a:lnTo>
                        <a:pt x="1363" y="4164"/>
                      </a:lnTo>
                      <a:lnTo>
                        <a:pt x="1320" y="4151"/>
                      </a:lnTo>
                      <a:lnTo>
                        <a:pt x="1277" y="4137"/>
                      </a:lnTo>
                      <a:lnTo>
                        <a:pt x="1234" y="4121"/>
                      </a:lnTo>
                      <a:lnTo>
                        <a:pt x="1194" y="4102"/>
                      </a:lnTo>
                      <a:lnTo>
                        <a:pt x="1154" y="4082"/>
                      </a:lnTo>
                      <a:lnTo>
                        <a:pt x="1115" y="4059"/>
                      </a:lnTo>
                      <a:lnTo>
                        <a:pt x="1078" y="4035"/>
                      </a:lnTo>
                      <a:lnTo>
                        <a:pt x="1042" y="4009"/>
                      </a:lnTo>
                      <a:lnTo>
                        <a:pt x="1006" y="3982"/>
                      </a:lnTo>
                      <a:lnTo>
                        <a:pt x="973" y="3953"/>
                      </a:lnTo>
                      <a:lnTo>
                        <a:pt x="940" y="3922"/>
                      </a:lnTo>
                      <a:lnTo>
                        <a:pt x="910" y="3890"/>
                      </a:lnTo>
                      <a:lnTo>
                        <a:pt x="881" y="3857"/>
                      </a:lnTo>
                      <a:lnTo>
                        <a:pt x="853" y="3821"/>
                      </a:lnTo>
                      <a:lnTo>
                        <a:pt x="827" y="3785"/>
                      </a:lnTo>
                      <a:lnTo>
                        <a:pt x="804" y="3748"/>
                      </a:lnTo>
                      <a:lnTo>
                        <a:pt x="781" y="3709"/>
                      </a:lnTo>
                      <a:lnTo>
                        <a:pt x="761" y="3669"/>
                      </a:lnTo>
                      <a:lnTo>
                        <a:pt x="742" y="3628"/>
                      </a:lnTo>
                      <a:lnTo>
                        <a:pt x="725" y="3586"/>
                      </a:lnTo>
                      <a:lnTo>
                        <a:pt x="711" y="3543"/>
                      </a:lnTo>
                      <a:lnTo>
                        <a:pt x="699" y="3499"/>
                      </a:lnTo>
                      <a:lnTo>
                        <a:pt x="688" y="3454"/>
                      </a:lnTo>
                      <a:lnTo>
                        <a:pt x="681" y="3408"/>
                      </a:lnTo>
                      <a:lnTo>
                        <a:pt x="675" y="3363"/>
                      </a:lnTo>
                      <a:lnTo>
                        <a:pt x="671" y="3315"/>
                      </a:lnTo>
                      <a:lnTo>
                        <a:pt x="669" y="3268"/>
                      </a:lnTo>
                      <a:lnTo>
                        <a:pt x="671" y="3221"/>
                      </a:lnTo>
                      <a:lnTo>
                        <a:pt x="675" y="3173"/>
                      </a:lnTo>
                      <a:lnTo>
                        <a:pt x="681" y="3128"/>
                      </a:lnTo>
                      <a:lnTo>
                        <a:pt x="688" y="3082"/>
                      </a:lnTo>
                      <a:lnTo>
                        <a:pt x="699" y="3037"/>
                      </a:lnTo>
                      <a:lnTo>
                        <a:pt x="711" y="2993"/>
                      </a:lnTo>
                      <a:lnTo>
                        <a:pt x="725" y="2950"/>
                      </a:lnTo>
                      <a:lnTo>
                        <a:pt x="742" y="2908"/>
                      </a:lnTo>
                      <a:lnTo>
                        <a:pt x="761" y="2867"/>
                      </a:lnTo>
                      <a:lnTo>
                        <a:pt x="781" y="2827"/>
                      </a:lnTo>
                      <a:lnTo>
                        <a:pt x="804" y="2788"/>
                      </a:lnTo>
                      <a:lnTo>
                        <a:pt x="827" y="2751"/>
                      </a:lnTo>
                      <a:lnTo>
                        <a:pt x="853" y="2715"/>
                      </a:lnTo>
                      <a:lnTo>
                        <a:pt x="881" y="2679"/>
                      </a:lnTo>
                      <a:lnTo>
                        <a:pt x="910" y="2646"/>
                      </a:lnTo>
                      <a:lnTo>
                        <a:pt x="940" y="2614"/>
                      </a:lnTo>
                      <a:lnTo>
                        <a:pt x="973" y="2583"/>
                      </a:lnTo>
                      <a:lnTo>
                        <a:pt x="1006" y="2554"/>
                      </a:lnTo>
                      <a:lnTo>
                        <a:pt x="1042" y="2527"/>
                      </a:lnTo>
                      <a:lnTo>
                        <a:pt x="1078" y="2501"/>
                      </a:lnTo>
                      <a:lnTo>
                        <a:pt x="1115" y="2477"/>
                      </a:lnTo>
                      <a:lnTo>
                        <a:pt x="1154" y="2454"/>
                      </a:lnTo>
                      <a:lnTo>
                        <a:pt x="1194" y="2434"/>
                      </a:lnTo>
                      <a:lnTo>
                        <a:pt x="1234" y="2415"/>
                      </a:lnTo>
                      <a:lnTo>
                        <a:pt x="1277" y="2399"/>
                      </a:lnTo>
                      <a:lnTo>
                        <a:pt x="1320" y="2384"/>
                      </a:lnTo>
                      <a:lnTo>
                        <a:pt x="1363" y="2372"/>
                      </a:lnTo>
                      <a:lnTo>
                        <a:pt x="1409" y="2362"/>
                      </a:lnTo>
                      <a:lnTo>
                        <a:pt x="1453" y="2354"/>
                      </a:lnTo>
                      <a:lnTo>
                        <a:pt x="1500" y="2348"/>
                      </a:lnTo>
                      <a:lnTo>
                        <a:pt x="1548" y="2344"/>
                      </a:lnTo>
                      <a:lnTo>
                        <a:pt x="1595" y="2342"/>
                      </a:lnTo>
                      <a:lnTo>
                        <a:pt x="1642" y="2344"/>
                      </a:lnTo>
                      <a:lnTo>
                        <a:pt x="1690" y="2348"/>
                      </a:lnTo>
                      <a:lnTo>
                        <a:pt x="1736" y="2354"/>
                      </a:lnTo>
                      <a:lnTo>
                        <a:pt x="1781" y="2362"/>
                      </a:lnTo>
                      <a:lnTo>
                        <a:pt x="1826" y="2372"/>
                      </a:lnTo>
                      <a:lnTo>
                        <a:pt x="1870" y="2384"/>
                      </a:lnTo>
                      <a:lnTo>
                        <a:pt x="1913" y="2399"/>
                      </a:lnTo>
                      <a:lnTo>
                        <a:pt x="1955" y="2415"/>
                      </a:lnTo>
                      <a:lnTo>
                        <a:pt x="1996" y="2434"/>
                      </a:lnTo>
                      <a:lnTo>
                        <a:pt x="2035" y="2454"/>
                      </a:lnTo>
                      <a:lnTo>
                        <a:pt x="2074" y="2477"/>
                      </a:lnTo>
                      <a:lnTo>
                        <a:pt x="2112" y="2501"/>
                      </a:lnTo>
                      <a:lnTo>
                        <a:pt x="2148" y="2527"/>
                      </a:lnTo>
                      <a:lnTo>
                        <a:pt x="2183" y="2554"/>
                      </a:lnTo>
                      <a:lnTo>
                        <a:pt x="2217" y="2583"/>
                      </a:lnTo>
                      <a:lnTo>
                        <a:pt x="2249" y="2614"/>
                      </a:lnTo>
                      <a:lnTo>
                        <a:pt x="2280" y="2646"/>
                      </a:lnTo>
                      <a:lnTo>
                        <a:pt x="2309" y="2679"/>
                      </a:lnTo>
                      <a:lnTo>
                        <a:pt x="2336" y="2715"/>
                      </a:lnTo>
                      <a:lnTo>
                        <a:pt x="2362" y="2751"/>
                      </a:lnTo>
                      <a:lnTo>
                        <a:pt x="2386" y="2788"/>
                      </a:lnTo>
                      <a:lnTo>
                        <a:pt x="2408" y="2827"/>
                      </a:lnTo>
                      <a:lnTo>
                        <a:pt x="2429" y="2867"/>
                      </a:lnTo>
                      <a:lnTo>
                        <a:pt x="2448" y="2908"/>
                      </a:lnTo>
                      <a:lnTo>
                        <a:pt x="2464" y="2950"/>
                      </a:lnTo>
                      <a:lnTo>
                        <a:pt x="2478" y="2993"/>
                      </a:lnTo>
                      <a:lnTo>
                        <a:pt x="2491" y="3037"/>
                      </a:lnTo>
                      <a:lnTo>
                        <a:pt x="2501" y="3082"/>
                      </a:lnTo>
                      <a:lnTo>
                        <a:pt x="2509" y="3128"/>
                      </a:lnTo>
                      <a:lnTo>
                        <a:pt x="2515" y="3173"/>
                      </a:lnTo>
                      <a:lnTo>
                        <a:pt x="2518" y="3221"/>
                      </a:lnTo>
                      <a:lnTo>
                        <a:pt x="2519" y="3268"/>
                      </a:lnTo>
                      <a:lnTo>
                        <a:pt x="2518" y="3315"/>
                      </a:lnTo>
                      <a:lnTo>
                        <a:pt x="2515" y="3363"/>
                      </a:lnTo>
                      <a:lnTo>
                        <a:pt x="2509" y="3408"/>
                      </a:lnTo>
                      <a:lnTo>
                        <a:pt x="2501" y="3454"/>
                      </a:lnTo>
                      <a:lnTo>
                        <a:pt x="2491" y="3499"/>
                      </a:lnTo>
                      <a:lnTo>
                        <a:pt x="2478" y="3543"/>
                      </a:lnTo>
                      <a:lnTo>
                        <a:pt x="2464" y="3586"/>
                      </a:lnTo>
                      <a:lnTo>
                        <a:pt x="2448" y="3628"/>
                      </a:lnTo>
                      <a:lnTo>
                        <a:pt x="2429" y="3669"/>
                      </a:lnTo>
                      <a:lnTo>
                        <a:pt x="2408" y="3709"/>
                      </a:lnTo>
                      <a:lnTo>
                        <a:pt x="2386" y="3748"/>
                      </a:lnTo>
                      <a:lnTo>
                        <a:pt x="2362" y="3785"/>
                      </a:lnTo>
                      <a:lnTo>
                        <a:pt x="2336" y="3821"/>
                      </a:lnTo>
                      <a:lnTo>
                        <a:pt x="2309" y="3857"/>
                      </a:lnTo>
                      <a:lnTo>
                        <a:pt x="2280" y="3890"/>
                      </a:lnTo>
                      <a:lnTo>
                        <a:pt x="2249" y="3922"/>
                      </a:lnTo>
                      <a:lnTo>
                        <a:pt x="2217" y="3953"/>
                      </a:lnTo>
                      <a:lnTo>
                        <a:pt x="2183" y="3982"/>
                      </a:lnTo>
                      <a:lnTo>
                        <a:pt x="2148" y="4009"/>
                      </a:lnTo>
                      <a:lnTo>
                        <a:pt x="2112" y="4035"/>
                      </a:lnTo>
                      <a:lnTo>
                        <a:pt x="2074" y="4059"/>
                      </a:lnTo>
                      <a:lnTo>
                        <a:pt x="2035" y="4082"/>
                      </a:lnTo>
                      <a:lnTo>
                        <a:pt x="1996" y="4102"/>
                      </a:lnTo>
                      <a:lnTo>
                        <a:pt x="1955" y="4121"/>
                      </a:lnTo>
                      <a:lnTo>
                        <a:pt x="1913" y="4137"/>
                      </a:lnTo>
                      <a:lnTo>
                        <a:pt x="1870" y="4151"/>
                      </a:lnTo>
                      <a:lnTo>
                        <a:pt x="1826" y="4164"/>
                      </a:lnTo>
                      <a:lnTo>
                        <a:pt x="1781" y="4174"/>
                      </a:lnTo>
                      <a:lnTo>
                        <a:pt x="1736" y="4182"/>
                      </a:lnTo>
                      <a:lnTo>
                        <a:pt x="1690" y="4188"/>
                      </a:lnTo>
                      <a:lnTo>
                        <a:pt x="1642" y="4193"/>
                      </a:lnTo>
                      <a:lnTo>
                        <a:pt x="1595" y="4194"/>
                      </a:lnTo>
                      <a:close/>
                      <a:moveTo>
                        <a:pt x="4272" y="1428"/>
                      </a:moveTo>
                      <a:lnTo>
                        <a:pt x="4272" y="1428"/>
                      </a:lnTo>
                      <a:lnTo>
                        <a:pt x="4236" y="1429"/>
                      </a:lnTo>
                      <a:lnTo>
                        <a:pt x="4202" y="1432"/>
                      </a:lnTo>
                      <a:lnTo>
                        <a:pt x="4168" y="1436"/>
                      </a:lnTo>
                      <a:lnTo>
                        <a:pt x="4135" y="1442"/>
                      </a:lnTo>
                      <a:lnTo>
                        <a:pt x="4102" y="1449"/>
                      </a:lnTo>
                      <a:lnTo>
                        <a:pt x="4069" y="1459"/>
                      </a:lnTo>
                      <a:lnTo>
                        <a:pt x="4037" y="1469"/>
                      </a:lnTo>
                      <a:lnTo>
                        <a:pt x="4006" y="1482"/>
                      </a:lnTo>
                      <a:lnTo>
                        <a:pt x="3976" y="1495"/>
                      </a:lnTo>
                      <a:lnTo>
                        <a:pt x="3947" y="1511"/>
                      </a:lnTo>
                      <a:lnTo>
                        <a:pt x="3918" y="1527"/>
                      </a:lnTo>
                      <a:lnTo>
                        <a:pt x="3890" y="1545"/>
                      </a:lnTo>
                      <a:lnTo>
                        <a:pt x="3864" y="1564"/>
                      </a:lnTo>
                      <a:lnTo>
                        <a:pt x="3838" y="1584"/>
                      </a:lnTo>
                      <a:lnTo>
                        <a:pt x="3812" y="1605"/>
                      </a:lnTo>
                      <a:lnTo>
                        <a:pt x="3789" y="1628"/>
                      </a:lnTo>
                      <a:lnTo>
                        <a:pt x="3766" y="1651"/>
                      </a:lnTo>
                      <a:lnTo>
                        <a:pt x="3745" y="1677"/>
                      </a:lnTo>
                      <a:lnTo>
                        <a:pt x="3725" y="1703"/>
                      </a:lnTo>
                      <a:lnTo>
                        <a:pt x="3705" y="1729"/>
                      </a:lnTo>
                      <a:lnTo>
                        <a:pt x="3687" y="1757"/>
                      </a:lnTo>
                      <a:lnTo>
                        <a:pt x="3672" y="1786"/>
                      </a:lnTo>
                      <a:lnTo>
                        <a:pt x="3656" y="1815"/>
                      </a:lnTo>
                      <a:lnTo>
                        <a:pt x="3643" y="1845"/>
                      </a:lnTo>
                      <a:lnTo>
                        <a:pt x="3630" y="1876"/>
                      </a:lnTo>
                      <a:lnTo>
                        <a:pt x="3619" y="1908"/>
                      </a:lnTo>
                      <a:lnTo>
                        <a:pt x="3610" y="1941"/>
                      </a:lnTo>
                      <a:lnTo>
                        <a:pt x="3603" y="1974"/>
                      </a:lnTo>
                      <a:lnTo>
                        <a:pt x="3597" y="2007"/>
                      </a:lnTo>
                      <a:lnTo>
                        <a:pt x="3591" y="2041"/>
                      </a:lnTo>
                      <a:lnTo>
                        <a:pt x="3590" y="2077"/>
                      </a:lnTo>
                      <a:lnTo>
                        <a:pt x="3589" y="2111"/>
                      </a:lnTo>
                      <a:lnTo>
                        <a:pt x="3590" y="2147"/>
                      </a:lnTo>
                      <a:lnTo>
                        <a:pt x="3591" y="2182"/>
                      </a:lnTo>
                      <a:lnTo>
                        <a:pt x="3597" y="2216"/>
                      </a:lnTo>
                      <a:lnTo>
                        <a:pt x="3603" y="2249"/>
                      </a:lnTo>
                      <a:lnTo>
                        <a:pt x="3610" y="2282"/>
                      </a:lnTo>
                      <a:lnTo>
                        <a:pt x="3619" y="2315"/>
                      </a:lnTo>
                      <a:lnTo>
                        <a:pt x="3630" y="2346"/>
                      </a:lnTo>
                      <a:lnTo>
                        <a:pt x="3643" y="2378"/>
                      </a:lnTo>
                      <a:lnTo>
                        <a:pt x="3656" y="2408"/>
                      </a:lnTo>
                      <a:lnTo>
                        <a:pt x="3672" y="2437"/>
                      </a:lnTo>
                      <a:lnTo>
                        <a:pt x="3687" y="2465"/>
                      </a:lnTo>
                      <a:lnTo>
                        <a:pt x="3705" y="2494"/>
                      </a:lnTo>
                      <a:lnTo>
                        <a:pt x="3725" y="2520"/>
                      </a:lnTo>
                      <a:lnTo>
                        <a:pt x="3745" y="2546"/>
                      </a:lnTo>
                      <a:lnTo>
                        <a:pt x="3766" y="2571"/>
                      </a:lnTo>
                      <a:lnTo>
                        <a:pt x="3789" y="2594"/>
                      </a:lnTo>
                      <a:lnTo>
                        <a:pt x="3812" y="2617"/>
                      </a:lnTo>
                      <a:lnTo>
                        <a:pt x="3838" y="2639"/>
                      </a:lnTo>
                      <a:lnTo>
                        <a:pt x="3864" y="2659"/>
                      </a:lnTo>
                      <a:lnTo>
                        <a:pt x="3890" y="2679"/>
                      </a:lnTo>
                      <a:lnTo>
                        <a:pt x="3918" y="2696"/>
                      </a:lnTo>
                      <a:lnTo>
                        <a:pt x="3947" y="2712"/>
                      </a:lnTo>
                      <a:lnTo>
                        <a:pt x="3976" y="2728"/>
                      </a:lnTo>
                      <a:lnTo>
                        <a:pt x="4006" y="2742"/>
                      </a:lnTo>
                      <a:lnTo>
                        <a:pt x="4037" y="2753"/>
                      </a:lnTo>
                      <a:lnTo>
                        <a:pt x="4069" y="2765"/>
                      </a:lnTo>
                      <a:lnTo>
                        <a:pt x="4102" y="2774"/>
                      </a:lnTo>
                      <a:lnTo>
                        <a:pt x="4135" y="2781"/>
                      </a:lnTo>
                      <a:lnTo>
                        <a:pt x="4168" y="2786"/>
                      </a:lnTo>
                      <a:lnTo>
                        <a:pt x="4202" y="2792"/>
                      </a:lnTo>
                      <a:lnTo>
                        <a:pt x="4236" y="2794"/>
                      </a:lnTo>
                      <a:lnTo>
                        <a:pt x="4272" y="2795"/>
                      </a:lnTo>
                      <a:lnTo>
                        <a:pt x="4307" y="2794"/>
                      </a:lnTo>
                      <a:lnTo>
                        <a:pt x="4342" y="2792"/>
                      </a:lnTo>
                      <a:lnTo>
                        <a:pt x="4377" y="2786"/>
                      </a:lnTo>
                      <a:lnTo>
                        <a:pt x="4410" y="2781"/>
                      </a:lnTo>
                      <a:lnTo>
                        <a:pt x="4443" y="2774"/>
                      </a:lnTo>
                      <a:lnTo>
                        <a:pt x="4476" y="2765"/>
                      </a:lnTo>
                      <a:lnTo>
                        <a:pt x="4507" y="2753"/>
                      </a:lnTo>
                      <a:lnTo>
                        <a:pt x="4539" y="2742"/>
                      </a:lnTo>
                      <a:lnTo>
                        <a:pt x="4569" y="2728"/>
                      </a:lnTo>
                      <a:lnTo>
                        <a:pt x="4597" y="2712"/>
                      </a:lnTo>
                      <a:lnTo>
                        <a:pt x="4626" y="2696"/>
                      </a:lnTo>
                      <a:lnTo>
                        <a:pt x="4655" y="2679"/>
                      </a:lnTo>
                      <a:lnTo>
                        <a:pt x="4681" y="2659"/>
                      </a:lnTo>
                      <a:lnTo>
                        <a:pt x="4706" y="2639"/>
                      </a:lnTo>
                      <a:lnTo>
                        <a:pt x="4732" y="2617"/>
                      </a:lnTo>
                      <a:lnTo>
                        <a:pt x="4755" y="2594"/>
                      </a:lnTo>
                      <a:lnTo>
                        <a:pt x="4778" y="2571"/>
                      </a:lnTo>
                      <a:lnTo>
                        <a:pt x="4800" y="2546"/>
                      </a:lnTo>
                      <a:lnTo>
                        <a:pt x="4820" y="2520"/>
                      </a:lnTo>
                      <a:lnTo>
                        <a:pt x="4838" y="2494"/>
                      </a:lnTo>
                      <a:lnTo>
                        <a:pt x="4857" y="2465"/>
                      </a:lnTo>
                      <a:lnTo>
                        <a:pt x="4873" y="2437"/>
                      </a:lnTo>
                      <a:lnTo>
                        <a:pt x="4888" y="2408"/>
                      </a:lnTo>
                      <a:lnTo>
                        <a:pt x="4901" y="2378"/>
                      </a:lnTo>
                      <a:lnTo>
                        <a:pt x="4914" y="2346"/>
                      </a:lnTo>
                      <a:lnTo>
                        <a:pt x="4924" y="2315"/>
                      </a:lnTo>
                      <a:lnTo>
                        <a:pt x="4934" y="2282"/>
                      </a:lnTo>
                      <a:lnTo>
                        <a:pt x="4941" y="2249"/>
                      </a:lnTo>
                      <a:lnTo>
                        <a:pt x="4947" y="2216"/>
                      </a:lnTo>
                      <a:lnTo>
                        <a:pt x="4951" y="2182"/>
                      </a:lnTo>
                      <a:lnTo>
                        <a:pt x="4954" y="2147"/>
                      </a:lnTo>
                      <a:lnTo>
                        <a:pt x="4956" y="2111"/>
                      </a:lnTo>
                      <a:lnTo>
                        <a:pt x="4954" y="2077"/>
                      </a:lnTo>
                      <a:lnTo>
                        <a:pt x="4951" y="2041"/>
                      </a:lnTo>
                      <a:lnTo>
                        <a:pt x="4947" y="2007"/>
                      </a:lnTo>
                      <a:lnTo>
                        <a:pt x="4941" y="1974"/>
                      </a:lnTo>
                      <a:lnTo>
                        <a:pt x="4934" y="1941"/>
                      </a:lnTo>
                      <a:lnTo>
                        <a:pt x="4924" y="1908"/>
                      </a:lnTo>
                      <a:lnTo>
                        <a:pt x="4914" y="1876"/>
                      </a:lnTo>
                      <a:lnTo>
                        <a:pt x="4901" y="1845"/>
                      </a:lnTo>
                      <a:lnTo>
                        <a:pt x="4888" y="1815"/>
                      </a:lnTo>
                      <a:lnTo>
                        <a:pt x="4873" y="1786"/>
                      </a:lnTo>
                      <a:lnTo>
                        <a:pt x="4857" y="1757"/>
                      </a:lnTo>
                      <a:lnTo>
                        <a:pt x="4838" y="1729"/>
                      </a:lnTo>
                      <a:lnTo>
                        <a:pt x="4820" y="1703"/>
                      </a:lnTo>
                      <a:lnTo>
                        <a:pt x="4800" y="1677"/>
                      </a:lnTo>
                      <a:lnTo>
                        <a:pt x="4778" y="1651"/>
                      </a:lnTo>
                      <a:lnTo>
                        <a:pt x="4755" y="1628"/>
                      </a:lnTo>
                      <a:lnTo>
                        <a:pt x="4732" y="1605"/>
                      </a:lnTo>
                      <a:lnTo>
                        <a:pt x="4706" y="1584"/>
                      </a:lnTo>
                      <a:lnTo>
                        <a:pt x="4681" y="1564"/>
                      </a:lnTo>
                      <a:lnTo>
                        <a:pt x="4655" y="1545"/>
                      </a:lnTo>
                      <a:lnTo>
                        <a:pt x="4626" y="1527"/>
                      </a:lnTo>
                      <a:lnTo>
                        <a:pt x="4597" y="1511"/>
                      </a:lnTo>
                      <a:lnTo>
                        <a:pt x="4569" y="1495"/>
                      </a:lnTo>
                      <a:lnTo>
                        <a:pt x="4539" y="1482"/>
                      </a:lnTo>
                      <a:lnTo>
                        <a:pt x="4507" y="1469"/>
                      </a:lnTo>
                      <a:lnTo>
                        <a:pt x="4476" y="1459"/>
                      </a:lnTo>
                      <a:lnTo>
                        <a:pt x="4443" y="1449"/>
                      </a:lnTo>
                      <a:lnTo>
                        <a:pt x="4410" y="1442"/>
                      </a:lnTo>
                      <a:lnTo>
                        <a:pt x="4377" y="1436"/>
                      </a:lnTo>
                      <a:lnTo>
                        <a:pt x="4342" y="1432"/>
                      </a:lnTo>
                      <a:lnTo>
                        <a:pt x="4307" y="1429"/>
                      </a:lnTo>
                      <a:lnTo>
                        <a:pt x="4272" y="1428"/>
                      </a:lnTo>
                      <a:close/>
                      <a:moveTo>
                        <a:pt x="4272" y="2597"/>
                      </a:moveTo>
                      <a:lnTo>
                        <a:pt x="4272" y="2597"/>
                      </a:lnTo>
                      <a:lnTo>
                        <a:pt x="4248" y="2596"/>
                      </a:lnTo>
                      <a:lnTo>
                        <a:pt x="4222" y="2594"/>
                      </a:lnTo>
                      <a:lnTo>
                        <a:pt x="4198" y="2591"/>
                      </a:lnTo>
                      <a:lnTo>
                        <a:pt x="4175" y="2587"/>
                      </a:lnTo>
                      <a:lnTo>
                        <a:pt x="4150" y="2581"/>
                      </a:lnTo>
                      <a:lnTo>
                        <a:pt x="4127" y="2576"/>
                      </a:lnTo>
                      <a:lnTo>
                        <a:pt x="4104" y="2567"/>
                      </a:lnTo>
                      <a:lnTo>
                        <a:pt x="4083" y="2559"/>
                      </a:lnTo>
                      <a:lnTo>
                        <a:pt x="4062" y="2548"/>
                      </a:lnTo>
                      <a:lnTo>
                        <a:pt x="4040" y="2538"/>
                      </a:lnTo>
                      <a:lnTo>
                        <a:pt x="4020" y="2527"/>
                      </a:lnTo>
                      <a:lnTo>
                        <a:pt x="4001" y="2514"/>
                      </a:lnTo>
                      <a:lnTo>
                        <a:pt x="3981" y="2501"/>
                      </a:lnTo>
                      <a:lnTo>
                        <a:pt x="3963" y="2485"/>
                      </a:lnTo>
                      <a:lnTo>
                        <a:pt x="3945" y="2471"/>
                      </a:lnTo>
                      <a:lnTo>
                        <a:pt x="3928" y="2455"/>
                      </a:lnTo>
                      <a:lnTo>
                        <a:pt x="3912" y="2438"/>
                      </a:lnTo>
                      <a:lnTo>
                        <a:pt x="3898" y="2421"/>
                      </a:lnTo>
                      <a:lnTo>
                        <a:pt x="3882" y="2402"/>
                      </a:lnTo>
                      <a:lnTo>
                        <a:pt x="3869" y="2382"/>
                      </a:lnTo>
                      <a:lnTo>
                        <a:pt x="3857" y="2364"/>
                      </a:lnTo>
                      <a:lnTo>
                        <a:pt x="3845" y="2344"/>
                      </a:lnTo>
                      <a:lnTo>
                        <a:pt x="3835" y="2322"/>
                      </a:lnTo>
                      <a:lnTo>
                        <a:pt x="3825" y="2301"/>
                      </a:lnTo>
                      <a:lnTo>
                        <a:pt x="3816" y="2279"/>
                      </a:lnTo>
                      <a:lnTo>
                        <a:pt x="3808" y="2256"/>
                      </a:lnTo>
                      <a:lnTo>
                        <a:pt x="3802" y="2233"/>
                      </a:lnTo>
                      <a:lnTo>
                        <a:pt x="3796" y="2209"/>
                      </a:lnTo>
                      <a:lnTo>
                        <a:pt x="3792" y="2186"/>
                      </a:lnTo>
                      <a:lnTo>
                        <a:pt x="3789" y="2161"/>
                      </a:lnTo>
                      <a:lnTo>
                        <a:pt x="3788" y="2137"/>
                      </a:lnTo>
                      <a:lnTo>
                        <a:pt x="3786" y="2111"/>
                      </a:lnTo>
                      <a:lnTo>
                        <a:pt x="3788" y="2087"/>
                      </a:lnTo>
                      <a:lnTo>
                        <a:pt x="3789" y="2061"/>
                      </a:lnTo>
                      <a:lnTo>
                        <a:pt x="3792" y="2037"/>
                      </a:lnTo>
                      <a:lnTo>
                        <a:pt x="3796" y="2014"/>
                      </a:lnTo>
                      <a:lnTo>
                        <a:pt x="3802" y="1989"/>
                      </a:lnTo>
                      <a:lnTo>
                        <a:pt x="3808" y="1967"/>
                      </a:lnTo>
                      <a:lnTo>
                        <a:pt x="3816" y="1945"/>
                      </a:lnTo>
                      <a:lnTo>
                        <a:pt x="3825" y="1922"/>
                      </a:lnTo>
                      <a:lnTo>
                        <a:pt x="3835" y="1901"/>
                      </a:lnTo>
                      <a:lnTo>
                        <a:pt x="3845" y="1881"/>
                      </a:lnTo>
                      <a:lnTo>
                        <a:pt x="3857" y="1859"/>
                      </a:lnTo>
                      <a:lnTo>
                        <a:pt x="3869" y="1840"/>
                      </a:lnTo>
                      <a:lnTo>
                        <a:pt x="3882" y="1820"/>
                      </a:lnTo>
                      <a:lnTo>
                        <a:pt x="3898" y="1803"/>
                      </a:lnTo>
                      <a:lnTo>
                        <a:pt x="3912" y="1785"/>
                      </a:lnTo>
                      <a:lnTo>
                        <a:pt x="3928" y="1769"/>
                      </a:lnTo>
                      <a:lnTo>
                        <a:pt x="3945" y="1752"/>
                      </a:lnTo>
                      <a:lnTo>
                        <a:pt x="3963" y="1737"/>
                      </a:lnTo>
                      <a:lnTo>
                        <a:pt x="3981" y="1723"/>
                      </a:lnTo>
                      <a:lnTo>
                        <a:pt x="4001" y="1709"/>
                      </a:lnTo>
                      <a:lnTo>
                        <a:pt x="4020" y="1696"/>
                      </a:lnTo>
                      <a:lnTo>
                        <a:pt x="4040" y="1684"/>
                      </a:lnTo>
                      <a:lnTo>
                        <a:pt x="4062" y="1674"/>
                      </a:lnTo>
                      <a:lnTo>
                        <a:pt x="4083" y="1664"/>
                      </a:lnTo>
                      <a:lnTo>
                        <a:pt x="4104" y="1656"/>
                      </a:lnTo>
                      <a:lnTo>
                        <a:pt x="4127" y="1648"/>
                      </a:lnTo>
                      <a:lnTo>
                        <a:pt x="4150" y="1641"/>
                      </a:lnTo>
                      <a:lnTo>
                        <a:pt x="4175" y="1635"/>
                      </a:lnTo>
                      <a:lnTo>
                        <a:pt x="4198" y="1631"/>
                      </a:lnTo>
                      <a:lnTo>
                        <a:pt x="4222" y="1628"/>
                      </a:lnTo>
                      <a:lnTo>
                        <a:pt x="4248" y="1627"/>
                      </a:lnTo>
                      <a:lnTo>
                        <a:pt x="4272" y="1625"/>
                      </a:lnTo>
                      <a:lnTo>
                        <a:pt x="4297" y="1627"/>
                      </a:lnTo>
                      <a:lnTo>
                        <a:pt x="4322" y="1628"/>
                      </a:lnTo>
                      <a:lnTo>
                        <a:pt x="4347" y="1631"/>
                      </a:lnTo>
                      <a:lnTo>
                        <a:pt x="4370" y="1635"/>
                      </a:lnTo>
                      <a:lnTo>
                        <a:pt x="4394" y="1641"/>
                      </a:lnTo>
                      <a:lnTo>
                        <a:pt x="4417" y="1648"/>
                      </a:lnTo>
                      <a:lnTo>
                        <a:pt x="4438" y="1656"/>
                      </a:lnTo>
                      <a:lnTo>
                        <a:pt x="4461" y="1664"/>
                      </a:lnTo>
                      <a:lnTo>
                        <a:pt x="4483" y="1674"/>
                      </a:lnTo>
                      <a:lnTo>
                        <a:pt x="4503" y="1684"/>
                      </a:lnTo>
                      <a:lnTo>
                        <a:pt x="4524" y="1696"/>
                      </a:lnTo>
                      <a:lnTo>
                        <a:pt x="4543" y="1709"/>
                      </a:lnTo>
                      <a:lnTo>
                        <a:pt x="4563" y="1723"/>
                      </a:lnTo>
                      <a:lnTo>
                        <a:pt x="4580" y="1737"/>
                      </a:lnTo>
                      <a:lnTo>
                        <a:pt x="4599" y="1752"/>
                      </a:lnTo>
                      <a:lnTo>
                        <a:pt x="4615" y="1769"/>
                      </a:lnTo>
                      <a:lnTo>
                        <a:pt x="4632" y="1785"/>
                      </a:lnTo>
                      <a:lnTo>
                        <a:pt x="4646" y="1803"/>
                      </a:lnTo>
                      <a:lnTo>
                        <a:pt x="4661" y="1820"/>
                      </a:lnTo>
                      <a:lnTo>
                        <a:pt x="4675" y="1840"/>
                      </a:lnTo>
                      <a:lnTo>
                        <a:pt x="4688" y="1859"/>
                      </a:lnTo>
                      <a:lnTo>
                        <a:pt x="4699" y="1881"/>
                      </a:lnTo>
                      <a:lnTo>
                        <a:pt x="4709" y="1901"/>
                      </a:lnTo>
                      <a:lnTo>
                        <a:pt x="4719" y="1922"/>
                      </a:lnTo>
                      <a:lnTo>
                        <a:pt x="4728" y="1945"/>
                      </a:lnTo>
                      <a:lnTo>
                        <a:pt x="4735" y="1967"/>
                      </a:lnTo>
                      <a:lnTo>
                        <a:pt x="4742" y="1989"/>
                      </a:lnTo>
                      <a:lnTo>
                        <a:pt x="4748" y="2014"/>
                      </a:lnTo>
                      <a:lnTo>
                        <a:pt x="4752" y="2037"/>
                      </a:lnTo>
                      <a:lnTo>
                        <a:pt x="4755" y="2061"/>
                      </a:lnTo>
                      <a:lnTo>
                        <a:pt x="4757" y="2087"/>
                      </a:lnTo>
                      <a:lnTo>
                        <a:pt x="4758" y="2111"/>
                      </a:lnTo>
                      <a:lnTo>
                        <a:pt x="4757" y="2137"/>
                      </a:lnTo>
                      <a:lnTo>
                        <a:pt x="4755" y="2161"/>
                      </a:lnTo>
                      <a:lnTo>
                        <a:pt x="4752" y="2186"/>
                      </a:lnTo>
                      <a:lnTo>
                        <a:pt x="4748" y="2209"/>
                      </a:lnTo>
                      <a:lnTo>
                        <a:pt x="4742" y="2233"/>
                      </a:lnTo>
                      <a:lnTo>
                        <a:pt x="4735" y="2256"/>
                      </a:lnTo>
                      <a:lnTo>
                        <a:pt x="4728" y="2279"/>
                      </a:lnTo>
                      <a:lnTo>
                        <a:pt x="4719" y="2301"/>
                      </a:lnTo>
                      <a:lnTo>
                        <a:pt x="4709" y="2322"/>
                      </a:lnTo>
                      <a:lnTo>
                        <a:pt x="4699" y="2344"/>
                      </a:lnTo>
                      <a:lnTo>
                        <a:pt x="4688" y="2364"/>
                      </a:lnTo>
                      <a:lnTo>
                        <a:pt x="4675" y="2382"/>
                      </a:lnTo>
                      <a:lnTo>
                        <a:pt x="4661" y="2402"/>
                      </a:lnTo>
                      <a:lnTo>
                        <a:pt x="4646" y="2421"/>
                      </a:lnTo>
                      <a:lnTo>
                        <a:pt x="4632" y="2438"/>
                      </a:lnTo>
                      <a:lnTo>
                        <a:pt x="4615" y="2455"/>
                      </a:lnTo>
                      <a:lnTo>
                        <a:pt x="4599" y="2471"/>
                      </a:lnTo>
                      <a:lnTo>
                        <a:pt x="4580" y="2485"/>
                      </a:lnTo>
                      <a:lnTo>
                        <a:pt x="4563" y="2501"/>
                      </a:lnTo>
                      <a:lnTo>
                        <a:pt x="4543" y="2514"/>
                      </a:lnTo>
                      <a:lnTo>
                        <a:pt x="4524" y="2527"/>
                      </a:lnTo>
                      <a:lnTo>
                        <a:pt x="4503" y="2538"/>
                      </a:lnTo>
                      <a:lnTo>
                        <a:pt x="4483" y="2548"/>
                      </a:lnTo>
                      <a:lnTo>
                        <a:pt x="4461" y="2559"/>
                      </a:lnTo>
                      <a:lnTo>
                        <a:pt x="4438" y="2567"/>
                      </a:lnTo>
                      <a:lnTo>
                        <a:pt x="4417" y="2576"/>
                      </a:lnTo>
                      <a:lnTo>
                        <a:pt x="4394" y="2581"/>
                      </a:lnTo>
                      <a:lnTo>
                        <a:pt x="4370" y="2587"/>
                      </a:lnTo>
                      <a:lnTo>
                        <a:pt x="4347" y="2591"/>
                      </a:lnTo>
                      <a:lnTo>
                        <a:pt x="4322" y="2594"/>
                      </a:lnTo>
                      <a:lnTo>
                        <a:pt x="4297" y="2596"/>
                      </a:lnTo>
                      <a:lnTo>
                        <a:pt x="4272" y="2597"/>
                      </a:lnTo>
                      <a:close/>
                      <a:moveTo>
                        <a:pt x="5744" y="2237"/>
                      </a:moveTo>
                      <a:lnTo>
                        <a:pt x="5744" y="1928"/>
                      </a:lnTo>
                      <a:lnTo>
                        <a:pt x="5410" y="1869"/>
                      </a:lnTo>
                      <a:lnTo>
                        <a:pt x="5400" y="1825"/>
                      </a:lnTo>
                      <a:lnTo>
                        <a:pt x="5389" y="1780"/>
                      </a:lnTo>
                      <a:lnTo>
                        <a:pt x="5374" y="1737"/>
                      </a:lnTo>
                      <a:lnTo>
                        <a:pt x="5358" y="1696"/>
                      </a:lnTo>
                      <a:lnTo>
                        <a:pt x="5611" y="1485"/>
                      </a:lnTo>
                      <a:lnTo>
                        <a:pt x="5455" y="1215"/>
                      </a:lnTo>
                      <a:lnTo>
                        <a:pt x="5136" y="1332"/>
                      </a:lnTo>
                      <a:lnTo>
                        <a:pt x="5105" y="1299"/>
                      </a:lnTo>
                      <a:lnTo>
                        <a:pt x="5073" y="1267"/>
                      </a:lnTo>
                      <a:lnTo>
                        <a:pt x="5040" y="1237"/>
                      </a:lnTo>
                      <a:lnTo>
                        <a:pt x="5005" y="1208"/>
                      </a:lnTo>
                      <a:lnTo>
                        <a:pt x="5118" y="899"/>
                      </a:lnTo>
                      <a:lnTo>
                        <a:pt x="4850" y="744"/>
                      </a:lnTo>
                      <a:lnTo>
                        <a:pt x="4630" y="1005"/>
                      </a:lnTo>
                      <a:lnTo>
                        <a:pt x="4587" y="990"/>
                      </a:lnTo>
                      <a:lnTo>
                        <a:pt x="4544" y="980"/>
                      </a:lnTo>
                      <a:lnTo>
                        <a:pt x="4500" y="970"/>
                      </a:lnTo>
                      <a:lnTo>
                        <a:pt x="4456" y="962"/>
                      </a:lnTo>
                      <a:lnTo>
                        <a:pt x="4398" y="639"/>
                      </a:lnTo>
                      <a:lnTo>
                        <a:pt x="4089" y="639"/>
                      </a:lnTo>
                      <a:lnTo>
                        <a:pt x="4030" y="973"/>
                      </a:lnTo>
                      <a:lnTo>
                        <a:pt x="3986" y="983"/>
                      </a:lnTo>
                      <a:lnTo>
                        <a:pt x="3941" y="995"/>
                      </a:lnTo>
                      <a:lnTo>
                        <a:pt x="3898" y="1009"/>
                      </a:lnTo>
                      <a:lnTo>
                        <a:pt x="3855" y="1025"/>
                      </a:lnTo>
                      <a:lnTo>
                        <a:pt x="3644" y="773"/>
                      </a:lnTo>
                      <a:lnTo>
                        <a:pt x="3376" y="929"/>
                      </a:lnTo>
                      <a:lnTo>
                        <a:pt x="3493" y="1247"/>
                      </a:lnTo>
                      <a:lnTo>
                        <a:pt x="3460" y="1279"/>
                      </a:lnTo>
                      <a:lnTo>
                        <a:pt x="3428" y="1310"/>
                      </a:lnTo>
                      <a:lnTo>
                        <a:pt x="3398" y="1343"/>
                      </a:lnTo>
                      <a:lnTo>
                        <a:pt x="3368" y="1379"/>
                      </a:lnTo>
                      <a:lnTo>
                        <a:pt x="3060" y="1266"/>
                      </a:lnTo>
                      <a:lnTo>
                        <a:pt x="2905" y="1534"/>
                      </a:lnTo>
                      <a:lnTo>
                        <a:pt x="3164" y="1753"/>
                      </a:lnTo>
                      <a:lnTo>
                        <a:pt x="3151" y="1796"/>
                      </a:lnTo>
                      <a:lnTo>
                        <a:pt x="3140" y="1839"/>
                      </a:lnTo>
                      <a:lnTo>
                        <a:pt x="3131" y="1883"/>
                      </a:lnTo>
                      <a:lnTo>
                        <a:pt x="3123" y="1928"/>
                      </a:lnTo>
                      <a:lnTo>
                        <a:pt x="2800" y="1985"/>
                      </a:lnTo>
                      <a:lnTo>
                        <a:pt x="2800" y="2295"/>
                      </a:lnTo>
                      <a:lnTo>
                        <a:pt x="3134" y="2354"/>
                      </a:lnTo>
                      <a:lnTo>
                        <a:pt x="3144" y="2398"/>
                      </a:lnTo>
                      <a:lnTo>
                        <a:pt x="3156" y="2442"/>
                      </a:lnTo>
                      <a:lnTo>
                        <a:pt x="3170" y="2485"/>
                      </a:lnTo>
                      <a:lnTo>
                        <a:pt x="3186" y="2528"/>
                      </a:lnTo>
                      <a:lnTo>
                        <a:pt x="2934" y="2739"/>
                      </a:lnTo>
                      <a:lnTo>
                        <a:pt x="3088" y="3007"/>
                      </a:lnTo>
                      <a:lnTo>
                        <a:pt x="3408" y="2891"/>
                      </a:lnTo>
                      <a:lnTo>
                        <a:pt x="3440" y="2924"/>
                      </a:lnTo>
                      <a:lnTo>
                        <a:pt x="3471" y="2956"/>
                      </a:lnTo>
                      <a:lnTo>
                        <a:pt x="3504" y="2986"/>
                      </a:lnTo>
                      <a:lnTo>
                        <a:pt x="3538" y="3016"/>
                      </a:lnTo>
                      <a:lnTo>
                        <a:pt x="3427" y="3324"/>
                      </a:lnTo>
                      <a:lnTo>
                        <a:pt x="3695" y="3479"/>
                      </a:lnTo>
                      <a:lnTo>
                        <a:pt x="3912" y="3219"/>
                      </a:lnTo>
                      <a:lnTo>
                        <a:pt x="3955" y="3232"/>
                      </a:lnTo>
                      <a:lnTo>
                        <a:pt x="4000" y="3244"/>
                      </a:lnTo>
                      <a:lnTo>
                        <a:pt x="4044" y="3252"/>
                      </a:lnTo>
                      <a:lnTo>
                        <a:pt x="4089" y="3261"/>
                      </a:lnTo>
                      <a:lnTo>
                        <a:pt x="4146" y="3583"/>
                      </a:lnTo>
                      <a:lnTo>
                        <a:pt x="4456" y="3583"/>
                      </a:lnTo>
                      <a:lnTo>
                        <a:pt x="4514" y="3249"/>
                      </a:lnTo>
                      <a:lnTo>
                        <a:pt x="4559" y="3239"/>
                      </a:lnTo>
                      <a:lnTo>
                        <a:pt x="4603" y="3228"/>
                      </a:lnTo>
                      <a:lnTo>
                        <a:pt x="4646" y="3214"/>
                      </a:lnTo>
                      <a:lnTo>
                        <a:pt x="4688" y="3198"/>
                      </a:lnTo>
                      <a:lnTo>
                        <a:pt x="4898" y="3450"/>
                      </a:lnTo>
                      <a:lnTo>
                        <a:pt x="5168" y="3295"/>
                      </a:lnTo>
                      <a:lnTo>
                        <a:pt x="5052" y="2976"/>
                      </a:lnTo>
                      <a:lnTo>
                        <a:pt x="5085" y="2944"/>
                      </a:lnTo>
                      <a:lnTo>
                        <a:pt x="5116" y="2913"/>
                      </a:lnTo>
                      <a:lnTo>
                        <a:pt x="5146" y="2880"/>
                      </a:lnTo>
                      <a:lnTo>
                        <a:pt x="5175" y="2845"/>
                      </a:lnTo>
                      <a:lnTo>
                        <a:pt x="5485" y="2957"/>
                      </a:lnTo>
                      <a:lnTo>
                        <a:pt x="5639" y="2689"/>
                      </a:lnTo>
                      <a:lnTo>
                        <a:pt x="5379" y="2471"/>
                      </a:lnTo>
                      <a:lnTo>
                        <a:pt x="5393" y="2428"/>
                      </a:lnTo>
                      <a:lnTo>
                        <a:pt x="5403" y="2384"/>
                      </a:lnTo>
                      <a:lnTo>
                        <a:pt x="5413" y="2339"/>
                      </a:lnTo>
                      <a:lnTo>
                        <a:pt x="5422" y="2295"/>
                      </a:lnTo>
                      <a:lnTo>
                        <a:pt x="5744" y="2237"/>
                      </a:lnTo>
                      <a:close/>
                      <a:moveTo>
                        <a:pt x="4272" y="3024"/>
                      </a:moveTo>
                      <a:lnTo>
                        <a:pt x="4272" y="3024"/>
                      </a:lnTo>
                      <a:lnTo>
                        <a:pt x="4225" y="3023"/>
                      </a:lnTo>
                      <a:lnTo>
                        <a:pt x="4179" y="3020"/>
                      </a:lnTo>
                      <a:lnTo>
                        <a:pt x="4133" y="3014"/>
                      </a:lnTo>
                      <a:lnTo>
                        <a:pt x="4089" y="3006"/>
                      </a:lnTo>
                      <a:lnTo>
                        <a:pt x="4044" y="2996"/>
                      </a:lnTo>
                      <a:lnTo>
                        <a:pt x="4001" y="2983"/>
                      </a:lnTo>
                      <a:lnTo>
                        <a:pt x="3958" y="2968"/>
                      </a:lnTo>
                      <a:lnTo>
                        <a:pt x="3917" y="2953"/>
                      </a:lnTo>
                      <a:lnTo>
                        <a:pt x="3877" y="2934"/>
                      </a:lnTo>
                      <a:lnTo>
                        <a:pt x="3836" y="2914"/>
                      </a:lnTo>
                      <a:lnTo>
                        <a:pt x="3799" y="2892"/>
                      </a:lnTo>
                      <a:lnTo>
                        <a:pt x="3762" y="2868"/>
                      </a:lnTo>
                      <a:lnTo>
                        <a:pt x="3726" y="2842"/>
                      </a:lnTo>
                      <a:lnTo>
                        <a:pt x="3692" y="2817"/>
                      </a:lnTo>
                      <a:lnTo>
                        <a:pt x="3659" y="2788"/>
                      </a:lnTo>
                      <a:lnTo>
                        <a:pt x="3627" y="2756"/>
                      </a:lnTo>
                      <a:lnTo>
                        <a:pt x="3596" y="2725"/>
                      </a:lnTo>
                      <a:lnTo>
                        <a:pt x="3567" y="2692"/>
                      </a:lnTo>
                      <a:lnTo>
                        <a:pt x="3541" y="2657"/>
                      </a:lnTo>
                      <a:lnTo>
                        <a:pt x="3515" y="2622"/>
                      </a:lnTo>
                      <a:lnTo>
                        <a:pt x="3491" y="2584"/>
                      </a:lnTo>
                      <a:lnTo>
                        <a:pt x="3470" y="2547"/>
                      </a:lnTo>
                      <a:lnTo>
                        <a:pt x="3450" y="2507"/>
                      </a:lnTo>
                      <a:lnTo>
                        <a:pt x="3431" y="2467"/>
                      </a:lnTo>
                      <a:lnTo>
                        <a:pt x="3415" y="2425"/>
                      </a:lnTo>
                      <a:lnTo>
                        <a:pt x="3401" y="2382"/>
                      </a:lnTo>
                      <a:lnTo>
                        <a:pt x="3388" y="2339"/>
                      </a:lnTo>
                      <a:lnTo>
                        <a:pt x="3378" y="2295"/>
                      </a:lnTo>
                      <a:lnTo>
                        <a:pt x="3369" y="2250"/>
                      </a:lnTo>
                      <a:lnTo>
                        <a:pt x="3364" y="2204"/>
                      </a:lnTo>
                      <a:lnTo>
                        <a:pt x="3361" y="2159"/>
                      </a:lnTo>
                      <a:lnTo>
                        <a:pt x="3359" y="2111"/>
                      </a:lnTo>
                      <a:lnTo>
                        <a:pt x="3361" y="2064"/>
                      </a:lnTo>
                      <a:lnTo>
                        <a:pt x="3364" y="2018"/>
                      </a:lnTo>
                      <a:lnTo>
                        <a:pt x="3369" y="1972"/>
                      </a:lnTo>
                      <a:lnTo>
                        <a:pt x="3378" y="1928"/>
                      </a:lnTo>
                      <a:lnTo>
                        <a:pt x="3388" y="1883"/>
                      </a:lnTo>
                      <a:lnTo>
                        <a:pt x="3401" y="1840"/>
                      </a:lnTo>
                      <a:lnTo>
                        <a:pt x="3415" y="1797"/>
                      </a:lnTo>
                      <a:lnTo>
                        <a:pt x="3431" y="1756"/>
                      </a:lnTo>
                      <a:lnTo>
                        <a:pt x="3450" y="1716"/>
                      </a:lnTo>
                      <a:lnTo>
                        <a:pt x="3470" y="1676"/>
                      </a:lnTo>
                      <a:lnTo>
                        <a:pt x="3491" y="1638"/>
                      </a:lnTo>
                      <a:lnTo>
                        <a:pt x="3515" y="1601"/>
                      </a:lnTo>
                      <a:lnTo>
                        <a:pt x="3541" y="1565"/>
                      </a:lnTo>
                      <a:lnTo>
                        <a:pt x="3567" y="1531"/>
                      </a:lnTo>
                      <a:lnTo>
                        <a:pt x="3596" y="1498"/>
                      </a:lnTo>
                      <a:lnTo>
                        <a:pt x="3627" y="1466"/>
                      </a:lnTo>
                      <a:lnTo>
                        <a:pt x="3659" y="1436"/>
                      </a:lnTo>
                      <a:lnTo>
                        <a:pt x="3692" y="1408"/>
                      </a:lnTo>
                      <a:lnTo>
                        <a:pt x="3726" y="1380"/>
                      </a:lnTo>
                      <a:lnTo>
                        <a:pt x="3762" y="1355"/>
                      </a:lnTo>
                      <a:lnTo>
                        <a:pt x="3799" y="1330"/>
                      </a:lnTo>
                      <a:lnTo>
                        <a:pt x="3836" y="1309"/>
                      </a:lnTo>
                      <a:lnTo>
                        <a:pt x="3877" y="1289"/>
                      </a:lnTo>
                      <a:lnTo>
                        <a:pt x="3917" y="1270"/>
                      </a:lnTo>
                      <a:lnTo>
                        <a:pt x="3958" y="1254"/>
                      </a:lnTo>
                      <a:lnTo>
                        <a:pt x="4001" y="1240"/>
                      </a:lnTo>
                      <a:lnTo>
                        <a:pt x="4044" y="1227"/>
                      </a:lnTo>
                      <a:lnTo>
                        <a:pt x="4089" y="1217"/>
                      </a:lnTo>
                      <a:lnTo>
                        <a:pt x="4133" y="1208"/>
                      </a:lnTo>
                      <a:lnTo>
                        <a:pt x="4179" y="1203"/>
                      </a:lnTo>
                      <a:lnTo>
                        <a:pt x="4225" y="1200"/>
                      </a:lnTo>
                      <a:lnTo>
                        <a:pt x="4272" y="1198"/>
                      </a:lnTo>
                      <a:lnTo>
                        <a:pt x="4319" y="1200"/>
                      </a:lnTo>
                      <a:lnTo>
                        <a:pt x="4365" y="1203"/>
                      </a:lnTo>
                      <a:lnTo>
                        <a:pt x="4411" y="1208"/>
                      </a:lnTo>
                      <a:lnTo>
                        <a:pt x="4456" y="1217"/>
                      </a:lnTo>
                      <a:lnTo>
                        <a:pt x="4500" y="1227"/>
                      </a:lnTo>
                      <a:lnTo>
                        <a:pt x="4543" y="1240"/>
                      </a:lnTo>
                      <a:lnTo>
                        <a:pt x="4586" y="1254"/>
                      </a:lnTo>
                      <a:lnTo>
                        <a:pt x="4628" y="1270"/>
                      </a:lnTo>
                      <a:lnTo>
                        <a:pt x="4668" y="1289"/>
                      </a:lnTo>
                      <a:lnTo>
                        <a:pt x="4708" y="1309"/>
                      </a:lnTo>
                      <a:lnTo>
                        <a:pt x="4745" y="1330"/>
                      </a:lnTo>
                      <a:lnTo>
                        <a:pt x="4782" y="1355"/>
                      </a:lnTo>
                      <a:lnTo>
                        <a:pt x="4818" y="1380"/>
                      </a:lnTo>
                      <a:lnTo>
                        <a:pt x="4853" y="1408"/>
                      </a:lnTo>
                      <a:lnTo>
                        <a:pt x="4886" y="1436"/>
                      </a:lnTo>
                      <a:lnTo>
                        <a:pt x="4917" y="1466"/>
                      </a:lnTo>
                      <a:lnTo>
                        <a:pt x="4947" y="1498"/>
                      </a:lnTo>
                      <a:lnTo>
                        <a:pt x="4976" y="1531"/>
                      </a:lnTo>
                      <a:lnTo>
                        <a:pt x="5003" y="1565"/>
                      </a:lnTo>
                      <a:lnTo>
                        <a:pt x="5029" y="1601"/>
                      </a:lnTo>
                      <a:lnTo>
                        <a:pt x="5053" y="1638"/>
                      </a:lnTo>
                      <a:lnTo>
                        <a:pt x="5075" y="1676"/>
                      </a:lnTo>
                      <a:lnTo>
                        <a:pt x="5095" y="1716"/>
                      </a:lnTo>
                      <a:lnTo>
                        <a:pt x="5113" y="1756"/>
                      </a:lnTo>
                      <a:lnTo>
                        <a:pt x="5129" y="1797"/>
                      </a:lnTo>
                      <a:lnTo>
                        <a:pt x="5144" y="1840"/>
                      </a:lnTo>
                      <a:lnTo>
                        <a:pt x="5156" y="1883"/>
                      </a:lnTo>
                      <a:lnTo>
                        <a:pt x="5166" y="1928"/>
                      </a:lnTo>
                      <a:lnTo>
                        <a:pt x="5175" y="1972"/>
                      </a:lnTo>
                      <a:lnTo>
                        <a:pt x="5181" y="2018"/>
                      </a:lnTo>
                      <a:lnTo>
                        <a:pt x="5184" y="2064"/>
                      </a:lnTo>
                      <a:lnTo>
                        <a:pt x="5185" y="2111"/>
                      </a:lnTo>
                      <a:lnTo>
                        <a:pt x="5184" y="2159"/>
                      </a:lnTo>
                      <a:lnTo>
                        <a:pt x="5181" y="2204"/>
                      </a:lnTo>
                      <a:lnTo>
                        <a:pt x="5175" y="2250"/>
                      </a:lnTo>
                      <a:lnTo>
                        <a:pt x="5166" y="2295"/>
                      </a:lnTo>
                      <a:lnTo>
                        <a:pt x="5156" y="2339"/>
                      </a:lnTo>
                      <a:lnTo>
                        <a:pt x="5144" y="2382"/>
                      </a:lnTo>
                      <a:lnTo>
                        <a:pt x="5129" y="2425"/>
                      </a:lnTo>
                      <a:lnTo>
                        <a:pt x="5113" y="2467"/>
                      </a:lnTo>
                      <a:lnTo>
                        <a:pt x="5095" y="2507"/>
                      </a:lnTo>
                      <a:lnTo>
                        <a:pt x="5075" y="2547"/>
                      </a:lnTo>
                      <a:lnTo>
                        <a:pt x="5053" y="2584"/>
                      </a:lnTo>
                      <a:lnTo>
                        <a:pt x="5029" y="2622"/>
                      </a:lnTo>
                      <a:lnTo>
                        <a:pt x="5003" y="2657"/>
                      </a:lnTo>
                      <a:lnTo>
                        <a:pt x="4976" y="2692"/>
                      </a:lnTo>
                      <a:lnTo>
                        <a:pt x="4947" y="2725"/>
                      </a:lnTo>
                      <a:lnTo>
                        <a:pt x="4917" y="2756"/>
                      </a:lnTo>
                      <a:lnTo>
                        <a:pt x="4886" y="2788"/>
                      </a:lnTo>
                      <a:lnTo>
                        <a:pt x="4853" y="2817"/>
                      </a:lnTo>
                      <a:lnTo>
                        <a:pt x="4818" y="2842"/>
                      </a:lnTo>
                      <a:lnTo>
                        <a:pt x="4782" y="2868"/>
                      </a:lnTo>
                      <a:lnTo>
                        <a:pt x="4745" y="2892"/>
                      </a:lnTo>
                      <a:lnTo>
                        <a:pt x="4708" y="2914"/>
                      </a:lnTo>
                      <a:lnTo>
                        <a:pt x="4668" y="2934"/>
                      </a:lnTo>
                      <a:lnTo>
                        <a:pt x="4628" y="2953"/>
                      </a:lnTo>
                      <a:lnTo>
                        <a:pt x="4586" y="2968"/>
                      </a:lnTo>
                      <a:lnTo>
                        <a:pt x="4543" y="2983"/>
                      </a:lnTo>
                      <a:lnTo>
                        <a:pt x="4500" y="2996"/>
                      </a:lnTo>
                      <a:lnTo>
                        <a:pt x="4456" y="3006"/>
                      </a:lnTo>
                      <a:lnTo>
                        <a:pt x="4411" y="3014"/>
                      </a:lnTo>
                      <a:lnTo>
                        <a:pt x="4365" y="3020"/>
                      </a:lnTo>
                      <a:lnTo>
                        <a:pt x="4319" y="3023"/>
                      </a:lnTo>
                      <a:lnTo>
                        <a:pt x="4272" y="3024"/>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67" name="Group 166"/>
              <p:cNvGrpSpPr/>
              <p:nvPr/>
            </p:nvGrpSpPr>
            <p:grpSpPr>
              <a:xfrm>
                <a:off x="7250771" y="3581634"/>
                <a:ext cx="646887" cy="646887"/>
                <a:chOff x="8222515" y="6196098"/>
                <a:chExt cx="684476" cy="684476"/>
              </a:xfrm>
            </p:grpSpPr>
            <p:sp>
              <p:nvSpPr>
                <p:cNvPr id="190" name="Oval 189"/>
                <p:cNvSpPr/>
                <p:nvPr/>
              </p:nvSpPr>
              <p:spPr>
                <a:xfrm>
                  <a:off x="8222515" y="6196098"/>
                  <a:ext cx="684476" cy="684476"/>
                </a:xfrm>
                <a:prstGeom prst="ellipse">
                  <a:avLst/>
                </a:prstGeom>
                <a:solidFill>
                  <a:srgbClr val="999999"/>
                </a:solidFill>
                <a:ln w="12700">
                  <a:noFill/>
                  <a:prstDash val="solid"/>
                  <a:round/>
                  <a:headEnd/>
                  <a:tailEnd/>
                </a:ln>
              </p:spPr>
              <p:txBody>
                <a:bodyPr wrap="none" lIns="0" tIns="0" rIns="0" bIns="400518" anchor="t"/>
                <a:lstStyle/>
                <a:p>
                  <a:pPr algn="ctr" defTabSz="558057">
                    <a:lnSpc>
                      <a:spcPct val="90000"/>
                    </a:lnSpc>
                    <a:defRPr/>
                  </a:pPr>
                  <a:r>
                    <a:rPr lang="de-DE" sz="716" b="1" kern="0" dirty="0">
                      <a:solidFill>
                        <a:srgbClr val="F0F0F0"/>
                      </a:solidFill>
                      <a:latin typeface="+mj-lt"/>
                    </a:rPr>
                    <a:t>Logistics</a:t>
                  </a:r>
                  <a:br>
                    <a:rPr lang="de-DE" sz="716" b="1" kern="0" dirty="0">
                      <a:solidFill>
                        <a:srgbClr val="F0F0F0"/>
                      </a:solidFill>
                      <a:latin typeface="+mj-lt"/>
                    </a:rPr>
                  </a:br>
                  <a:r>
                    <a:rPr lang="de-DE" sz="716" b="1" kern="0" dirty="0" smtClean="0">
                      <a:solidFill>
                        <a:srgbClr val="F0F0F0"/>
                      </a:solidFill>
                      <a:latin typeface="+mj-lt"/>
                    </a:rPr>
                    <a:t>contractor</a:t>
                  </a:r>
                  <a:endParaRPr lang="de-DE" sz="716" b="1" kern="0" dirty="0">
                    <a:solidFill>
                      <a:srgbClr val="F0F0F0"/>
                    </a:solidFill>
                    <a:latin typeface="+mj-lt"/>
                  </a:endParaRPr>
                </a:p>
              </p:txBody>
            </p:sp>
            <p:sp>
              <p:nvSpPr>
                <p:cNvPr id="191" name="Freeform 17"/>
                <p:cNvSpPr>
                  <a:spLocks noChangeAspect="1" noEditPoints="1"/>
                </p:cNvSpPr>
                <p:nvPr/>
              </p:nvSpPr>
              <p:spPr bwMode="auto">
                <a:xfrm>
                  <a:off x="8417757" y="6561710"/>
                  <a:ext cx="307439" cy="269746"/>
                </a:xfrm>
                <a:custGeom>
                  <a:avLst/>
                  <a:gdLst>
                    <a:gd name="T0" fmla="*/ 570 w 2610"/>
                    <a:gd name="T1" fmla="*/ 1789 h 2290"/>
                    <a:gd name="T2" fmla="*/ 1358 w 2610"/>
                    <a:gd name="T3" fmla="*/ 1216 h 2290"/>
                    <a:gd name="T4" fmla="*/ 1277 w 2610"/>
                    <a:gd name="T5" fmla="*/ 1999 h 2290"/>
                    <a:gd name="T6" fmla="*/ 1112 w 2610"/>
                    <a:gd name="T7" fmla="*/ 1376 h 2290"/>
                    <a:gd name="T8" fmla="*/ 257 w 2610"/>
                    <a:gd name="T9" fmla="*/ 1517 h 2290"/>
                    <a:gd name="T10" fmla="*/ 2283 w 2610"/>
                    <a:gd name="T11" fmla="*/ 659 h 2290"/>
                    <a:gd name="T12" fmla="*/ 1521 w 2610"/>
                    <a:gd name="T13" fmla="*/ 95 h 2290"/>
                    <a:gd name="T14" fmla="*/ 1175 w 2610"/>
                    <a:gd name="T15" fmla="*/ 124 h 2290"/>
                    <a:gd name="T16" fmla="*/ 735 w 2610"/>
                    <a:gd name="T17" fmla="*/ 397 h 2290"/>
                    <a:gd name="T18" fmla="*/ 469 w 2610"/>
                    <a:gd name="T19" fmla="*/ 841 h 2290"/>
                    <a:gd name="T20" fmla="*/ 633 w 2610"/>
                    <a:gd name="T21" fmla="*/ 710 h 2290"/>
                    <a:gd name="T22" fmla="*/ 917 w 2610"/>
                    <a:gd name="T23" fmla="*/ 374 h 2290"/>
                    <a:gd name="T24" fmla="*/ 1323 w 2610"/>
                    <a:gd name="T25" fmla="*/ 191 h 2290"/>
                    <a:gd name="T26" fmla="*/ 2116 w 2610"/>
                    <a:gd name="T27" fmla="*/ 375 h 2290"/>
                    <a:gd name="T28" fmla="*/ 2312 w 2610"/>
                    <a:gd name="T29" fmla="*/ 574 h 2290"/>
                    <a:gd name="T30" fmla="*/ 2456 w 2610"/>
                    <a:gd name="T31" fmla="*/ 847 h 2290"/>
                    <a:gd name="T32" fmla="*/ 2508 w 2610"/>
                    <a:gd name="T33" fmla="*/ 1164 h 2290"/>
                    <a:gd name="T34" fmla="*/ 2477 w 2610"/>
                    <a:gd name="T35" fmla="*/ 1412 h 2290"/>
                    <a:gd name="T36" fmla="*/ 2250 w 2610"/>
                    <a:gd name="T37" fmla="*/ 1831 h 2290"/>
                    <a:gd name="T38" fmla="*/ 1810 w 2610"/>
                    <a:gd name="T39" fmla="*/ 2111 h 2290"/>
                    <a:gd name="T40" fmla="*/ 1541 w 2610"/>
                    <a:gd name="T41" fmla="*/ 2156 h 2290"/>
                    <a:gd name="T42" fmla="*/ 1313 w 2610"/>
                    <a:gd name="T43" fmla="*/ 2239 h 2290"/>
                    <a:gd name="T44" fmla="*/ 1655 w 2610"/>
                    <a:gd name="T45" fmla="*/ 2249 h 2290"/>
                    <a:gd name="T46" fmla="*/ 1941 w 2610"/>
                    <a:gd name="T47" fmla="*/ 2172 h 2290"/>
                    <a:gd name="T48" fmla="*/ 2190 w 2610"/>
                    <a:gd name="T49" fmla="*/ 2024 h 2290"/>
                    <a:gd name="T50" fmla="*/ 2393 w 2610"/>
                    <a:gd name="T51" fmla="*/ 1818 h 2290"/>
                    <a:gd name="T52" fmla="*/ 2534 w 2610"/>
                    <a:gd name="T53" fmla="*/ 1565 h 2290"/>
                    <a:gd name="T54" fmla="*/ 2604 w 2610"/>
                    <a:gd name="T55" fmla="*/ 1276 h 2290"/>
                    <a:gd name="T56" fmla="*/ 2591 w 2610"/>
                    <a:gd name="T57" fmla="*/ 961 h 2290"/>
                    <a:gd name="T58" fmla="*/ 2466 w 2610"/>
                    <a:gd name="T59" fmla="*/ 623 h 2290"/>
                    <a:gd name="T60" fmla="*/ 2244 w 2610"/>
                    <a:gd name="T61" fmla="*/ 348 h 2290"/>
                    <a:gd name="T62" fmla="*/ 1174 w 2610"/>
                    <a:gd name="T63" fmla="*/ 531 h 2290"/>
                    <a:gd name="T64" fmla="*/ 1320 w 2610"/>
                    <a:gd name="T65" fmla="*/ 271 h 2290"/>
                    <a:gd name="T66" fmla="*/ 1145 w 2610"/>
                    <a:gd name="T67" fmla="*/ 525 h 2290"/>
                    <a:gd name="T68" fmla="*/ 1065 w 2610"/>
                    <a:gd name="T69" fmla="*/ 838 h 2290"/>
                    <a:gd name="T70" fmla="*/ 1103 w 2610"/>
                    <a:gd name="T71" fmla="*/ 794 h 2290"/>
                    <a:gd name="T72" fmla="*/ 1423 w 2610"/>
                    <a:gd name="T73" fmla="*/ 1676 h 2290"/>
                    <a:gd name="T74" fmla="*/ 1897 w 2610"/>
                    <a:gd name="T75" fmla="*/ 1786 h 2290"/>
                    <a:gd name="T76" fmla="*/ 1769 w 2610"/>
                    <a:gd name="T77" fmla="*/ 2031 h 2290"/>
                    <a:gd name="T78" fmla="*/ 1894 w 2610"/>
                    <a:gd name="T79" fmla="*/ 1871 h 2290"/>
                    <a:gd name="T80" fmla="*/ 1982 w 2610"/>
                    <a:gd name="T81" fmla="*/ 1595 h 2290"/>
                    <a:gd name="T82" fmla="*/ 2435 w 2610"/>
                    <a:gd name="T83" fmla="*/ 1166 h 2290"/>
                    <a:gd name="T84" fmla="*/ 1971 w 2610"/>
                    <a:gd name="T85" fmla="*/ 679 h 2290"/>
                    <a:gd name="T86" fmla="*/ 1997 w 2610"/>
                    <a:gd name="T87" fmla="*/ 1150 h 2290"/>
                    <a:gd name="T88" fmla="*/ 1507 w 2610"/>
                    <a:gd name="T89" fmla="*/ 366 h 2290"/>
                    <a:gd name="T90" fmla="*/ 1532 w 2610"/>
                    <a:gd name="T91" fmla="*/ 1648 h 2290"/>
                    <a:gd name="T92" fmla="*/ 2061 w 2610"/>
                    <a:gd name="T93" fmla="*/ 173 h 2290"/>
                    <a:gd name="T94" fmla="*/ 1961 w 2610"/>
                    <a:gd name="T95" fmla="*/ 45 h 2290"/>
                    <a:gd name="T96" fmla="*/ 1827 w 2610"/>
                    <a:gd name="T97" fmla="*/ 0 h 2290"/>
                    <a:gd name="T98" fmla="*/ 1699 w 2610"/>
                    <a:gd name="T99" fmla="*/ 26 h 2290"/>
                    <a:gd name="T100" fmla="*/ 1582 w 2610"/>
                    <a:gd name="T101" fmla="*/ 137 h 2290"/>
                    <a:gd name="T102" fmla="*/ 1550 w 2610"/>
                    <a:gd name="T103" fmla="*/ 264 h 2290"/>
                    <a:gd name="T104" fmla="*/ 1682 w 2610"/>
                    <a:gd name="T105" fmla="*/ 593 h 2290"/>
                    <a:gd name="T106" fmla="*/ 1945 w 2610"/>
                    <a:gd name="T107" fmla="*/ 593 h 2290"/>
                    <a:gd name="T108" fmla="*/ 2077 w 2610"/>
                    <a:gd name="T109" fmla="*/ 264 h 2290"/>
                    <a:gd name="T110" fmla="*/ 1741 w 2610"/>
                    <a:gd name="T111" fmla="*/ 194 h 2290"/>
                    <a:gd name="T112" fmla="*/ 1834 w 2610"/>
                    <a:gd name="T113" fmla="*/ 167 h 2290"/>
                    <a:gd name="T114" fmla="*/ 1912 w 2610"/>
                    <a:gd name="T115" fmla="*/ 236 h 2290"/>
                    <a:gd name="T116" fmla="*/ 1892 w 2610"/>
                    <a:gd name="T117" fmla="*/ 332 h 2290"/>
                    <a:gd name="T118" fmla="*/ 1802 w 2610"/>
                    <a:gd name="T119" fmla="*/ 369 h 2290"/>
                    <a:gd name="T120" fmla="*/ 1718 w 2610"/>
                    <a:gd name="T121" fmla="*/ 307 h 2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10" h="2290">
                      <a:moveTo>
                        <a:pt x="479" y="1597"/>
                      </a:moveTo>
                      <a:lnTo>
                        <a:pt x="479" y="1597"/>
                      </a:lnTo>
                      <a:lnTo>
                        <a:pt x="479" y="1597"/>
                      </a:lnTo>
                      <a:lnTo>
                        <a:pt x="479" y="1597"/>
                      </a:lnTo>
                      <a:lnTo>
                        <a:pt x="388" y="1656"/>
                      </a:lnTo>
                      <a:lnTo>
                        <a:pt x="388" y="1711"/>
                      </a:lnTo>
                      <a:lnTo>
                        <a:pt x="439" y="1679"/>
                      </a:lnTo>
                      <a:lnTo>
                        <a:pt x="439" y="1958"/>
                      </a:lnTo>
                      <a:lnTo>
                        <a:pt x="520" y="1984"/>
                      </a:lnTo>
                      <a:lnTo>
                        <a:pt x="520" y="1721"/>
                      </a:lnTo>
                      <a:lnTo>
                        <a:pt x="570" y="1789"/>
                      </a:lnTo>
                      <a:lnTo>
                        <a:pt x="570" y="1722"/>
                      </a:lnTo>
                      <a:lnTo>
                        <a:pt x="479" y="1597"/>
                      </a:lnTo>
                      <a:lnTo>
                        <a:pt x="479" y="1597"/>
                      </a:lnTo>
                      <a:close/>
                      <a:moveTo>
                        <a:pt x="1358" y="1216"/>
                      </a:moveTo>
                      <a:lnTo>
                        <a:pt x="615" y="974"/>
                      </a:lnTo>
                      <a:lnTo>
                        <a:pt x="0" y="1218"/>
                      </a:lnTo>
                      <a:lnTo>
                        <a:pt x="2" y="2013"/>
                      </a:lnTo>
                      <a:lnTo>
                        <a:pt x="2" y="2043"/>
                      </a:lnTo>
                      <a:lnTo>
                        <a:pt x="754" y="2290"/>
                      </a:lnTo>
                      <a:lnTo>
                        <a:pt x="1358" y="2055"/>
                      </a:lnTo>
                      <a:lnTo>
                        <a:pt x="1358" y="1216"/>
                      </a:lnTo>
                      <a:close/>
                      <a:moveTo>
                        <a:pt x="618" y="1061"/>
                      </a:moveTo>
                      <a:lnTo>
                        <a:pt x="1269" y="1272"/>
                      </a:lnTo>
                      <a:lnTo>
                        <a:pt x="1106" y="1335"/>
                      </a:lnTo>
                      <a:lnTo>
                        <a:pt x="457" y="1124"/>
                      </a:lnTo>
                      <a:lnTo>
                        <a:pt x="618" y="1061"/>
                      </a:lnTo>
                      <a:close/>
                      <a:moveTo>
                        <a:pt x="260" y="1203"/>
                      </a:moveTo>
                      <a:lnTo>
                        <a:pt x="906" y="1413"/>
                      </a:lnTo>
                      <a:lnTo>
                        <a:pt x="757" y="1470"/>
                      </a:lnTo>
                      <a:lnTo>
                        <a:pt x="114" y="1260"/>
                      </a:lnTo>
                      <a:lnTo>
                        <a:pt x="260" y="1203"/>
                      </a:lnTo>
                      <a:close/>
                      <a:moveTo>
                        <a:pt x="1277" y="1999"/>
                      </a:moveTo>
                      <a:lnTo>
                        <a:pt x="776" y="2194"/>
                      </a:lnTo>
                      <a:lnTo>
                        <a:pt x="776" y="1582"/>
                      </a:lnTo>
                      <a:lnTo>
                        <a:pt x="736" y="1582"/>
                      </a:lnTo>
                      <a:lnTo>
                        <a:pt x="736" y="2198"/>
                      </a:lnTo>
                      <a:lnTo>
                        <a:pt x="83" y="1984"/>
                      </a:lnTo>
                      <a:lnTo>
                        <a:pt x="82" y="1291"/>
                      </a:lnTo>
                      <a:lnTo>
                        <a:pt x="758" y="1513"/>
                      </a:lnTo>
                      <a:lnTo>
                        <a:pt x="946" y="1440"/>
                      </a:lnTo>
                      <a:lnTo>
                        <a:pt x="946" y="1608"/>
                      </a:lnTo>
                      <a:lnTo>
                        <a:pt x="1113" y="1544"/>
                      </a:lnTo>
                      <a:lnTo>
                        <a:pt x="1112" y="1376"/>
                      </a:lnTo>
                      <a:lnTo>
                        <a:pt x="1277" y="1313"/>
                      </a:lnTo>
                      <a:lnTo>
                        <a:pt x="1277" y="1999"/>
                      </a:lnTo>
                      <a:close/>
                      <a:moveTo>
                        <a:pt x="215" y="1884"/>
                      </a:moveTo>
                      <a:lnTo>
                        <a:pt x="297" y="1911"/>
                      </a:lnTo>
                      <a:lnTo>
                        <a:pt x="297" y="1641"/>
                      </a:lnTo>
                      <a:lnTo>
                        <a:pt x="348" y="1710"/>
                      </a:lnTo>
                      <a:lnTo>
                        <a:pt x="348" y="1641"/>
                      </a:lnTo>
                      <a:lnTo>
                        <a:pt x="257" y="1518"/>
                      </a:lnTo>
                      <a:lnTo>
                        <a:pt x="257" y="1517"/>
                      </a:lnTo>
                      <a:lnTo>
                        <a:pt x="257" y="1517"/>
                      </a:lnTo>
                      <a:lnTo>
                        <a:pt x="257" y="1517"/>
                      </a:lnTo>
                      <a:lnTo>
                        <a:pt x="257" y="1517"/>
                      </a:lnTo>
                      <a:lnTo>
                        <a:pt x="166" y="1575"/>
                      </a:lnTo>
                      <a:lnTo>
                        <a:pt x="166" y="1631"/>
                      </a:lnTo>
                      <a:lnTo>
                        <a:pt x="215" y="1599"/>
                      </a:lnTo>
                      <a:lnTo>
                        <a:pt x="215" y="1884"/>
                      </a:lnTo>
                      <a:close/>
                      <a:moveTo>
                        <a:pt x="168" y="1944"/>
                      </a:moveTo>
                      <a:lnTo>
                        <a:pt x="570" y="2076"/>
                      </a:lnTo>
                      <a:lnTo>
                        <a:pt x="570" y="2034"/>
                      </a:lnTo>
                      <a:lnTo>
                        <a:pt x="168" y="1901"/>
                      </a:lnTo>
                      <a:lnTo>
                        <a:pt x="168" y="1944"/>
                      </a:lnTo>
                      <a:close/>
                      <a:moveTo>
                        <a:pt x="2283" y="659"/>
                      </a:moveTo>
                      <a:lnTo>
                        <a:pt x="2283" y="659"/>
                      </a:lnTo>
                      <a:lnTo>
                        <a:pt x="2262" y="630"/>
                      </a:lnTo>
                      <a:lnTo>
                        <a:pt x="1997" y="629"/>
                      </a:lnTo>
                      <a:lnTo>
                        <a:pt x="1997" y="629"/>
                      </a:lnTo>
                      <a:lnTo>
                        <a:pt x="1982" y="658"/>
                      </a:lnTo>
                      <a:lnTo>
                        <a:pt x="2283" y="659"/>
                      </a:lnTo>
                      <a:close/>
                      <a:moveTo>
                        <a:pt x="1492" y="173"/>
                      </a:moveTo>
                      <a:lnTo>
                        <a:pt x="1492" y="173"/>
                      </a:lnTo>
                      <a:lnTo>
                        <a:pt x="1499" y="145"/>
                      </a:lnTo>
                      <a:lnTo>
                        <a:pt x="1509" y="120"/>
                      </a:lnTo>
                      <a:lnTo>
                        <a:pt x="1521" y="95"/>
                      </a:lnTo>
                      <a:lnTo>
                        <a:pt x="1535" y="71"/>
                      </a:lnTo>
                      <a:lnTo>
                        <a:pt x="1535" y="71"/>
                      </a:lnTo>
                      <a:lnTo>
                        <a:pt x="1515" y="71"/>
                      </a:lnTo>
                      <a:lnTo>
                        <a:pt x="1515" y="71"/>
                      </a:lnTo>
                      <a:lnTo>
                        <a:pt x="1465" y="72"/>
                      </a:lnTo>
                      <a:lnTo>
                        <a:pt x="1414" y="75"/>
                      </a:lnTo>
                      <a:lnTo>
                        <a:pt x="1365" y="81"/>
                      </a:lnTo>
                      <a:lnTo>
                        <a:pt x="1316" y="89"/>
                      </a:lnTo>
                      <a:lnTo>
                        <a:pt x="1269" y="99"/>
                      </a:lnTo>
                      <a:lnTo>
                        <a:pt x="1221" y="110"/>
                      </a:lnTo>
                      <a:lnTo>
                        <a:pt x="1175" y="124"/>
                      </a:lnTo>
                      <a:lnTo>
                        <a:pt x="1129" y="140"/>
                      </a:lnTo>
                      <a:lnTo>
                        <a:pt x="1085" y="159"/>
                      </a:lnTo>
                      <a:lnTo>
                        <a:pt x="1041" y="178"/>
                      </a:lnTo>
                      <a:lnTo>
                        <a:pt x="999" y="200"/>
                      </a:lnTo>
                      <a:lnTo>
                        <a:pt x="957" y="223"/>
                      </a:lnTo>
                      <a:lnTo>
                        <a:pt x="918" y="247"/>
                      </a:lnTo>
                      <a:lnTo>
                        <a:pt x="878" y="275"/>
                      </a:lnTo>
                      <a:lnTo>
                        <a:pt x="841" y="303"/>
                      </a:lnTo>
                      <a:lnTo>
                        <a:pt x="804" y="333"/>
                      </a:lnTo>
                      <a:lnTo>
                        <a:pt x="769" y="365"/>
                      </a:lnTo>
                      <a:lnTo>
                        <a:pt x="735" y="397"/>
                      </a:lnTo>
                      <a:lnTo>
                        <a:pt x="703" y="431"/>
                      </a:lnTo>
                      <a:lnTo>
                        <a:pt x="672" y="466"/>
                      </a:lnTo>
                      <a:lnTo>
                        <a:pt x="643" y="504"/>
                      </a:lnTo>
                      <a:lnTo>
                        <a:pt x="615" y="542"/>
                      </a:lnTo>
                      <a:lnTo>
                        <a:pt x="588" y="582"/>
                      </a:lnTo>
                      <a:lnTo>
                        <a:pt x="564" y="622"/>
                      </a:lnTo>
                      <a:lnTo>
                        <a:pt x="542" y="663"/>
                      </a:lnTo>
                      <a:lnTo>
                        <a:pt x="521" y="707"/>
                      </a:lnTo>
                      <a:lnTo>
                        <a:pt x="501" y="750"/>
                      </a:lnTo>
                      <a:lnTo>
                        <a:pt x="484" y="796"/>
                      </a:lnTo>
                      <a:lnTo>
                        <a:pt x="469" y="841"/>
                      </a:lnTo>
                      <a:lnTo>
                        <a:pt x="456" y="888"/>
                      </a:lnTo>
                      <a:lnTo>
                        <a:pt x="445" y="935"/>
                      </a:lnTo>
                      <a:lnTo>
                        <a:pt x="436" y="983"/>
                      </a:lnTo>
                      <a:lnTo>
                        <a:pt x="548" y="940"/>
                      </a:lnTo>
                      <a:lnTo>
                        <a:pt x="548" y="940"/>
                      </a:lnTo>
                      <a:lnTo>
                        <a:pt x="558" y="900"/>
                      </a:lnTo>
                      <a:lnTo>
                        <a:pt x="570" y="860"/>
                      </a:lnTo>
                      <a:lnTo>
                        <a:pt x="583" y="821"/>
                      </a:lnTo>
                      <a:lnTo>
                        <a:pt x="598" y="784"/>
                      </a:lnTo>
                      <a:lnTo>
                        <a:pt x="615" y="746"/>
                      </a:lnTo>
                      <a:lnTo>
                        <a:pt x="633" y="710"/>
                      </a:lnTo>
                      <a:lnTo>
                        <a:pt x="652" y="673"/>
                      </a:lnTo>
                      <a:lnTo>
                        <a:pt x="673" y="639"/>
                      </a:lnTo>
                      <a:lnTo>
                        <a:pt x="695" y="606"/>
                      </a:lnTo>
                      <a:lnTo>
                        <a:pt x="719" y="573"/>
                      </a:lnTo>
                      <a:lnTo>
                        <a:pt x="743" y="541"/>
                      </a:lnTo>
                      <a:lnTo>
                        <a:pt x="769" y="510"/>
                      </a:lnTo>
                      <a:lnTo>
                        <a:pt x="797" y="481"/>
                      </a:lnTo>
                      <a:lnTo>
                        <a:pt x="825" y="452"/>
                      </a:lnTo>
                      <a:lnTo>
                        <a:pt x="854" y="425"/>
                      </a:lnTo>
                      <a:lnTo>
                        <a:pt x="884" y="399"/>
                      </a:lnTo>
                      <a:lnTo>
                        <a:pt x="917" y="374"/>
                      </a:lnTo>
                      <a:lnTo>
                        <a:pt x="949" y="349"/>
                      </a:lnTo>
                      <a:lnTo>
                        <a:pt x="983" y="327"/>
                      </a:lnTo>
                      <a:lnTo>
                        <a:pt x="1017" y="307"/>
                      </a:lnTo>
                      <a:lnTo>
                        <a:pt x="1052" y="287"/>
                      </a:lnTo>
                      <a:lnTo>
                        <a:pt x="1089" y="269"/>
                      </a:lnTo>
                      <a:lnTo>
                        <a:pt x="1126" y="251"/>
                      </a:lnTo>
                      <a:lnTo>
                        <a:pt x="1164" y="236"/>
                      </a:lnTo>
                      <a:lnTo>
                        <a:pt x="1203" y="223"/>
                      </a:lnTo>
                      <a:lnTo>
                        <a:pt x="1242" y="211"/>
                      </a:lnTo>
                      <a:lnTo>
                        <a:pt x="1283" y="200"/>
                      </a:lnTo>
                      <a:lnTo>
                        <a:pt x="1323" y="191"/>
                      </a:lnTo>
                      <a:lnTo>
                        <a:pt x="1365" y="184"/>
                      </a:lnTo>
                      <a:lnTo>
                        <a:pt x="1406" y="179"/>
                      </a:lnTo>
                      <a:lnTo>
                        <a:pt x="1449" y="175"/>
                      </a:lnTo>
                      <a:lnTo>
                        <a:pt x="1492" y="173"/>
                      </a:lnTo>
                      <a:lnTo>
                        <a:pt x="1492" y="173"/>
                      </a:lnTo>
                      <a:close/>
                      <a:moveTo>
                        <a:pt x="2143" y="269"/>
                      </a:moveTo>
                      <a:lnTo>
                        <a:pt x="2143" y="269"/>
                      </a:lnTo>
                      <a:lnTo>
                        <a:pt x="2140" y="292"/>
                      </a:lnTo>
                      <a:lnTo>
                        <a:pt x="2134" y="318"/>
                      </a:lnTo>
                      <a:lnTo>
                        <a:pt x="2126" y="345"/>
                      </a:lnTo>
                      <a:lnTo>
                        <a:pt x="2116" y="375"/>
                      </a:lnTo>
                      <a:lnTo>
                        <a:pt x="2116" y="375"/>
                      </a:lnTo>
                      <a:lnTo>
                        <a:pt x="2138" y="393"/>
                      </a:lnTo>
                      <a:lnTo>
                        <a:pt x="2159" y="410"/>
                      </a:lnTo>
                      <a:lnTo>
                        <a:pt x="2180" y="429"/>
                      </a:lnTo>
                      <a:lnTo>
                        <a:pt x="2201" y="447"/>
                      </a:lnTo>
                      <a:lnTo>
                        <a:pt x="2221" y="467"/>
                      </a:lnTo>
                      <a:lnTo>
                        <a:pt x="2240" y="488"/>
                      </a:lnTo>
                      <a:lnTo>
                        <a:pt x="2259" y="508"/>
                      </a:lnTo>
                      <a:lnTo>
                        <a:pt x="2277" y="529"/>
                      </a:lnTo>
                      <a:lnTo>
                        <a:pt x="2296" y="551"/>
                      </a:lnTo>
                      <a:lnTo>
                        <a:pt x="2312" y="574"/>
                      </a:lnTo>
                      <a:lnTo>
                        <a:pt x="2329" y="596"/>
                      </a:lnTo>
                      <a:lnTo>
                        <a:pt x="2344" y="619"/>
                      </a:lnTo>
                      <a:lnTo>
                        <a:pt x="2359" y="643"/>
                      </a:lnTo>
                      <a:lnTo>
                        <a:pt x="2374" y="667"/>
                      </a:lnTo>
                      <a:lnTo>
                        <a:pt x="2388" y="692"/>
                      </a:lnTo>
                      <a:lnTo>
                        <a:pt x="2401" y="717"/>
                      </a:lnTo>
                      <a:lnTo>
                        <a:pt x="2414" y="742"/>
                      </a:lnTo>
                      <a:lnTo>
                        <a:pt x="2425" y="768"/>
                      </a:lnTo>
                      <a:lnTo>
                        <a:pt x="2436" y="795"/>
                      </a:lnTo>
                      <a:lnTo>
                        <a:pt x="2446" y="821"/>
                      </a:lnTo>
                      <a:lnTo>
                        <a:pt x="2456" y="847"/>
                      </a:lnTo>
                      <a:lnTo>
                        <a:pt x="2464" y="874"/>
                      </a:lnTo>
                      <a:lnTo>
                        <a:pt x="2473" y="903"/>
                      </a:lnTo>
                      <a:lnTo>
                        <a:pt x="2480" y="931"/>
                      </a:lnTo>
                      <a:lnTo>
                        <a:pt x="2487" y="958"/>
                      </a:lnTo>
                      <a:lnTo>
                        <a:pt x="2492" y="987"/>
                      </a:lnTo>
                      <a:lnTo>
                        <a:pt x="2497" y="1016"/>
                      </a:lnTo>
                      <a:lnTo>
                        <a:pt x="2501" y="1045"/>
                      </a:lnTo>
                      <a:lnTo>
                        <a:pt x="2504" y="1074"/>
                      </a:lnTo>
                      <a:lnTo>
                        <a:pt x="2506" y="1105"/>
                      </a:lnTo>
                      <a:lnTo>
                        <a:pt x="2508" y="1134"/>
                      </a:lnTo>
                      <a:lnTo>
                        <a:pt x="2508" y="1164"/>
                      </a:lnTo>
                      <a:lnTo>
                        <a:pt x="2508" y="1164"/>
                      </a:lnTo>
                      <a:lnTo>
                        <a:pt x="2508" y="1189"/>
                      </a:lnTo>
                      <a:lnTo>
                        <a:pt x="2507" y="1216"/>
                      </a:lnTo>
                      <a:lnTo>
                        <a:pt x="2505" y="1241"/>
                      </a:lnTo>
                      <a:lnTo>
                        <a:pt x="2503" y="1265"/>
                      </a:lnTo>
                      <a:lnTo>
                        <a:pt x="2500" y="1290"/>
                      </a:lnTo>
                      <a:lnTo>
                        <a:pt x="2497" y="1316"/>
                      </a:lnTo>
                      <a:lnTo>
                        <a:pt x="2493" y="1340"/>
                      </a:lnTo>
                      <a:lnTo>
                        <a:pt x="2488" y="1364"/>
                      </a:lnTo>
                      <a:lnTo>
                        <a:pt x="2483" y="1388"/>
                      </a:lnTo>
                      <a:lnTo>
                        <a:pt x="2477" y="1412"/>
                      </a:lnTo>
                      <a:lnTo>
                        <a:pt x="2471" y="1436"/>
                      </a:lnTo>
                      <a:lnTo>
                        <a:pt x="2463" y="1459"/>
                      </a:lnTo>
                      <a:lnTo>
                        <a:pt x="2447" y="1505"/>
                      </a:lnTo>
                      <a:lnTo>
                        <a:pt x="2430" y="1550"/>
                      </a:lnTo>
                      <a:lnTo>
                        <a:pt x="2410" y="1594"/>
                      </a:lnTo>
                      <a:lnTo>
                        <a:pt x="2388" y="1637"/>
                      </a:lnTo>
                      <a:lnTo>
                        <a:pt x="2364" y="1678"/>
                      </a:lnTo>
                      <a:lnTo>
                        <a:pt x="2338" y="1719"/>
                      </a:lnTo>
                      <a:lnTo>
                        <a:pt x="2311" y="1757"/>
                      </a:lnTo>
                      <a:lnTo>
                        <a:pt x="2281" y="1795"/>
                      </a:lnTo>
                      <a:lnTo>
                        <a:pt x="2250" y="1831"/>
                      </a:lnTo>
                      <a:lnTo>
                        <a:pt x="2217" y="1865"/>
                      </a:lnTo>
                      <a:lnTo>
                        <a:pt x="2182" y="1898"/>
                      </a:lnTo>
                      <a:lnTo>
                        <a:pt x="2146" y="1930"/>
                      </a:lnTo>
                      <a:lnTo>
                        <a:pt x="2109" y="1959"/>
                      </a:lnTo>
                      <a:lnTo>
                        <a:pt x="2070" y="1986"/>
                      </a:lnTo>
                      <a:lnTo>
                        <a:pt x="2030" y="2012"/>
                      </a:lnTo>
                      <a:lnTo>
                        <a:pt x="1988" y="2036"/>
                      </a:lnTo>
                      <a:lnTo>
                        <a:pt x="1946" y="2058"/>
                      </a:lnTo>
                      <a:lnTo>
                        <a:pt x="1901" y="2078"/>
                      </a:lnTo>
                      <a:lnTo>
                        <a:pt x="1856" y="2095"/>
                      </a:lnTo>
                      <a:lnTo>
                        <a:pt x="1810" y="2111"/>
                      </a:lnTo>
                      <a:lnTo>
                        <a:pt x="1787" y="2118"/>
                      </a:lnTo>
                      <a:lnTo>
                        <a:pt x="1763" y="2124"/>
                      </a:lnTo>
                      <a:lnTo>
                        <a:pt x="1740" y="2130"/>
                      </a:lnTo>
                      <a:lnTo>
                        <a:pt x="1715" y="2136"/>
                      </a:lnTo>
                      <a:lnTo>
                        <a:pt x="1691" y="2141"/>
                      </a:lnTo>
                      <a:lnTo>
                        <a:pt x="1666" y="2145"/>
                      </a:lnTo>
                      <a:lnTo>
                        <a:pt x="1642" y="2148"/>
                      </a:lnTo>
                      <a:lnTo>
                        <a:pt x="1616" y="2151"/>
                      </a:lnTo>
                      <a:lnTo>
                        <a:pt x="1591" y="2153"/>
                      </a:lnTo>
                      <a:lnTo>
                        <a:pt x="1566" y="2155"/>
                      </a:lnTo>
                      <a:lnTo>
                        <a:pt x="1541" y="2156"/>
                      </a:lnTo>
                      <a:lnTo>
                        <a:pt x="1515" y="2156"/>
                      </a:lnTo>
                      <a:lnTo>
                        <a:pt x="1515" y="2156"/>
                      </a:lnTo>
                      <a:lnTo>
                        <a:pt x="1476" y="2156"/>
                      </a:lnTo>
                      <a:lnTo>
                        <a:pt x="1437" y="2153"/>
                      </a:lnTo>
                      <a:lnTo>
                        <a:pt x="1399" y="2150"/>
                      </a:lnTo>
                      <a:lnTo>
                        <a:pt x="1362" y="2145"/>
                      </a:lnTo>
                      <a:lnTo>
                        <a:pt x="1197" y="2210"/>
                      </a:lnTo>
                      <a:lnTo>
                        <a:pt x="1197" y="2210"/>
                      </a:lnTo>
                      <a:lnTo>
                        <a:pt x="1235" y="2221"/>
                      </a:lnTo>
                      <a:lnTo>
                        <a:pt x="1274" y="2230"/>
                      </a:lnTo>
                      <a:lnTo>
                        <a:pt x="1313" y="2239"/>
                      </a:lnTo>
                      <a:lnTo>
                        <a:pt x="1353" y="2246"/>
                      </a:lnTo>
                      <a:lnTo>
                        <a:pt x="1392" y="2251"/>
                      </a:lnTo>
                      <a:lnTo>
                        <a:pt x="1432" y="2255"/>
                      </a:lnTo>
                      <a:lnTo>
                        <a:pt x="1474" y="2257"/>
                      </a:lnTo>
                      <a:lnTo>
                        <a:pt x="1515" y="2258"/>
                      </a:lnTo>
                      <a:lnTo>
                        <a:pt x="1515" y="2258"/>
                      </a:lnTo>
                      <a:lnTo>
                        <a:pt x="1544" y="2258"/>
                      </a:lnTo>
                      <a:lnTo>
                        <a:pt x="1572" y="2257"/>
                      </a:lnTo>
                      <a:lnTo>
                        <a:pt x="1599" y="2255"/>
                      </a:lnTo>
                      <a:lnTo>
                        <a:pt x="1627" y="2252"/>
                      </a:lnTo>
                      <a:lnTo>
                        <a:pt x="1655" y="2249"/>
                      </a:lnTo>
                      <a:lnTo>
                        <a:pt x="1682" y="2246"/>
                      </a:lnTo>
                      <a:lnTo>
                        <a:pt x="1709" y="2241"/>
                      </a:lnTo>
                      <a:lnTo>
                        <a:pt x="1736" y="2235"/>
                      </a:lnTo>
                      <a:lnTo>
                        <a:pt x="1762" y="2229"/>
                      </a:lnTo>
                      <a:lnTo>
                        <a:pt x="1788" y="2223"/>
                      </a:lnTo>
                      <a:lnTo>
                        <a:pt x="1814" y="2216"/>
                      </a:lnTo>
                      <a:lnTo>
                        <a:pt x="1841" y="2208"/>
                      </a:lnTo>
                      <a:lnTo>
                        <a:pt x="1866" y="2200"/>
                      </a:lnTo>
                      <a:lnTo>
                        <a:pt x="1891" y="2191"/>
                      </a:lnTo>
                      <a:lnTo>
                        <a:pt x="1917" y="2182"/>
                      </a:lnTo>
                      <a:lnTo>
                        <a:pt x="1941" y="2172"/>
                      </a:lnTo>
                      <a:lnTo>
                        <a:pt x="1966" y="2161"/>
                      </a:lnTo>
                      <a:lnTo>
                        <a:pt x="1989" y="2150"/>
                      </a:lnTo>
                      <a:lnTo>
                        <a:pt x="2014" y="2139"/>
                      </a:lnTo>
                      <a:lnTo>
                        <a:pt x="2037" y="2125"/>
                      </a:lnTo>
                      <a:lnTo>
                        <a:pt x="2060" y="2113"/>
                      </a:lnTo>
                      <a:lnTo>
                        <a:pt x="2082" y="2099"/>
                      </a:lnTo>
                      <a:lnTo>
                        <a:pt x="2106" y="2085"/>
                      </a:lnTo>
                      <a:lnTo>
                        <a:pt x="2127" y="2071"/>
                      </a:lnTo>
                      <a:lnTo>
                        <a:pt x="2149" y="2056"/>
                      </a:lnTo>
                      <a:lnTo>
                        <a:pt x="2170" y="2041"/>
                      </a:lnTo>
                      <a:lnTo>
                        <a:pt x="2190" y="2024"/>
                      </a:lnTo>
                      <a:lnTo>
                        <a:pt x="2212" y="2008"/>
                      </a:lnTo>
                      <a:lnTo>
                        <a:pt x="2232" y="1991"/>
                      </a:lnTo>
                      <a:lnTo>
                        <a:pt x="2251" y="1974"/>
                      </a:lnTo>
                      <a:lnTo>
                        <a:pt x="2270" y="1956"/>
                      </a:lnTo>
                      <a:lnTo>
                        <a:pt x="2290" y="1938"/>
                      </a:lnTo>
                      <a:lnTo>
                        <a:pt x="2308" y="1918"/>
                      </a:lnTo>
                      <a:lnTo>
                        <a:pt x="2326" y="1899"/>
                      </a:lnTo>
                      <a:lnTo>
                        <a:pt x="2343" y="1880"/>
                      </a:lnTo>
                      <a:lnTo>
                        <a:pt x="2360" y="1860"/>
                      </a:lnTo>
                      <a:lnTo>
                        <a:pt x="2376" y="1840"/>
                      </a:lnTo>
                      <a:lnTo>
                        <a:pt x="2393" y="1818"/>
                      </a:lnTo>
                      <a:lnTo>
                        <a:pt x="2408" y="1797"/>
                      </a:lnTo>
                      <a:lnTo>
                        <a:pt x="2423" y="1776"/>
                      </a:lnTo>
                      <a:lnTo>
                        <a:pt x="2437" y="1754"/>
                      </a:lnTo>
                      <a:lnTo>
                        <a:pt x="2451" y="1732"/>
                      </a:lnTo>
                      <a:lnTo>
                        <a:pt x="2464" y="1708"/>
                      </a:lnTo>
                      <a:lnTo>
                        <a:pt x="2478" y="1685"/>
                      </a:lnTo>
                      <a:lnTo>
                        <a:pt x="2490" y="1662"/>
                      </a:lnTo>
                      <a:lnTo>
                        <a:pt x="2502" y="1639"/>
                      </a:lnTo>
                      <a:lnTo>
                        <a:pt x="2513" y="1615"/>
                      </a:lnTo>
                      <a:lnTo>
                        <a:pt x="2524" y="1590"/>
                      </a:lnTo>
                      <a:lnTo>
                        <a:pt x="2534" y="1565"/>
                      </a:lnTo>
                      <a:lnTo>
                        <a:pt x="2543" y="1540"/>
                      </a:lnTo>
                      <a:lnTo>
                        <a:pt x="2552" y="1515"/>
                      </a:lnTo>
                      <a:lnTo>
                        <a:pt x="2560" y="1489"/>
                      </a:lnTo>
                      <a:lnTo>
                        <a:pt x="2569" y="1463"/>
                      </a:lnTo>
                      <a:lnTo>
                        <a:pt x="2576" y="1438"/>
                      </a:lnTo>
                      <a:lnTo>
                        <a:pt x="2582" y="1412"/>
                      </a:lnTo>
                      <a:lnTo>
                        <a:pt x="2588" y="1384"/>
                      </a:lnTo>
                      <a:lnTo>
                        <a:pt x="2593" y="1358"/>
                      </a:lnTo>
                      <a:lnTo>
                        <a:pt x="2597" y="1331"/>
                      </a:lnTo>
                      <a:lnTo>
                        <a:pt x="2601" y="1304"/>
                      </a:lnTo>
                      <a:lnTo>
                        <a:pt x="2604" y="1276"/>
                      </a:lnTo>
                      <a:lnTo>
                        <a:pt x="2607" y="1248"/>
                      </a:lnTo>
                      <a:lnTo>
                        <a:pt x="2608" y="1221"/>
                      </a:lnTo>
                      <a:lnTo>
                        <a:pt x="2610" y="1192"/>
                      </a:lnTo>
                      <a:lnTo>
                        <a:pt x="2610" y="1164"/>
                      </a:lnTo>
                      <a:lnTo>
                        <a:pt x="2610" y="1164"/>
                      </a:lnTo>
                      <a:lnTo>
                        <a:pt x="2609" y="1130"/>
                      </a:lnTo>
                      <a:lnTo>
                        <a:pt x="2608" y="1096"/>
                      </a:lnTo>
                      <a:lnTo>
                        <a:pt x="2605" y="1061"/>
                      </a:lnTo>
                      <a:lnTo>
                        <a:pt x="2601" y="1028"/>
                      </a:lnTo>
                      <a:lnTo>
                        <a:pt x="2597" y="994"/>
                      </a:lnTo>
                      <a:lnTo>
                        <a:pt x="2591" y="961"/>
                      </a:lnTo>
                      <a:lnTo>
                        <a:pt x="2585" y="928"/>
                      </a:lnTo>
                      <a:lnTo>
                        <a:pt x="2577" y="896"/>
                      </a:lnTo>
                      <a:lnTo>
                        <a:pt x="2568" y="863"/>
                      </a:lnTo>
                      <a:lnTo>
                        <a:pt x="2558" y="832"/>
                      </a:lnTo>
                      <a:lnTo>
                        <a:pt x="2548" y="801"/>
                      </a:lnTo>
                      <a:lnTo>
                        <a:pt x="2536" y="770"/>
                      </a:lnTo>
                      <a:lnTo>
                        <a:pt x="2524" y="740"/>
                      </a:lnTo>
                      <a:lnTo>
                        <a:pt x="2511" y="710"/>
                      </a:lnTo>
                      <a:lnTo>
                        <a:pt x="2497" y="681"/>
                      </a:lnTo>
                      <a:lnTo>
                        <a:pt x="2483" y="651"/>
                      </a:lnTo>
                      <a:lnTo>
                        <a:pt x="2466" y="623"/>
                      </a:lnTo>
                      <a:lnTo>
                        <a:pt x="2450" y="596"/>
                      </a:lnTo>
                      <a:lnTo>
                        <a:pt x="2433" y="567"/>
                      </a:lnTo>
                      <a:lnTo>
                        <a:pt x="2415" y="541"/>
                      </a:lnTo>
                      <a:lnTo>
                        <a:pt x="2396" y="515"/>
                      </a:lnTo>
                      <a:lnTo>
                        <a:pt x="2376" y="490"/>
                      </a:lnTo>
                      <a:lnTo>
                        <a:pt x="2356" y="464"/>
                      </a:lnTo>
                      <a:lnTo>
                        <a:pt x="2335" y="440"/>
                      </a:lnTo>
                      <a:lnTo>
                        <a:pt x="2313" y="416"/>
                      </a:lnTo>
                      <a:lnTo>
                        <a:pt x="2291" y="393"/>
                      </a:lnTo>
                      <a:lnTo>
                        <a:pt x="2267" y="371"/>
                      </a:lnTo>
                      <a:lnTo>
                        <a:pt x="2244" y="348"/>
                      </a:lnTo>
                      <a:lnTo>
                        <a:pt x="2220" y="327"/>
                      </a:lnTo>
                      <a:lnTo>
                        <a:pt x="2195" y="307"/>
                      </a:lnTo>
                      <a:lnTo>
                        <a:pt x="2169" y="288"/>
                      </a:lnTo>
                      <a:lnTo>
                        <a:pt x="2143" y="269"/>
                      </a:lnTo>
                      <a:lnTo>
                        <a:pt x="2143" y="269"/>
                      </a:lnTo>
                      <a:close/>
                      <a:moveTo>
                        <a:pt x="1507" y="366"/>
                      </a:moveTo>
                      <a:lnTo>
                        <a:pt x="1506" y="628"/>
                      </a:lnTo>
                      <a:lnTo>
                        <a:pt x="1142" y="627"/>
                      </a:lnTo>
                      <a:lnTo>
                        <a:pt x="1142" y="627"/>
                      </a:lnTo>
                      <a:lnTo>
                        <a:pt x="1157" y="579"/>
                      </a:lnTo>
                      <a:lnTo>
                        <a:pt x="1174" y="531"/>
                      </a:lnTo>
                      <a:lnTo>
                        <a:pt x="1192" y="487"/>
                      </a:lnTo>
                      <a:lnTo>
                        <a:pt x="1210" y="444"/>
                      </a:lnTo>
                      <a:lnTo>
                        <a:pt x="1210" y="444"/>
                      </a:lnTo>
                      <a:lnTo>
                        <a:pt x="1223" y="419"/>
                      </a:lnTo>
                      <a:lnTo>
                        <a:pt x="1235" y="394"/>
                      </a:lnTo>
                      <a:lnTo>
                        <a:pt x="1248" y="371"/>
                      </a:lnTo>
                      <a:lnTo>
                        <a:pt x="1263" y="348"/>
                      </a:lnTo>
                      <a:lnTo>
                        <a:pt x="1277" y="327"/>
                      </a:lnTo>
                      <a:lnTo>
                        <a:pt x="1291" y="307"/>
                      </a:lnTo>
                      <a:lnTo>
                        <a:pt x="1305" y="289"/>
                      </a:lnTo>
                      <a:lnTo>
                        <a:pt x="1320" y="271"/>
                      </a:lnTo>
                      <a:lnTo>
                        <a:pt x="1320" y="271"/>
                      </a:lnTo>
                      <a:lnTo>
                        <a:pt x="1296" y="277"/>
                      </a:lnTo>
                      <a:lnTo>
                        <a:pt x="1273" y="283"/>
                      </a:lnTo>
                      <a:lnTo>
                        <a:pt x="1273" y="283"/>
                      </a:lnTo>
                      <a:lnTo>
                        <a:pt x="1248" y="316"/>
                      </a:lnTo>
                      <a:lnTo>
                        <a:pt x="1226" y="352"/>
                      </a:lnTo>
                      <a:lnTo>
                        <a:pt x="1204" y="391"/>
                      </a:lnTo>
                      <a:lnTo>
                        <a:pt x="1184" y="432"/>
                      </a:lnTo>
                      <a:lnTo>
                        <a:pt x="1184" y="432"/>
                      </a:lnTo>
                      <a:lnTo>
                        <a:pt x="1163" y="477"/>
                      </a:lnTo>
                      <a:lnTo>
                        <a:pt x="1145" y="525"/>
                      </a:lnTo>
                      <a:lnTo>
                        <a:pt x="1128" y="575"/>
                      </a:lnTo>
                      <a:lnTo>
                        <a:pt x="1112" y="627"/>
                      </a:lnTo>
                      <a:lnTo>
                        <a:pt x="778" y="626"/>
                      </a:lnTo>
                      <a:lnTo>
                        <a:pt x="778" y="626"/>
                      </a:lnTo>
                      <a:lnTo>
                        <a:pt x="757" y="655"/>
                      </a:lnTo>
                      <a:lnTo>
                        <a:pt x="1104" y="656"/>
                      </a:lnTo>
                      <a:lnTo>
                        <a:pt x="1104" y="656"/>
                      </a:lnTo>
                      <a:lnTo>
                        <a:pt x="1093" y="700"/>
                      </a:lnTo>
                      <a:lnTo>
                        <a:pt x="1083" y="745"/>
                      </a:lnTo>
                      <a:lnTo>
                        <a:pt x="1074" y="791"/>
                      </a:lnTo>
                      <a:lnTo>
                        <a:pt x="1065" y="838"/>
                      </a:lnTo>
                      <a:lnTo>
                        <a:pt x="1058" y="886"/>
                      </a:lnTo>
                      <a:lnTo>
                        <a:pt x="1053" y="935"/>
                      </a:lnTo>
                      <a:lnTo>
                        <a:pt x="1048" y="984"/>
                      </a:lnTo>
                      <a:lnTo>
                        <a:pt x="1044" y="1036"/>
                      </a:lnTo>
                      <a:lnTo>
                        <a:pt x="1074" y="1044"/>
                      </a:lnTo>
                      <a:lnTo>
                        <a:pt x="1074" y="1044"/>
                      </a:lnTo>
                      <a:lnTo>
                        <a:pt x="1077" y="993"/>
                      </a:lnTo>
                      <a:lnTo>
                        <a:pt x="1082" y="941"/>
                      </a:lnTo>
                      <a:lnTo>
                        <a:pt x="1088" y="891"/>
                      </a:lnTo>
                      <a:lnTo>
                        <a:pt x="1095" y="841"/>
                      </a:lnTo>
                      <a:lnTo>
                        <a:pt x="1103" y="794"/>
                      </a:lnTo>
                      <a:lnTo>
                        <a:pt x="1112" y="746"/>
                      </a:lnTo>
                      <a:lnTo>
                        <a:pt x="1122" y="701"/>
                      </a:lnTo>
                      <a:lnTo>
                        <a:pt x="1134" y="656"/>
                      </a:lnTo>
                      <a:lnTo>
                        <a:pt x="1506" y="657"/>
                      </a:lnTo>
                      <a:lnTo>
                        <a:pt x="1504" y="1149"/>
                      </a:lnTo>
                      <a:lnTo>
                        <a:pt x="1423" y="1149"/>
                      </a:lnTo>
                      <a:lnTo>
                        <a:pt x="1423" y="1178"/>
                      </a:lnTo>
                      <a:lnTo>
                        <a:pt x="1504" y="1178"/>
                      </a:lnTo>
                      <a:lnTo>
                        <a:pt x="1503" y="1648"/>
                      </a:lnTo>
                      <a:lnTo>
                        <a:pt x="1423" y="1647"/>
                      </a:lnTo>
                      <a:lnTo>
                        <a:pt x="1423" y="1676"/>
                      </a:lnTo>
                      <a:lnTo>
                        <a:pt x="1503" y="1677"/>
                      </a:lnTo>
                      <a:lnTo>
                        <a:pt x="1502" y="2078"/>
                      </a:lnTo>
                      <a:lnTo>
                        <a:pt x="1502" y="2078"/>
                      </a:lnTo>
                      <a:lnTo>
                        <a:pt x="1517" y="2079"/>
                      </a:lnTo>
                      <a:lnTo>
                        <a:pt x="1517" y="2079"/>
                      </a:lnTo>
                      <a:lnTo>
                        <a:pt x="1531" y="2078"/>
                      </a:lnTo>
                      <a:lnTo>
                        <a:pt x="1532" y="1677"/>
                      </a:lnTo>
                      <a:lnTo>
                        <a:pt x="1932" y="1678"/>
                      </a:lnTo>
                      <a:lnTo>
                        <a:pt x="1932" y="1678"/>
                      </a:lnTo>
                      <a:lnTo>
                        <a:pt x="1915" y="1733"/>
                      </a:lnTo>
                      <a:lnTo>
                        <a:pt x="1897" y="1786"/>
                      </a:lnTo>
                      <a:lnTo>
                        <a:pt x="1878" y="1836"/>
                      </a:lnTo>
                      <a:lnTo>
                        <a:pt x="1867" y="1860"/>
                      </a:lnTo>
                      <a:lnTo>
                        <a:pt x="1857" y="1883"/>
                      </a:lnTo>
                      <a:lnTo>
                        <a:pt x="1857" y="1883"/>
                      </a:lnTo>
                      <a:lnTo>
                        <a:pt x="1846" y="1906"/>
                      </a:lnTo>
                      <a:lnTo>
                        <a:pt x="1834" y="1930"/>
                      </a:lnTo>
                      <a:lnTo>
                        <a:pt x="1822" y="1952"/>
                      </a:lnTo>
                      <a:lnTo>
                        <a:pt x="1808" y="1973"/>
                      </a:lnTo>
                      <a:lnTo>
                        <a:pt x="1795" y="1993"/>
                      </a:lnTo>
                      <a:lnTo>
                        <a:pt x="1782" y="2012"/>
                      </a:lnTo>
                      <a:lnTo>
                        <a:pt x="1769" y="2031"/>
                      </a:lnTo>
                      <a:lnTo>
                        <a:pt x="1756" y="2048"/>
                      </a:lnTo>
                      <a:lnTo>
                        <a:pt x="1756" y="2048"/>
                      </a:lnTo>
                      <a:lnTo>
                        <a:pt x="1780" y="2041"/>
                      </a:lnTo>
                      <a:lnTo>
                        <a:pt x="1803" y="2033"/>
                      </a:lnTo>
                      <a:lnTo>
                        <a:pt x="1803" y="2033"/>
                      </a:lnTo>
                      <a:lnTo>
                        <a:pt x="1825" y="2001"/>
                      </a:lnTo>
                      <a:lnTo>
                        <a:pt x="1846" y="1968"/>
                      </a:lnTo>
                      <a:lnTo>
                        <a:pt x="1865" y="1933"/>
                      </a:lnTo>
                      <a:lnTo>
                        <a:pt x="1883" y="1895"/>
                      </a:lnTo>
                      <a:lnTo>
                        <a:pt x="1883" y="1895"/>
                      </a:lnTo>
                      <a:lnTo>
                        <a:pt x="1894" y="1871"/>
                      </a:lnTo>
                      <a:lnTo>
                        <a:pt x="1905" y="1846"/>
                      </a:lnTo>
                      <a:lnTo>
                        <a:pt x="1916" y="1819"/>
                      </a:lnTo>
                      <a:lnTo>
                        <a:pt x="1926" y="1792"/>
                      </a:lnTo>
                      <a:lnTo>
                        <a:pt x="1945" y="1737"/>
                      </a:lnTo>
                      <a:lnTo>
                        <a:pt x="1961" y="1678"/>
                      </a:lnTo>
                      <a:lnTo>
                        <a:pt x="2275" y="1679"/>
                      </a:lnTo>
                      <a:lnTo>
                        <a:pt x="2275" y="1679"/>
                      </a:lnTo>
                      <a:lnTo>
                        <a:pt x="2295" y="1650"/>
                      </a:lnTo>
                      <a:lnTo>
                        <a:pt x="1969" y="1649"/>
                      </a:lnTo>
                      <a:lnTo>
                        <a:pt x="1969" y="1649"/>
                      </a:lnTo>
                      <a:lnTo>
                        <a:pt x="1982" y="1595"/>
                      </a:lnTo>
                      <a:lnTo>
                        <a:pt x="1993" y="1540"/>
                      </a:lnTo>
                      <a:lnTo>
                        <a:pt x="2002" y="1483"/>
                      </a:lnTo>
                      <a:lnTo>
                        <a:pt x="2011" y="1425"/>
                      </a:lnTo>
                      <a:lnTo>
                        <a:pt x="2018" y="1365"/>
                      </a:lnTo>
                      <a:lnTo>
                        <a:pt x="2022" y="1305"/>
                      </a:lnTo>
                      <a:lnTo>
                        <a:pt x="2026" y="1243"/>
                      </a:lnTo>
                      <a:lnTo>
                        <a:pt x="2027" y="1179"/>
                      </a:lnTo>
                      <a:lnTo>
                        <a:pt x="2435" y="1180"/>
                      </a:lnTo>
                      <a:lnTo>
                        <a:pt x="2435" y="1180"/>
                      </a:lnTo>
                      <a:lnTo>
                        <a:pt x="2435" y="1166"/>
                      </a:lnTo>
                      <a:lnTo>
                        <a:pt x="2435" y="1166"/>
                      </a:lnTo>
                      <a:lnTo>
                        <a:pt x="2435" y="1151"/>
                      </a:lnTo>
                      <a:lnTo>
                        <a:pt x="2027" y="1150"/>
                      </a:lnTo>
                      <a:lnTo>
                        <a:pt x="2027" y="1150"/>
                      </a:lnTo>
                      <a:lnTo>
                        <a:pt x="2026" y="1086"/>
                      </a:lnTo>
                      <a:lnTo>
                        <a:pt x="2023" y="1025"/>
                      </a:lnTo>
                      <a:lnTo>
                        <a:pt x="2018" y="963"/>
                      </a:lnTo>
                      <a:lnTo>
                        <a:pt x="2012" y="904"/>
                      </a:lnTo>
                      <a:lnTo>
                        <a:pt x="2003" y="845"/>
                      </a:lnTo>
                      <a:lnTo>
                        <a:pt x="1994" y="788"/>
                      </a:lnTo>
                      <a:lnTo>
                        <a:pt x="1983" y="732"/>
                      </a:lnTo>
                      <a:lnTo>
                        <a:pt x="1971" y="679"/>
                      </a:lnTo>
                      <a:lnTo>
                        <a:pt x="1971" y="679"/>
                      </a:lnTo>
                      <a:lnTo>
                        <a:pt x="1950" y="716"/>
                      </a:lnTo>
                      <a:lnTo>
                        <a:pt x="1950" y="716"/>
                      </a:lnTo>
                      <a:lnTo>
                        <a:pt x="1961" y="765"/>
                      </a:lnTo>
                      <a:lnTo>
                        <a:pt x="1970" y="817"/>
                      </a:lnTo>
                      <a:lnTo>
                        <a:pt x="1978" y="869"/>
                      </a:lnTo>
                      <a:lnTo>
                        <a:pt x="1984" y="924"/>
                      </a:lnTo>
                      <a:lnTo>
                        <a:pt x="1990" y="978"/>
                      </a:lnTo>
                      <a:lnTo>
                        <a:pt x="1994" y="1035"/>
                      </a:lnTo>
                      <a:lnTo>
                        <a:pt x="1996" y="1092"/>
                      </a:lnTo>
                      <a:lnTo>
                        <a:pt x="1997" y="1150"/>
                      </a:lnTo>
                      <a:lnTo>
                        <a:pt x="1533" y="1149"/>
                      </a:lnTo>
                      <a:lnTo>
                        <a:pt x="1535" y="657"/>
                      </a:lnTo>
                      <a:lnTo>
                        <a:pt x="1644" y="658"/>
                      </a:lnTo>
                      <a:lnTo>
                        <a:pt x="1644" y="658"/>
                      </a:lnTo>
                      <a:lnTo>
                        <a:pt x="1627" y="628"/>
                      </a:lnTo>
                      <a:lnTo>
                        <a:pt x="1535" y="628"/>
                      </a:lnTo>
                      <a:lnTo>
                        <a:pt x="1535" y="441"/>
                      </a:lnTo>
                      <a:lnTo>
                        <a:pt x="1535" y="441"/>
                      </a:lnTo>
                      <a:lnTo>
                        <a:pt x="1520" y="403"/>
                      </a:lnTo>
                      <a:lnTo>
                        <a:pt x="1507" y="366"/>
                      </a:lnTo>
                      <a:lnTo>
                        <a:pt x="1507" y="366"/>
                      </a:lnTo>
                      <a:close/>
                      <a:moveTo>
                        <a:pt x="1997" y="1179"/>
                      </a:moveTo>
                      <a:lnTo>
                        <a:pt x="1997" y="1179"/>
                      </a:lnTo>
                      <a:lnTo>
                        <a:pt x="1996" y="1243"/>
                      </a:lnTo>
                      <a:lnTo>
                        <a:pt x="1992" y="1305"/>
                      </a:lnTo>
                      <a:lnTo>
                        <a:pt x="1987" y="1366"/>
                      </a:lnTo>
                      <a:lnTo>
                        <a:pt x="1981" y="1426"/>
                      </a:lnTo>
                      <a:lnTo>
                        <a:pt x="1973" y="1483"/>
                      </a:lnTo>
                      <a:lnTo>
                        <a:pt x="1963" y="1541"/>
                      </a:lnTo>
                      <a:lnTo>
                        <a:pt x="1952" y="1595"/>
                      </a:lnTo>
                      <a:lnTo>
                        <a:pt x="1939" y="1649"/>
                      </a:lnTo>
                      <a:lnTo>
                        <a:pt x="1532" y="1648"/>
                      </a:lnTo>
                      <a:lnTo>
                        <a:pt x="1533" y="1178"/>
                      </a:lnTo>
                      <a:lnTo>
                        <a:pt x="1997" y="1179"/>
                      </a:lnTo>
                      <a:close/>
                      <a:moveTo>
                        <a:pt x="2077" y="264"/>
                      </a:moveTo>
                      <a:lnTo>
                        <a:pt x="2077" y="264"/>
                      </a:lnTo>
                      <a:lnTo>
                        <a:pt x="2076" y="249"/>
                      </a:lnTo>
                      <a:lnTo>
                        <a:pt x="2075" y="236"/>
                      </a:lnTo>
                      <a:lnTo>
                        <a:pt x="2074" y="223"/>
                      </a:lnTo>
                      <a:lnTo>
                        <a:pt x="2071" y="210"/>
                      </a:lnTo>
                      <a:lnTo>
                        <a:pt x="2068" y="198"/>
                      </a:lnTo>
                      <a:lnTo>
                        <a:pt x="2065" y="185"/>
                      </a:lnTo>
                      <a:lnTo>
                        <a:pt x="2061" y="173"/>
                      </a:lnTo>
                      <a:lnTo>
                        <a:pt x="2056" y="161"/>
                      </a:lnTo>
                      <a:lnTo>
                        <a:pt x="2051" y="149"/>
                      </a:lnTo>
                      <a:lnTo>
                        <a:pt x="2045" y="137"/>
                      </a:lnTo>
                      <a:lnTo>
                        <a:pt x="2039" y="127"/>
                      </a:lnTo>
                      <a:lnTo>
                        <a:pt x="2032" y="116"/>
                      </a:lnTo>
                      <a:lnTo>
                        <a:pt x="2025" y="106"/>
                      </a:lnTo>
                      <a:lnTo>
                        <a:pt x="2017" y="96"/>
                      </a:lnTo>
                      <a:lnTo>
                        <a:pt x="1999" y="77"/>
                      </a:lnTo>
                      <a:lnTo>
                        <a:pt x="1981" y="61"/>
                      </a:lnTo>
                      <a:lnTo>
                        <a:pt x="1971" y="53"/>
                      </a:lnTo>
                      <a:lnTo>
                        <a:pt x="1961" y="45"/>
                      </a:lnTo>
                      <a:lnTo>
                        <a:pt x="1950" y="38"/>
                      </a:lnTo>
                      <a:lnTo>
                        <a:pt x="1939" y="31"/>
                      </a:lnTo>
                      <a:lnTo>
                        <a:pt x="1928" y="26"/>
                      </a:lnTo>
                      <a:lnTo>
                        <a:pt x="1916" y="21"/>
                      </a:lnTo>
                      <a:lnTo>
                        <a:pt x="1903" y="16"/>
                      </a:lnTo>
                      <a:lnTo>
                        <a:pt x="1891" y="12"/>
                      </a:lnTo>
                      <a:lnTo>
                        <a:pt x="1879" y="8"/>
                      </a:lnTo>
                      <a:lnTo>
                        <a:pt x="1866" y="5"/>
                      </a:lnTo>
                      <a:lnTo>
                        <a:pt x="1854" y="3"/>
                      </a:lnTo>
                      <a:lnTo>
                        <a:pt x="1841" y="1"/>
                      </a:lnTo>
                      <a:lnTo>
                        <a:pt x="1827" y="0"/>
                      </a:lnTo>
                      <a:lnTo>
                        <a:pt x="1813" y="0"/>
                      </a:lnTo>
                      <a:lnTo>
                        <a:pt x="1813" y="0"/>
                      </a:lnTo>
                      <a:lnTo>
                        <a:pt x="1799" y="0"/>
                      </a:lnTo>
                      <a:lnTo>
                        <a:pt x="1786" y="1"/>
                      </a:lnTo>
                      <a:lnTo>
                        <a:pt x="1773" y="3"/>
                      </a:lnTo>
                      <a:lnTo>
                        <a:pt x="1760" y="5"/>
                      </a:lnTo>
                      <a:lnTo>
                        <a:pt x="1748" y="8"/>
                      </a:lnTo>
                      <a:lnTo>
                        <a:pt x="1735" y="12"/>
                      </a:lnTo>
                      <a:lnTo>
                        <a:pt x="1722" y="16"/>
                      </a:lnTo>
                      <a:lnTo>
                        <a:pt x="1710" y="21"/>
                      </a:lnTo>
                      <a:lnTo>
                        <a:pt x="1699" y="26"/>
                      </a:lnTo>
                      <a:lnTo>
                        <a:pt x="1688" y="31"/>
                      </a:lnTo>
                      <a:lnTo>
                        <a:pt x="1677" y="38"/>
                      </a:lnTo>
                      <a:lnTo>
                        <a:pt x="1666" y="45"/>
                      </a:lnTo>
                      <a:lnTo>
                        <a:pt x="1656" y="53"/>
                      </a:lnTo>
                      <a:lnTo>
                        <a:pt x="1646" y="61"/>
                      </a:lnTo>
                      <a:lnTo>
                        <a:pt x="1627" y="77"/>
                      </a:lnTo>
                      <a:lnTo>
                        <a:pt x="1610" y="96"/>
                      </a:lnTo>
                      <a:lnTo>
                        <a:pt x="1602" y="106"/>
                      </a:lnTo>
                      <a:lnTo>
                        <a:pt x="1595" y="116"/>
                      </a:lnTo>
                      <a:lnTo>
                        <a:pt x="1588" y="127"/>
                      </a:lnTo>
                      <a:lnTo>
                        <a:pt x="1582" y="137"/>
                      </a:lnTo>
                      <a:lnTo>
                        <a:pt x="1576" y="149"/>
                      </a:lnTo>
                      <a:lnTo>
                        <a:pt x="1571" y="161"/>
                      </a:lnTo>
                      <a:lnTo>
                        <a:pt x="1566" y="173"/>
                      </a:lnTo>
                      <a:lnTo>
                        <a:pt x="1562" y="185"/>
                      </a:lnTo>
                      <a:lnTo>
                        <a:pt x="1558" y="198"/>
                      </a:lnTo>
                      <a:lnTo>
                        <a:pt x="1555" y="210"/>
                      </a:lnTo>
                      <a:lnTo>
                        <a:pt x="1553" y="223"/>
                      </a:lnTo>
                      <a:lnTo>
                        <a:pt x="1552" y="236"/>
                      </a:lnTo>
                      <a:lnTo>
                        <a:pt x="1551" y="249"/>
                      </a:lnTo>
                      <a:lnTo>
                        <a:pt x="1550" y="264"/>
                      </a:lnTo>
                      <a:lnTo>
                        <a:pt x="1550" y="264"/>
                      </a:lnTo>
                      <a:lnTo>
                        <a:pt x="1551" y="278"/>
                      </a:lnTo>
                      <a:lnTo>
                        <a:pt x="1553" y="294"/>
                      </a:lnTo>
                      <a:lnTo>
                        <a:pt x="1557" y="310"/>
                      </a:lnTo>
                      <a:lnTo>
                        <a:pt x="1561" y="328"/>
                      </a:lnTo>
                      <a:lnTo>
                        <a:pt x="1567" y="347"/>
                      </a:lnTo>
                      <a:lnTo>
                        <a:pt x="1574" y="368"/>
                      </a:lnTo>
                      <a:lnTo>
                        <a:pt x="1591" y="411"/>
                      </a:lnTo>
                      <a:lnTo>
                        <a:pt x="1611" y="455"/>
                      </a:lnTo>
                      <a:lnTo>
                        <a:pt x="1634" y="501"/>
                      </a:lnTo>
                      <a:lnTo>
                        <a:pt x="1657" y="547"/>
                      </a:lnTo>
                      <a:lnTo>
                        <a:pt x="1682" y="593"/>
                      </a:lnTo>
                      <a:lnTo>
                        <a:pt x="1706" y="637"/>
                      </a:lnTo>
                      <a:lnTo>
                        <a:pt x="1730" y="678"/>
                      </a:lnTo>
                      <a:lnTo>
                        <a:pt x="1772" y="748"/>
                      </a:lnTo>
                      <a:lnTo>
                        <a:pt x="1802" y="796"/>
                      </a:lnTo>
                      <a:lnTo>
                        <a:pt x="1813" y="814"/>
                      </a:lnTo>
                      <a:lnTo>
                        <a:pt x="1813" y="814"/>
                      </a:lnTo>
                      <a:lnTo>
                        <a:pt x="1825" y="796"/>
                      </a:lnTo>
                      <a:lnTo>
                        <a:pt x="1855" y="748"/>
                      </a:lnTo>
                      <a:lnTo>
                        <a:pt x="1896" y="678"/>
                      </a:lnTo>
                      <a:lnTo>
                        <a:pt x="1921" y="637"/>
                      </a:lnTo>
                      <a:lnTo>
                        <a:pt x="1945" y="593"/>
                      </a:lnTo>
                      <a:lnTo>
                        <a:pt x="1970" y="547"/>
                      </a:lnTo>
                      <a:lnTo>
                        <a:pt x="1993" y="501"/>
                      </a:lnTo>
                      <a:lnTo>
                        <a:pt x="2016" y="455"/>
                      </a:lnTo>
                      <a:lnTo>
                        <a:pt x="2036" y="411"/>
                      </a:lnTo>
                      <a:lnTo>
                        <a:pt x="2052" y="368"/>
                      </a:lnTo>
                      <a:lnTo>
                        <a:pt x="2059" y="347"/>
                      </a:lnTo>
                      <a:lnTo>
                        <a:pt x="2065" y="328"/>
                      </a:lnTo>
                      <a:lnTo>
                        <a:pt x="2070" y="310"/>
                      </a:lnTo>
                      <a:lnTo>
                        <a:pt x="2074" y="294"/>
                      </a:lnTo>
                      <a:lnTo>
                        <a:pt x="2076" y="278"/>
                      </a:lnTo>
                      <a:lnTo>
                        <a:pt x="2077" y="264"/>
                      </a:lnTo>
                      <a:lnTo>
                        <a:pt x="2077" y="264"/>
                      </a:lnTo>
                      <a:close/>
                      <a:moveTo>
                        <a:pt x="1710" y="267"/>
                      </a:moveTo>
                      <a:lnTo>
                        <a:pt x="1710" y="267"/>
                      </a:lnTo>
                      <a:lnTo>
                        <a:pt x="1711" y="256"/>
                      </a:lnTo>
                      <a:lnTo>
                        <a:pt x="1712" y="246"/>
                      </a:lnTo>
                      <a:lnTo>
                        <a:pt x="1715" y="236"/>
                      </a:lnTo>
                      <a:lnTo>
                        <a:pt x="1718" y="227"/>
                      </a:lnTo>
                      <a:lnTo>
                        <a:pt x="1723" y="218"/>
                      </a:lnTo>
                      <a:lnTo>
                        <a:pt x="1729" y="209"/>
                      </a:lnTo>
                      <a:lnTo>
                        <a:pt x="1734" y="202"/>
                      </a:lnTo>
                      <a:lnTo>
                        <a:pt x="1741" y="194"/>
                      </a:lnTo>
                      <a:lnTo>
                        <a:pt x="1748" y="188"/>
                      </a:lnTo>
                      <a:lnTo>
                        <a:pt x="1756" y="182"/>
                      </a:lnTo>
                      <a:lnTo>
                        <a:pt x="1764" y="177"/>
                      </a:lnTo>
                      <a:lnTo>
                        <a:pt x="1773" y="173"/>
                      </a:lnTo>
                      <a:lnTo>
                        <a:pt x="1783" y="169"/>
                      </a:lnTo>
                      <a:lnTo>
                        <a:pt x="1792" y="167"/>
                      </a:lnTo>
                      <a:lnTo>
                        <a:pt x="1802" y="165"/>
                      </a:lnTo>
                      <a:lnTo>
                        <a:pt x="1813" y="165"/>
                      </a:lnTo>
                      <a:lnTo>
                        <a:pt x="1813" y="165"/>
                      </a:lnTo>
                      <a:lnTo>
                        <a:pt x="1824" y="165"/>
                      </a:lnTo>
                      <a:lnTo>
                        <a:pt x="1834" y="167"/>
                      </a:lnTo>
                      <a:lnTo>
                        <a:pt x="1844" y="169"/>
                      </a:lnTo>
                      <a:lnTo>
                        <a:pt x="1853" y="173"/>
                      </a:lnTo>
                      <a:lnTo>
                        <a:pt x="1862" y="177"/>
                      </a:lnTo>
                      <a:lnTo>
                        <a:pt x="1871" y="182"/>
                      </a:lnTo>
                      <a:lnTo>
                        <a:pt x="1878" y="188"/>
                      </a:lnTo>
                      <a:lnTo>
                        <a:pt x="1886" y="194"/>
                      </a:lnTo>
                      <a:lnTo>
                        <a:pt x="1892" y="202"/>
                      </a:lnTo>
                      <a:lnTo>
                        <a:pt x="1898" y="209"/>
                      </a:lnTo>
                      <a:lnTo>
                        <a:pt x="1903" y="218"/>
                      </a:lnTo>
                      <a:lnTo>
                        <a:pt x="1907" y="227"/>
                      </a:lnTo>
                      <a:lnTo>
                        <a:pt x="1912" y="236"/>
                      </a:lnTo>
                      <a:lnTo>
                        <a:pt x="1914" y="246"/>
                      </a:lnTo>
                      <a:lnTo>
                        <a:pt x="1916" y="256"/>
                      </a:lnTo>
                      <a:lnTo>
                        <a:pt x="1916" y="267"/>
                      </a:lnTo>
                      <a:lnTo>
                        <a:pt x="1916" y="267"/>
                      </a:lnTo>
                      <a:lnTo>
                        <a:pt x="1916" y="277"/>
                      </a:lnTo>
                      <a:lnTo>
                        <a:pt x="1914" y="288"/>
                      </a:lnTo>
                      <a:lnTo>
                        <a:pt x="1912" y="297"/>
                      </a:lnTo>
                      <a:lnTo>
                        <a:pt x="1907" y="307"/>
                      </a:lnTo>
                      <a:lnTo>
                        <a:pt x="1903" y="315"/>
                      </a:lnTo>
                      <a:lnTo>
                        <a:pt x="1898" y="324"/>
                      </a:lnTo>
                      <a:lnTo>
                        <a:pt x="1892" y="332"/>
                      </a:lnTo>
                      <a:lnTo>
                        <a:pt x="1886" y="339"/>
                      </a:lnTo>
                      <a:lnTo>
                        <a:pt x="1878" y="345"/>
                      </a:lnTo>
                      <a:lnTo>
                        <a:pt x="1871" y="351"/>
                      </a:lnTo>
                      <a:lnTo>
                        <a:pt x="1862" y="356"/>
                      </a:lnTo>
                      <a:lnTo>
                        <a:pt x="1853" y="361"/>
                      </a:lnTo>
                      <a:lnTo>
                        <a:pt x="1844" y="365"/>
                      </a:lnTo>
                      <a:lnTo>
                        <a:pt x="1834" y="368"/>
                      </a:lnTo>
                      <a:lnTo>
                        <a:pt x="1824" y="369"/>
                      </a:lnTo>
                      <a:lnTo>
                        <a:pt x="1813" y="370"/>
                      </a:lnTo>
                      <a:lnTo>
                        <a:pt x="1813" y="370"/>
                      </a:lnTo>
                      <a:lnTo>
                        <a:pt x="1802" y="369"/>
                      </a:lnTo>
                      <a:lnTo>
                        <a:pt x="1792" y="368"/>
                      </a:lnTo>
                      <a:lnTo>
                        <a:pt x="1783" y="365"/>
                      </a:lnTo>
                      <a:lnTo>
                        <a:pt x="1773" y="361"/>
                      </a:lnTo>
                      <a:lnTo>
                        <a:pt x="1764" y="356"/>
                      </a:lnTo>
                      <a:lnTo>
                        <a:pt x="1756" y="351"/>
                      </a:lnTo>
                      <a:lnTo>
                        <a:pt x="1748" y="345"/>
                      </a:lnTo>
                      <a:lnTo>
                        <a:pt x="1741" y="339"/>
                      </a:lnTo>
                      <a:lnTo>
                        <a:pt x="1734" y="332"/>
                      </a:lnTo>
                      <a:lnTo>
                        <a:pt x="1729" y="324"/>
                      </a:lnTo>
                      <a:lnTo>
                        <a:pt x="1723" y="315"/>
                      </a:lnTo>
                      <a:lnTo>
                        <a:pt x="1718" y="307"/>
                      </a:lnTo>
                      <a:lnTo>
                        <a:pt x="1715" y="297"/>
                      </a:lnTo>
                      <a:lnTo>
                        <a:pt x="1712" y="288"/>
                      </a:lnTo>
                      <a:lnTo>
                        <a:pt x="1711" y="277"/>
                      </a:lnTo>
                      <a:lnTo>
                        <a:pt x="1710" y="267"/>
                      </a:lnTo>
                      <a:lnTo>
                        <a:pt x="1710" y="267"/>
                      </a:lnTo>
                      <a:close/>
                    </a:path>
                  </a:pathLst>
                </a:custGeom>
                <a:solidFill>
                  <a:srgbClr val="F0F0F0"/>
                </a:solidFill>
                <a:ln>
                  <a:noFill/>
                </a:ln>
              </p:spPr>
              <p:txBody>
                <a:bodyPr vert="horz" wrap="square" lIns="72666" tIns="36332" rIns="72666" bIns="36332" numCol="1" anchor="t" anchorCtr="0" compatLnSpc="1">
                  <a:prstTxWarp prst="textNoShape">
                    <a:avLst/>
                  </a:prstTxWarp>
                </a:bodyPr>
                <a:lstStyle/>
                <a:p>
                  <a:pPr defTabSz="791108">
                    <a:defRPr/>
                  </a:pPr>
                  <a:endParaRPr lang="de-DE" sz="1557" kern="0" dirty="0">
                    <a:solidFill>
                      <a:srgbClr val="646464"/>
                    </a:solidFill>
                    <a:latin typeface="+mj-lt"/>
                  </a:endParaRPr>
                </a:p>
              </p:txBody>
            </p:sp>
          </p:grpSp>
          <p:grpSp>
            <p:nvGrpSpPr>
              <p:cNvPr id="168" name="Group 167"/>
              <p:cNvGrpSpPr/>
              <p:nvPr/>
            </p:nvGrpSpPr>
            <p:grpSpPr>
              <a:xfrm>
                <a:off x="5900845" y="3023515"/>
                <a:ext cx="646887" cy="646887"/>
                <a:chOff x="5679550" y="4619489"/>
                <a:chExt cx="684476" cy="684476"/>
              </a:xfrm>
            </p:grpSpPr>
            <p:sp>
              <p:nvSpPr>
                <p:cNvPr id="188" name="Oval 187"/>
                <p:cNvSpPr/>
                <p:nvPr/>
              </p:nvSpPr>
              <p:spPr>
                <a:xfrm>
                  <a:off x="5679550" y="4619489"/>
                  <a:ext cx="684476" cy="684476"/>
                </a:xfrm>
                <a:prstGeom prst="ellipse">
                  <a:avLst/>
                </a:prstGeom>
                <a:solidFill>
                  <a:srgbClr val="FFF27F"/>
                </a:solidFill>
                <a:ln w="12700">
                  <a:noFill/>
                  <a:prstDash val="solid"/>
                  <a:round/>
                  <a:headEnd/>
                  <a:tailEnd/>
                </a:ln>
              </p:spPr>
              <p:txBody>
                <a:bodyPr wrap="none" lIns="0" tIns="28609" rIns="0" bIns="0" anchor="t"/>
                <a:lstStyle/>
                <a:p>
                  <a:pPr algn="ctr" defTabSz="558057">
                    <a:lnSpc>
                      <a:spcPct val="90000"/>
                    </a:lnSpc>
                    <a:defRPr/>
                  </a:pPr>
                  <a:r>
                    <a:rPr lang="de-DE" sz="716" b="1" kern="0" dirty="0">
                      <a:solidFill>
                        <a:schemeClr val="accent1"/>
                      </a:solidFill>
                      <a:latin typeface="+mj-lt"/>
                    </a:rPr>
                    <a:t>Supplier</a:t>
                  </a:r>
                </a:p>
              </p:txBody>
            </p:sp>
            <p:sp>
              <p:nvSpPr>
                <p:cNvPr id="189" name="Freeform 43"/>
                <p:cNvSpPr>
                  <a:spLocks noChangeAspect="1" noEditPoints="1"/>
                </p:cNvSpPr>
                <p:nvPr/>
              </p:nvSpPr>
              <p:spPr bwMode="auto">
                <a:xfrm>
                  <a:off x="5876323" y="4898702"/>
                  <a:ext cx="290931" cy="330287"/>
                </a:xfrm>
                <a:custGeom>
                  <a:avLst/>
                  <a:gdLst>
                    <a:gd name="T0" fmla="*/ 2147483647 w 4190"/>
                    <a:gd name="T1" fmla="*/ 2147483647 h 4763"/>
                    <a:gd name="T2" fmla="*/ 2147483647 w 4190"/>
                    <a:gd name="T3" fmla="*/ 2147483647 h 4763"/>
                    <a:gd name="T4" fmla="*/ 2147483647 w 4190"/>
                    <a:gd name="T5" fmla="*/ 2147483647 h 4763"/>
                    <a:gd name="T6" fmla="*/ 2147483647 w 4190"/>
                    <a:gd name="T7" fmla="*/ 2147483647 h 4763"/>
                    <a:gd name="T8" fmla="*/ 2147483647 w 4190"/>
                    <a:gd name="T9" fmla="*/ 2147483647 h 4763"/>
                    <a:gd name="T10" fmla="*/ 2147483647 w 4190"/>
                    <a:gd name="T11" fmla="*/ 2147483647 h 4763"/>
                    <a:gd name="T12" fmla="*/ 2147483647 w 4190"/>
                    <a:gd name="T13" fmla="*/ 2147483647 h 4763"/>
                    <a:gd name="T14" fmla="*/ 2147483647 w 4190"/>
                    <a:gd name="T15" fmla="*/ 2147483647 h 4763"/>
                    <a:gd name="T16" fmla="*/ 2147483647 w 4190"/>
                    <a:gd name="T17" fmla="*/ 2147483647 h 4763"/>
                    <a:gd name="T18" fmla="*/ 2147483647 w 4190"/>
                    <a:gd name="T19" fmla="*/ 2147483647 h 4763"/>
                    <a:gd name="T20" fmla="*/ 2147483647 w 4190"/>
                    <a:gd name="T21" fmla="*/ 2147483647 h 4763"/>
                    <a:gd name="T22" fmla="*/ 2147483647 w 4190"/>
                    <a:gd name="T23" fmla="*/ 2147483647 h 4763"/>
                    <a:gd name="T24" fmla="*/ 2147483647 w 4190"/>
                    <a:gd name="T25" fmla="*/ 2147483647 h 4763"/>
                    <a:gd name="T26" fmla="*/ 2147483647 w 4190"/>
                    <a:gd name="T27" fmla="*/ 2147483647 h 4763"/>
                    <a:gd name="T28" fmla="*/ 2147483647 w 4190"/>
                    <a:gd name="T29" fmla="*/ 2147483647 h 4763"/>
                    <a:gd name="T30" fmla="*/ 2147483647 w 4190"/>
                    <a:gd name="T31" fmla="*/ 2147483647 h 4763"/>
                    <a:gd name="T32" fmla="*/ 2147483647 w 4190"/>
                    <a:gd name="T33" fmla="*/ 2147483647 h 4763"/>
                    <a:gd name="T34" fmla="*/ 2147483647 w 4190"/>
                    <a:gd name="T35" fmla="*/ 2147483647 h 4763"/>
                    <a:gd name="T36" fmla="*/ 2147483647 w 4190"/>
                    <a:gd name="T37" fmla="*/ 2147483647 h 4763"/>
                    <a:gd name="T38" fmla="*/ 2147483647 w 4190"/>
                    <a:gd name="T39" fmla="*/ 2147483647 h 4763"/>
                    <a:gd name="T40" fmla="*/ 2147483647 w 4190"/>
                    <a:gd name="T41" fmla="*/ 2147483647 h 4763"/>
                    <a:gd name="T42" fmla="*/ 2147483647 w 4190"/>
                    <a:gd name="T43" fmla="*/ 2147483647 h 4763"/>
                    <a:gd name="T44" fmla="*/ 2147483647 w 4190"/>
                    <a:gd name="T45" fmla="*/ 2147483647 h 4763"/>
                    <a:gd name="T46" fmla="*/ 2147483647 w 4190"/>
                    <a:gd name="T47" fmla="*/ 2147483647 h 4763"/>
                    <a:gd name="T48" fmla="*/ 2147483647 w 4190"/>
                    <a:gd name="T49" fmla="*/ 2147483647 h 4763"/>
                    <a:gd name="T50" fmla="*/ 2147483647 w 4190"/>
                    <a:gd name="T51" fmla="*/ 2147483647 h 4763"/>
                    <a:gd name="T52" fmla="*/ 2147483647 w 4190"/>
                    <a:gd name="T53" fmla="*/ 2147483647 h 4763"/>
                    <a:gd name="T54" fmla="*/ 2147483647 w 4190"/>
                    <a:gd name="T55" fmla="*/ 2147483647 h 4763"/>
                    <a:gd name="T56" fmla="*/ 2147483647 w 4190"/>
                    <a:gd name="T57" fmla="*/ 2147483647 h 4763"/>
                    <a:gd name="T58" fmla="*/ 2147483647 w 4190"/>
                    <a:gd name="T59" fmla="*/ 2147483647 h 4763"/>
                    <a:gd name="T60" fmla="*/ 2147483647 w 4190"/>
                    <a:gd name="T61" fmla="*/ 0 h 4763"/>
                    <a:gd name="T62" fmla="*/ 2147483647 w 4190"/>
                    <a:gd name="T63" fmla="*/ 2147483647 h 4763"/>
                    <a:gd name="T64" fmla="*/ 2147483647 w 4190"/>
                    <a:gd name="T65" fmla="*/ 2147483647 h 4763"/>
                    <a:gd name="T66" fmla="*/ 2147483647 w 4190"/>
                    <a:gd name="T67" fmla="*/ 2147483647 h 4763"/>
                    <a:gd name="T68" fmla="*/ 2147483647 w 4190"/>
                    <a:gd name="T69" fmla="*/ 2147483647 h 4763"/>
                    <a:gd name="T70" fmla="*/ 2147483647 w 4190"/>
                    <a:gd name="T71" fmla="*/ 2147483647 h 4763"/>
                    <a:gd name="T72" fmla="*/ 2147483647 w 4190"/>
                    <a:gd name="T73" fmla="*/ 2147483647 h 4763"/>
                    <a:gd name="T74" fmla="*/ 2147483647 w 4190"/>
                    <a:gd name="T75" fmla="*/ 2147483647 h 4763"/>
                    <a:gd name="T76" fmla="*/ 2147483647 w 4190"/>
                    <a:gd name="T77" fmla="*/ 2147483647 h 4763"/>
                    <a:gd name="T78" fmla="*/ 2147483647 w 4190"/>
                    <a:gd name="T79" fmla="*/ 2147483647 h 4763"/>
                    <a:gd name="T80" fmla="*/ 2147483647 w 4190"/>
                    <a:gd name="T81" fmla="*/ 2147483647 h 4763"/>
                    <a:gd name="T82" fmla="*/ 2147483647 w 4190"/>
                    <a:gd name="T83" fmla="*/ 2147483647 h 4763"/>
                    <a:gd name="T84" fmla="*/ 2147483647 w 4190"/>
                    <a:gd name="T85" fmla="*/ 2147483647 h 4763"/>
                    <a:gd name="T86" fmla="*/ 2147483647 w 4190"/>
                    <a:gd name="T87" fmla="*/ 2147483647 h 4763"/>
                    <a:gd name="T88" fmla="*/ 2147483647 w 4190"/>
                    <a:gd name="T89" fmla="*/ 2147483647 h 4763"/>
                    <a:gd name="T90" fmla="*/ 0 w 4190"/>
                    <a:gd name="T91" fmla="*/ 2147483647 h 4763"/>
                    <a:gd name="T92" fmla="*/ 2147483647 w 4190"/>
                    <a:gd name="T93" fmla="*/ 2147483647 h 4763"/>
                    <a:gd name="T94" fmla="*/ 2147483647 w 4190"/>
                    <a:gd name="T95" fmla="*/ 2147483647 h 4763"/>
                    <a:gd name="T96" fmla="*/ 2147483647 w 4190"/>
                    <a:gd name="T97" fmla="*/ 2147483647 h 4763"/>
                    <a:gd name="T98" fmla="*/ 2147483647 w 4190"/>
                    <a:gd name="T99" fmla="*/ 2147483647 h 4763"/>
                    <a:gd name="T100" fmla="*/ 2147483647 w 4190"/>
                    <a:gd name="T101" fmla="*/ 2147483647 h 4763"/>
                    <a:gd name="T102" fmla="*/ 2147483647 w 4190"/>
                    <a:gd name="T103" fmla="*/ 2147483647 h 4763"/>
                    <a:gd name="T104" fmla="*/ 2147483647 w 4190"/>
                    <a:gd name="T105" fmla="*/ 2147483647 h 4763"/>
                    <a:gd name="T106" fmla="*/ 2147483647 w 4190"/>
                    <a:gd name="T107" fmla="*/ 2147483647 h 4763"/>
                    <a:gd name="T108" fmla="*/ 2147483647 w 4190"/>
                    <a:gd name="T109" fmla="*/ 2147483647 h 4763"/>
                    <a:gd name="T110" fmla="*/ 2147483647 w 4190"/>
                    <a:gd name="T111" fmla="*/ 2147483647 h 4763"/>
                    <a:gd name="T112" fmla="*/ 2147483647 w 4190"/>
                    <a:gd name="T113" fmla="*/ 2147483647 h 4763"/>
                    <a:gd name="T114" fmla="*/ 2147483647 w 4190"/>
                    <a:gd name="T115" fmla="*/ 2147483647 h 4763"/>
                    <a:gd name="T116" fmla="*/ 2147483647 w 4190"/>
                    <a:gd name="T117" fmla="*/ 2147483647 h 4763"/>
                    <a:gd name="T118" fmla="*/ 2147483647 w 4190"/>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90"/>
                    <a:gd name="T181" fmla="*/ 0 h 4763"/>
                    <a:gd name="T182" fmla="*/ 4190 w 4190"/>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90" h="4763">
                      <a:moveTo>
                        <a:pt x="953" y="3153"/>
                      </a:moveTo>
                      <a:lnTo>
                        <a:pt x="953" y="3464"/>
                      </a:lnTo>
                      <a:lnTo>
                        <a:pt x="760" y="3464"/>
                      </a:lnTo>
                      <a:lnTo>
                        <a:pt x="760" y="3153"/>
                      </a:lnTo>
                      <a:lnTo>
                        <a:pt x="953" y="3153"/>
                      </a:lnTo>
                      <a:close/>
                      <a:moveTo>
                        <a:pt x="2351" y="173"/>
                      </a:moveTo>
                      <a:lnTo>
                        <a:pt x="2351" y="173"/>
                      </a:lnTo>
                      <a:lnTo>
                        <a:pt x="2323" y="173"/>
                      </a:lnTo>
                      <a:lnTo>
                        <a:pt x="2296" y="175"/>
                      </a:lnTo>
                      <a:lnTo>
                        <a:pt x="2269" y="176"/>
                      </a:lnTo>
                      <a:lnTo>
                        <a:pt x="2244" y="179"/>
                      </a:lnTo>
                      <a:lnTo>
                        <a:pt x="2220" y="182"/>
                      </a:lnTo>
                      <a:lnTo>
                        <a:pt x="2197" y="185"/>
                      </a:lnTo>
                      <a:lnTo>
                        <a:pt x="2174" y="190"/>
                      </a:lnTo>
                      <a:lnTo>
                        <a:pt x="2152" y="195"/>
                      </a:lnTo>
                      <a:lnTo>
                        <a:pt x="2111" y="207"/>
                      </a:lnTo>
                      <a:lnTo>
                        <a:pt x="2074" y="220"/>
                      </a:lnTo>
                      <a:lnTo>
                        <a:pt x="2040" y="235"/>
                      </a:lnTo>
                      <a:lnTo>
                        <a:pt x="2010" y="250"/>
                      </a:lnTo>
                      <a:lnTo>
                        <a:pt x="1981" y="267"/>
                      </a:lnTo>
                      <a:lnTo>
                        <a:pt x="1957" y="285"/>
                      </a:lnTo>
                      <a:lnTo>
                        <a:pt x="1934" y="303"/>
                      </a:lnTo>
                      <a:lnTo>
                        <a:pt x="1915" y="322"/>
                      </a:lnTo>
                      <a:lnTo>
                        <a:pt x="1897" y="341"/>
                      </a:lnTo>
                      <a:lnTo>
                        <a:pt x="1882" y="359"/>
                      </a:lnTo>
                      <a:lnTo>
                        <a:pt x="1869" y="376"/>
                      </a:lnTo>
                      <a:lnTo>
                        <a:pt x="1858" y="391"/>
                      </a:lnTo>
                      <a:lnTo>
                        <a:pt x="1817" y="394"/>
                      </a:lnTo>
                      <a:lnTo>
                        <a:pt x="1775" y="396"/>
                      </a:lnTo>
                      <a:lnTo>
                        <a:pt x="1733" y="402"/>
                      </a:lnTo>
                      <a:lnTo>
                        <a:pt x="1711" y="406"/>
                      </a:lnTo>
                      <a:lnTo>
                        <a:pt x="1691" y="411"/>
                      </a:lnTo>
                      <a:lnTo>
                        <a:pt x="1670" y="417"/>
                      </a:lnTo>
                      <a:lnTo>
                        <a:pt x="1650" y="423"/>
                      </a:lnTo>
                      <a:lnTo>
                        <a:pt x="1631" y="430"/>
                      </a:lnTo>
                      <a:lnTo>
                        <a:pt x="1611" y="438"/>
                      </a:lnTo>
                      <a:lnTo>
                        <a:pt x="1593" y="448"/>
                      </a:lnTo>
                      <a:lnTo>
                        <a:pt x="1575" y="459"/>
                      </a:lnTo>
                      <a:lnTo>
                        <a:pt x="1558" y="471"/>
                      </a:lnTo>
                      <a:lnTo>
                        <a:pt x="1543" y="484"/>
                      </a:lnTo>
                      <a:lnTo>
                        <a:pt x="1876" y="484"/>
                      </a:lnTo>
                      <a:lnTo>
                        <a:pt x="1881" y="484"/>
                      </a:lnTo>
                      <a:lnTo>
                        <a:pt x="1887" y="485"/>
                      </a:lnTo>
                      <a:lnTo>
                        <a:pt x="1899" y="491"/>
                      </a:lnTo>
                      <a:lnTo>
                        <a:pt x="1911" y="500"/>
                      </a:lnTo>
                      <a:lnTo>
                        <a:pt x="1926" y="511"/>
                      </a:lnTo>
                      <a:lnTo>
                        <a:pt x="1961" y="538"/>
                      </a:lnTo>
                      <a:lnTo>
                        <a:pt x="1982" y="553"/>
                      </a:lnTo>
                      <a:lnTo>
                        <a:pt x="2006" y="570"/>
                      </a:lnTo>
                      <a:lnTo>
                        <a:pt x="2033" y="585"/>
                      </a:lnTo>
                      <a:lnTo>
                        <a:pt x="2064" y="601"/>
                      </a:lnTo>
                      <a:lnTo>
                        <a:pt x="2100" y="615"/>
                      </a:lnTo>
                      <a:lnTo>
                        <a:pt x="2120" y="621"/>
                      </a:lnTo>
                      <a:lnTo>
                        <a:pt x="2140" y="627"/>
                      </a:lnTo>
                      <a:lnTo>
                        <a:pt x="2162" y="633"/>
                      </a:lnTo>
                      <a:lnTo>
                        <a:pt x="2185" y="639"/>
                      </a:lnTo>
                      <a:lnTo>
                        <a:pt x="2209" y="643"/>
                      </a:lnTo>
                      <a:lnTo>
                        <a:pt x="2234" y="648"/>
                      </a:lnTo>
                      <a:lnTo>
                        <a:pt x="2262" y="650"/>
                      </a:lnTo>
                      <a:lnTo>
                        <a:pt x="2290" y="653"/>
                      </a:lnTo>
                      <a:lnTo>
                        <a:pt x="2320" y="654"/>
                      </a:lnTo>
                      <a:lnTo>
                        <a:pt x="2351" y="655"/>
                      </a:lnTo>
                      <a:lnTo>
                        <a:pt x="2379" y="654"/>
                      </a:lnTo>
                      <a:lnTo>
                        <a:pt x="2404" y="653"/>
                      </a:lnTo>
                      <a:lnTo>
                        <a:pt x="2430" y="652"/>
                      </a:lnTo>
                      <a:lnTo>
                        <a:pt x="2456" y="649"/>
                      </a:lnTo>
                      <a:lnTo>
                        <a:pt x="2481" y="646"/>
                      </a:lnTo>
                      <a:lnTo>
                        <a:pt x="2505" y="641"/>
                      </a:lnTo>
                      <a:lnTo>
                        <a:pt x="2529" y="636"/>
                      </a:lnTo>
                      <a:lnTo>
                        <a:pt x="2552" y="631"/>
                      </a:lnTo>
                      <a:lnTo>
                        <a:pt x="2562" y="629"/>
                      </a:lnTo>
                      <a:lnTo>
                        <a:pt x="2570" y="629"/>
                      </a:lnTo>
                      <a:lnTo>
                        <a:pt x="2579" y="629"/>
                      </a:lnTo>
                      <a:lnTo>
                        <a:pt x="2585" y="630"/>
                      </a:lnTo>
                      <a:lnTo>
                        <a:pt x="2591" y="633"/>
                      </a:lnTo>
                      <a:lnTo>
                        <a:pt x="2595" y="636"/>
                      </a:lnTo>
                      <a:lnTo>
                        <a:pt x="2599" y="641"/>
                      </a:lnTo>
                      <a:lnTo>
                        <a:pt x="2603" y="646"/>
                      </a:lnTo>
                      <a:lnTo>
                        <a:pt x="2605" y="650"/>
                      </a:lnTo>
                      <a:lnTo>
                        <a:pt x="2607" y="656"/>
                      </a:lnTo>
                      <a:lnTo>
                        <a:pt x="2610" y="670"/>
                      </a:lnTo>
                      <a:lnTo>
                        <a:pt x="2611" y="684"/>
                      </a:lnTo>
                      <a:lnTo>
                        <a:pt x="2611" y="698"/>
                      </a:lnTo>
                      <a:lnTo>
                        <a:pt x="2612" y="709"/>
                      </a:lnTo>
                      <a:lnTo>
                        <a:pt x="2613" y="720"/>
                      </a:lnTo>
                      <a:lnTo>
                        <a:pt x="2615" y="731"/>
                      </a:lnTo>
                      <a:lnTo>
                        <a:pt x="2617" y="742"/>
                      </a:lnTo>
                      <a:lnTo>
                        <a:pt x="2624" y="764"/>
                      </a:lnTo>
                      <a:lnTo>
                        <a:pt x="2635" y="785"/>
                      </a:lnTo>
                      <a:lnTo>
                        <a:pt x="2647" y="806"/>
                      </a:lnTo>
                      <a:lnTo>
                        <a:pt x="2663" y="825"/>
                      </a:lnTo>
                      <a:lnTo>
                        <a:pt x="2681" y="843"/>
                      </a:lnTo>
                      <a:lnTo>
                        <a:pt x="2701" y="861"/>
                      </a:lnTo>
                      <a:lnTo>
                        <a:pt x="2723" y="877"/>
                      </a:lnTo>
                      <a:lnTo>
                        <a:pt x="2748" y="891"/>
                      </a:lnTo>
                      <a:lnTo>
                        <a:pt x="2775" y="903"/>
                      </a:lnTo>
                      <a:lnTo>
                        <a:pt x="2803" y="914"/>
                      </a:lnTo>
                      <a:lnTo>
                        <a:pt x="2834" y="922"/>
                      </a:lnTo>
                      <a:lnTo>
                        <a:pt x="2865" y="929"/>
                      </a:lnTo>
                      <a:lnTo>
                        <a:pt x="2899" y="933"/>
                      </a:lnTo>
                      <a:lnTo>
                        <a:pt x="2934" y="935"/>
                      </a:lnTo>
                      <a:lnTo>
                        <a:pt x="2965" y="933"/>
                      </a:lnTo>
                      <a:lnTo>
                        <a:pt x="2995" y="930"/>
                      </a:lnTo>
                      <a:lnTo>
                        <a:pt x="3024" y="924"/>
                      </a:lnTo>
                      <a:lnTo>
                        <a:pt x="3053" y="915"/>
                      </a:lnTo>
                      <a:lnTo>
                        <a:pt x="3081" y="906"/>
                      </a:lnTo>
                      <a:lnTo>
                        <a:pt x="3107" y="895"/>
                      </a:lnTo>
                      <a:lnTo>
                        <a:pt x="3133" y="882"/>
                      </a:lnTo>
                      <a:lnTo>
                        <a:pt x="3157" y="866"/>
                      </a:lnTo>
                      <a:lnTo>
                        <a:pt x="3181" y="850"/>
                      </a:lnTo>
                      <a:lnTo>
                        <a:pt x="3202" y="833"/>
                      </a:lnTo>
                      <a:lnTo>
                        <a:pt x="3223" y="814"/>
                      </a:lnTo>
                      <a:lnTo>
                        <a:pt x="3242" y="795"/>
                      </a:lnTo>
                      <a:lnTo>
                        <a:pt x="3260" y="774"/>
                      </a:lnTo>
                      <a:lnTo>
                        <a:pt x="3277" y="753"/>
                      </a:lnTo>
                      <a:lnTo>
                        <a:pt x="3292" y="731"/>
                      </a:lnTo>
                      <a:lnTo>
                        <a:pt x="3305" y="708"/>
                      </a:lnTo>
                      <a:lnTo>
                        <a:pt x="3352" y="708"/>
                      </a:lnTo>
                      <a:lnTo>
                        <a:pt x="3395" y="706"/>
                      </a:lnTo>
                      <a:lnTo>
                        <a:pt x="3437" y="701"/>
                      </a:lnTo>
                      <a:lnTo>
                        <a:pt x="3477" y="694"/>
                      </a:lnTo>
                      <a:lnTo>
                        <a:pt x="3513" y="684"/>
                      </a:lnTo>
                      <a:lnTo>
                        <a:pt x="3547" y="673"/>
                      </a:lnTo>
                      <a:lnTo>
                        <a:pt x="3578" y="661"/>
                      </a:lnTo>
                      <a:lnTo>
                        <a:pt x="3607" y="647"/>
                      </a:lnTo>
                      <a:lnTo>
                        <a:pt x="3632" y="632"/>
                      </a:lnTo>
                      <a:lnTo>
                        <a:pt x="3655" y="617"/>
                      </a:lnTo>
                      <a:lnTo>
                        <a:pt x="3675" y="601"/>
                      </a:lnTo>
                      <a:lnTo>
                        <a:pt x="3690" y="585"/>
                      </a:lnTo>
                      <a:lnTo>
                        <a:pt x="3703" y="570"/>
                      </a:lnTo>
                      <a:lnTo>
                        <a:pt x="3712" y="554"/>
                      </a:lnTo>
                      <a:lnTo>
                        <a:pt x="3715" y="547"/>
                      </a:lnTo>
                      <a:lnTo>
                        <a:pt x="3718" y="540"/>
                      </a:lnTo>
                      <a:lnTo>
                        <a:pt x="3719" y="531"/>
                      </a:lnTo>
                      <a:lnTo>
                        <a:pt x="3719" y="525"/>
                      </a:lnTo>
                      <a:lnTo>
                        <a:pt x="3719" y="518"/>
                      </a:lnTo>
                      <a:lnTo>
                        <a:pt x="3718" y="511"/>
                      </a:lnTo>
                      <a:lnTo>
                        <a:pt x="3715" y="503"/>
                      </a:lnTo>
                      <a:lnTo>
                        <a:pt x="3712" y="496"/>
                      </a:lnTo>
                      <a:lnTo>
                        <a:pt x="3703" y="481"/>
                      </a:lnTo>
                      <a:lnTo>
                        <a:pt x="3691" y="466"/>
                      </a:lnTo>
                      <a:lnTo>
                        <a:pt x="3676" y="450"/>
                      </a:lnTo>
                      <a:lnTo>
                        <a:pt x="3656" y="436"/>
                      </a:lnTo>
                      <a:lnTo>
                        <a:pt x="3635" y="422"/>
                      </a:lnTo>
                      <a:lnTo>
                        <a:pt x="3609" y="408"/>
                      </a:lnTo>
                      <a:lnTo>
                        <a:pt x="3582" y="395"/>
                      </a:lnTo>
                      <a:lnTo>
                        <a:pt x="3550" y="383"/>
                      </a:lnTo>
                      <a:lnTo>
                        <a:pt x="3516" y="373"/>
                      </a:lnTo>
                      <a:lnTo>
                        <a:pt x="3478" y="364"/>
                      </a:lnTo>
                      <a:lnTo>
                        <a:pt x="3437" y="356"/>
                      </a:lnTo>
                      <a:lnTo>
                        <a:pt x="3395" y="350"/>
                      </a:lnTo>
                      <a:lnTo>
                        <a:pt x="3349" y="348"/>
                      </a:lnTo>
                      <a:lnTo>
                        <a:pt x="3300" y="347"/>
                      </a:lnTo>
                      <a:lnTo>
                        <a:pt x="3270" y="347"/>
                      </a:lnTo>
                      <a:lnTo>
                        <a:pt x="3240" y="349"/>
                      </a:lnTo>
                      <a:lnTo>
                        <a:pt x="3211" y="352"/>
                      </a:lnTo>
                      <a:lnTo>
                        <a:pt x="3182" y="355"/>
                      </a:lnTo>
                      <a:lnTo>
                        <a:pt x="3154" y="360"/>
                      </a:lnTo>
                      <a:lnTo>
                        <a:pt x="3128" y="365"/>
                      </a:lnTo>
                      <a:lnTo>
                        <a:pt x="3076" y="377"/>
                      </a:lnTo>
                      <a:lnTo>
                        <a:pt x="3068" y="378"/>
                      </a:lnTo>
                      <a:lnTo>
                        <a:pt x="3059" y="378"/>
                      </a:lnTo>
                      <a:lnTo>
                        <a:pt x="3052" y="376"/>
                      </a:lnTo>
                      <a:lnTo>
                        <a:pt x="3045" y="372"/>
                      </a:lnTo>
                      <a:lnTo>
                        <a:pt x="3039" y="367"/>
                      </a:lnTo>
                      <a:lnTo>
                        <a:pt x="3034" y="361"/>
                      </a:lnTo>
                      <a:lnTo>
                        <a:pt x="3029" y="354"/>
                      </a:lnTo>
                      <a:lnTo>
                        <a:pt x="3027" y="346"/>
                      </a:lnTo>
                      <a:lnTo>
                        <a:pt x="3016" y="312"/>
                      </a:lnTo>
                      <a:lnTo>
                        <a:pt x="3010" y="293"/>
                      </a:lnTo>
                      <a:lnTo>
                        <a:pt x="3001" y="272"/>
                      </a:lnTo>
                      <a:lnTo>
                        <a:pt x="2992" y="252"/>
                      </a:lnTo>
                      <a:lnTo>
                        <a:pt x="2980" y="231"/>
                      </a:lnTo>
                      <a:lnTo>
                        <a:pt x="2966" y="210"/>
                      </a:lnTo>
                      <a:lnTo>
                        <a:pt x="2949" y="190"/>
                      </a:lnTo>
                      <a:lnTo>
                        <a:pt x="2941" y="181"/>
                      </a:lnTo>
                      <a:lnTo>
                        <a:pt x="2931" y="171"/>
                      </a:lnTo>
                      <a:lnTo>
                        <a:pt x="2921" y="161"/>
                      </a:lnTo>
                      <a:lnTo>
                        <a:pt x="2909" y="153"/>
                      </a:lnTo>
                      <a:lnTo>
                        <a:pt x="2897" y="145"/>
                      </a:lnTo>
                      <a:lnTo>
                        <a:pt x="2883" y="137"/>
                      </a:lnTo>
                      <a:lnTo>
                        <a:pt x="2869" y="130"/>
                      </a:lnTo>
                      <a:lnTo>
                        <a:pt x="2853" y="123"/>
                      </a:lnTo>
                      <a:lnTo>
                        <a:pt x="2837" y="117"/>
                      </a:lnTo>
                      <a:lnTo>
                        <a:pt x="2821" y="112"/>
                      </a:lnTo>
                      <a:lnTo>
                        <a:pt x="2803" y="107"/>
                      </a:lnTo>
                      <a:lnTo>
                        <a:pt x="2782" y="104"/>
                      </a:lnTo>
                      <a:lnTo>
                        <a:pt x="2762" y="100"/>
                      </a:lnTo>
                      <a:lnTo>
                        <a:pt x="2740" y="98"/>
                      </a:lnTo>
                      <a:lnTo>
                        <a:pt x="2717" y="96"/>
                      </a:lnTo>
                      <a:lnTo>
                        <a:pt x="2693" y="96"/>
                      </a:lnTo>
                      <a:lnTo>
                        <a:pt x="2675" y="96"/>
                      </a:lnTo>
                      <a:lnTo>
                        <a:pt x="2658" y="98"/>
                      </a:lnTo>
                      <a:lnTo>
                        <a:pt x="2641" y="99"/>
                      </a:lnTo>
                      <a:lnTo>
                        <a:pt x="2626" y="101"/>
                      </a:lnTo>
                      <a:lnTo>
                        <a:pt x="2597" y="108"/>
                      </a:lnTo>
                      <a:lnTo>
                        <a:pt x="2569" y="117"/>
                      </a:lnTo>
                      <a:lnTo>
                        <a:pt x="2545" y="125"/>
                      </a:lnTo>
                      <a:lnTo>
                        <a:pt x="2523" y="135"/>
                      </a:lnTo>
                      <a:lnTo>
                        <a:pt x="2486" y="154"/>
                      </a:lnTo>
                      <a:lnTo>
                        <a:pt x="2473" y="161"/>
                      </a:lnTo>
                      <a:lnTo>
                        <a:pt x="2461" y="166"/>
                      </a:lnTo>
                      <a:lnTo>
                        <a:pt x="2447" y="169"/>
                      </a:lnTo>
                      <a:lnTo>
                        <a:pt x="2433" y="171"/>
                      </a:lnTo>
                      <a:lnTo>
                        <a:pt x="2416" y="172"/>
                      </a:lnTo>
                      <a:lnTo>
                        <a:pt x="2398" y="173"/>
                      </a:lnTo>
                      <a:lnTo>
                        <a:pt x="2351" y="173"/>
                      </a:lnTo>
                      <a:close/>
                      <a:moveTo>
                        <a:pt x="2517" y="737"/>
                      </a:moveTo>
                      <a:lnTo>
                        <a:pt x="2517" y="737"/>
                      </a:lnTo>
                      <a:lnTo>
                        <a:pt x="2477" y="743"/>
                      </a:lnTo>
                      <a:lnTo>
                        <a:pt x="2436" y="748"/>
                      </a:lnTo>
                      <a:lnTo>
                        <a:pt x="2394" y="750"/>
                      </a:lnTo>
                      <a:lnTo>
                        <a:pt x="2351" y="751"/>
                      </a:lnTo>
                      <a:lnTo>
                        <a:pt x="2312" y="750"/>
                      </a:lnTo>
                      <a:lnTo>
                        <a:pt x="2274" y="748"/>
                      </a:lnTo>
                      <a:lnTo>
                        <a:pt x="2237" y="744"/>
                      </a:lnTo>
                      <a:lnTo>
                        <a:pt x="2200" y="739"/>
                      </a:lnTo>
                      <a:lnTo>
                        <a:pt x="2164" y="732"/>
                      </a:lnTo>
                      <a:lnTo>
                        <a:pt x="2129" y="725"/>
                      </a:lnTo>
                      <a:lnTo>
                        <a:pt x="2096" y="715"/>
                      </a:lnTo>
                      <a:lnTo>
                        <a:pt x="2062" y="706"/>
                      </a:lnTo>
                      <a:lnTo>
                        <a:pt x="2031" y="694"/>
                      </a:lnTo>
                      <a:lnTo>
                        <a:pt x="2000" y="680"/>
                      </a:lnTo>
                      <a:lnTo>
                        <a:pt x="1972" y="667"/>
                      </a:lnTo>
                      <a:lnTo>
                        <a:pt x="1945" y="652"/>
                      </a:lnTo>
                      <a:lnTo>
                        <a:pt x="1920" y="636"/>
                      </a:lnTo>
                      <a:lnTo>
                        <a:pt x="1896" y="618"/>
                      </a:lnTo>
                      <a:lnTo>
                        <a:pt x="1874" y="600"/>
                      </a:lnTo>
                      <a:lnTo>
                        <a:pt x="1855" y="580"/>
                      </a:lnTo>
                      <a:lnTo>
                        <a:pt x="1458" y="580"/>
                      </a:lnTo>
                      <a:lnTo>
                        <a:pt x="1446" y="579"/>
                      </a:lnTo>
                      <a:lnTo>
                        <a:pt x="1436" y="576"/>
                      </a:lnTo>
                      <a:lnTo>
                        <a:pt x="1426" y="571"/>
                      </a:lnTo>
                      <a:lnTo>
                        <a:pt x="1419" y="564"/>
                      </a:lnTo>
                      <a:lnTo>
                        <a:pt x="1414" y="554"/>
                      </a:lnTo>
                      <a:lnTo>
                        <a:pt x="1410" y="544"/>
                      </a:lnTo>
                      <a:lnTo>
                        <a:pt x="1409" y="534"/>
                      </a:lnTo>
                      <a:lnTo>
                        <a:pt x="1412" y="521"/>
                      </a:lnTo>
                      <a:lnTo>
                        <a:pt x="1414" y="509"/>
                      </a:lnTo>
                      <a:lnTo>
                        <a:pt x="1419" y="497"/>
                      </a:lnTo>
                      <a:lnTo>
                        <a:pt x="1424" y="485"/>
                      </a:lnTo>
                      <a:lnTo>
                        <a:pt x="1428" y="473"/>
                      </a:lnTo>
                      <a:lnTo>
                        <a:pt x="1436" y="462"/>
                      </a:lnTo>
                      <a:lnTo>
                        <a:pt x="1443" y="452"/>
                      </a:lnTo>
                      <a:lnTo>
                        <a:pt x="1450" y="441"/>
                      </a:lnTo>
                      <a:lnTo>
                        <a:pt x="1458" y="431"/>
                      </a:lnTo>
                      <a:lnTo>
                        <a:pt x="1478" y="412"/>
                      </a:lnTo>
                      <a:lnTo>
                        <a:pt x="1499" y="395"/>
                      </a:lnTo>
                      <a:lnTo>
                        <a:pt x="1522" y="378"/>
                      </a:lnTo>
                      <a:lnTo>
                        <a:pt x="1549" y="364"/>
                      </a:lnTo>
                      <a:lnTo>
                        <a:pt x="1575" y="352"/>
                      </a:lnTo>
                      <a:lnTo>
                        <a:pt x="1604" y="340"/>
                      </a:lnTo>
                      <a:lnTo>
                        <a:pt x="1634" y="330"/>
                      </a:lnTo>
                      <a:lnTo>
                        <a:pt x="1666" y="323"/>
                      </a:lnTo>
                      <a:lnTo>
                        <a:pt x="1698" y="316"/>
                      </a:lnTo>
                      <a:lnTo>
                        <a:pt x="1731" y="312"/>
                      </a:lnTo>
                      <a:lnTo>
                        <a:pt x="1763" y="308"/>
                      </a:lnTo>
                      <a:lnTo>
                        <a:pt x="1797" y="308"/>
                      </a:lnTo>
                      <a:lnTo>
                        <a:pt x="1810" y="308"/>
                      </a:lnTo>
                      <a:lnTo>
                        <a:pt x="1817" y="295"/>
                      </a:lnTo>
                      <a:lnTo>
                        <a:pt x="1826" y="282"/>
                      </a:lnTo>
                      <a:lnTo>
                        <a:pt x="1835" y="269"/>
                      </a:lnTo>
                      <a:lnTo>
                        <a:pt x="1846" y="257"/>
                      </a:lnTo>
                      <a:lnTo>
                        <a:pt x="1857" y="244"/>
                      </a:lnTo>
                      <a:lnTo>
                        <a:pt x="1868" y="234"/>
                      </a:lnTo>
                      <a:lnTo>
                        <a:pt x="1881" y="222"/>
                      </a:lnTo>
                      <a:lnTo>
                        <a:pt x="1893" y="211"/>
                      </a:lnTo>
                      <a:lnTo>
                        <a:pt x="1922" y="190"/>
                      </a:lnTo>
                      <a:lnTo>
                        <a:pt x="1952" y="171"/>
                      </a:lnTo>
                      <a:lnTo>
                        <a:pt x="1985" y="154"/>
                      </a:lnTo>
                      <a:lnTo>
                        <a:pt x="2020" y="138"/>
                      </a:lnTo>
                      <a:lnTo>
                        <a:pt x="2057" y="124"/>
                      </a:lnTo>
                      <a:lnTo>
                        <a:pt x="2096" y="112"/>
                      </a:lnTo>
                      <a:lnTo>
                        <a:pt x="2135" y="101"/>
                      </a:lnTo>
                      <a:lnTo>
                        <a:pt x="2176" y="93"/>
                      </a:lnTo>
                      <a:lnTo>
                        <a:pt x="2220" y="86"/>
                      </a:lnTo>
                      <a:lnTo>
                        <a:pt x="2263" y="81"/>
                      </a:lnTo>
                      <a:lnTo>
                        <a:pt x="2306" y="77"/>
                      </a:lnTo>
                      <a:lnTo>
                        <a:pt x="2351" y="77"/>
                      </a:lnTo>
                      <a:lnTo>
                        <a:pt x="2386" y="77"/>
                      </a:lnTo>
                      <a:lnTo>
                        <a:pt x="2421" y="79"/>
                      </a:lnTo>
                      <a:lnTo>
                        <a:pt x="2450" y="61"/>
                      </a:lnTo>
                      <a:lnTo>
                        <a:pt x="2480" y="46"/>
                      </a:lnTo>
                      <a:lnTo>
                        <a:pt x="2512" y="31"/>
                      </a:lnTo>
                      <a:lnTo>
                        <a:pt x="2546" y="20"/>
                      </a:lnTo>
                      <a:lnTo>
                        <a:pt x="2581" y="12"/>
                      </a:lnTo>
                      <a:lnTo>
                        <a:pt x="2617" y="5"/>
                      </a:lnTo>
                      <a:lnTo>
                        <a:pt x="2654" y="1"/>
                      </a:lnTo>
                      <a:lnTo>
                        <a:pt x="2693" y="0"/>
                      </a:lnTo>
                      <a:lnTo>
                        <a:pt x="2729" y="1"/>
                      </a:lnTo>
                      <a:lnTo>
                        <a:pt x="2765" y="5"/>
                      </a:lnTo>
                      <a:lnTo>
                        <a:pt x="2800" y="11"/>
                      </a:lnTo>
                      <a:lnTo>
                        <a:pt x="2835" y="19"/>
                      </a:lnTo>
                      <a:lnTo>
                        <a:pt x="2868" y="30"/>
                      </a:lnTo>
                      <a:lnTo>
                        <a:pt x="2899" y="42"/>
                      </a:lnTo>
                      <a:lnTo>
                        <a:pt x="2929" y="58"/>
                      </a:lnTo>
                      <a:lnTo>
                        <a:pt x="2958" y="75"/>
                      </a:lnTo>
                      <a:lnTo>
                        <a:pt x="2984" y="93"/>
                      </a:lnTo>
                      <a:lnTo>
                        <a:pt x="3010" y="113"/>
                      </a:lnTo>
                      <a:lnTo>
                        <a:pt x="3033" y="136"/>
                      </a:lnTo>
                      <a:lnTo>
                        <a:pt x="3042" y="147"/>
                      </a:lnTo>
                      <a:lnTo>
                        <a:pt x="3052" y="159"/>
                      </a:lnTo>
                      <a:lnTo>
                        <a:pt x="3062" y="172"/>
                      </a:lnTo>
                      <a:lnTo>
                        <a:pt x="3070" y="184"/>
                      </a:lnTo>
                      <a:lnTo>
                        <a:pt x="3077" y="198"/>
                      </a:lnTo>
                      <a:lnTo>
                        <a:pt x="3084" y="212"/>
                      </a:lnTo>
                      <a:lnTo>
                        <a:pt x="3092" y="225"/>
                      </a:lnTo>
                      <a:lnTo>
                        <a:pt x="3096" y="240"/>
                      </a:lnTo>
                      <a:lnTo>
                        <a:pt x="3101" y="254"/>
                      </a:lnTo>
                      <a:lnTo>
                        <a:pt x="3105" y="270"/>
                      </a:lnTo>
                      <a:lnTo>
                        <a:pt x="3152" y="261"/>
                      </a:lnTo>
                      <a:lnTo>
                        <a:pt x="3200" y="255"/>
                      </a:lnTo>
                      <a:lnTo>
                        <a:pt x="3249" y="252"/>
                      </a:lnTo>
                      <a:lnTo>
                        <a:pt x="3300" y="250"/>
                      </a:lnTo>
                      <a:lnTo>
                        <a:pt x="3347" y="252"/>
                      </a:lnTo>
                      <a:lnTo>
                        <a:pt x="3394" y="254"/>
                      </a:lnTo>
                      <a:lnTo>
                        <a:pt x="3441" y="260"/>
                      </a:lnTo>
                      <a:lnTo>
                        <a:pt x="3487" y="269"/>
                      </a:lnTo>
                      <a:lnTo>
                        <a:pt x="3530" y="278"/>
                      </a:lnTo>
                      <a:lnTo>
                        <a:pt x="3573" y="290"/>
                      </a:lnTo>
                      <a:lnTo>
                        <a:pt x="3613" y="305"/>
                      </a:lnTo>
                      <a:lnTo>
                        <a:pt x="3634" y="313"/>
                      </a:lnTo>
                      <a:lnTo>
                        <a:pt x="3652" y="322"/>
                      </a:lnTo>
                      <a:lnTo>
                        <a:pt x="3670" y="330"/>
                      </a:lnTo>
                      <a:lnTo>
                        <a:pt x="3687" y="340"/>
                      </a:lnTo>
                      <a:lnTo>
                        <a:pt x="3703" y="349"/>
                      </a:lnTo>
                      <a:lnTo>
                        <a:pt x="3719" y="360"/>
                      </a:lnTo>
                      <a:lnTo>
                        <a:pt x="3734" y="371"/>
                      </a:lnTo>
                      <a:lnTo>
                        <a:pt x="3747" y="383"/>
                      </a:lnTo>
                      <a:lnTo>
                        <a:pt x="3759" y="395"/>
                      </a:lnTo>
                      <a:lnTo>
                        <a:pt x="3771" y="407"/>
                      </a:lnTo>
                      <a:lnTo>
                        <a:pt x="3781" y="420"/>
                      </a:lnTo>
                      <a:lnTo>
                        <a:pt x="3790" y="434"/>
                      </a:lnTo>
                      <a:lnTo>
                        <a:pt x="3797" y="448"/>
                      </a:lnTo>
                      <a:lnTo>
                        <a:pt x="3803" y="462"/>
                      </a:lnTo>
                      <a:lnTo>
                        <a:pt x="3809" y="477"/>
                      </a:lnTo>
                      <a:lnTo>
                        <a:pt x="3813" y="493"/>
                      </a:lnTo>
                      <a:lnTo>
                        <a:pt x="3815" y="508"/>
                      </a:lnTo>
                      <a:lnTo>
                        <a:pt x="3815" y="525"/>
                      </a:lnTo>
                      <a:lnTo>
                        <a:pt x="3815" y="540"/>
                      </a:lnTo>
                      <a:lnTo>
                        <a:pt x="3813" y="554"/>
                      </a:lnTo>
                      <a:lnTo>
                        <a:pt x="3811" y="568"/>
                      </a:lnTo>
                      <a:lnTo>
                        <a:pt x="3806" y="582"/>
                      </a:lnTo>
                      <a:lnTo>
                        <a:pt x="3800" y="595"/>
                      </a:lnTo>
                      <a:lnTo>
                        <a:pt x="3794" y="608"/>
                      </a:lnTo>
                      <a:lnTo>
                        <a:pt x="3787" y="621"/>
                      </a:lnTo>
                      <a:lnTo>
                        <a:pt x="3777" y="633"/>
                      </a:lnTo>
                      <a:lnTo>
                        <a:pt x="3767" y="644"/>
                      </a:lnTo>
                      <a:lnTo>
                        <a:pt x="3758" y="656"/>
                      </a:lnTo>
                      <a:lnTo>
                        <a:pt x="3746" y="667"/>
                      </a:lnTo>
                      <a:lnTo>
                        <a:pt x="3734" y="678"/>
                      </a:lnTo>
                      <a:lnTo>
                        <a:pt x="3720" y="688"/>
                      </a:lnTo>
                      <a:lnTo>
                        <a:pt x="3706" y="697"/>
                      </a:lnTo>
                      <a:lnTo>
                        <a:pt x="3691" y="707"/>
                      </a:lnTo>
                      <a:lnTo>
                        <a:pt x="3676" y="715"/>
                      </a:lnTo>
                      <a:lnTo>
                        <a:pt x="3643" y="732"/>
                      </a:lnTo>
                      <a:lnTo>
                        <a:pt x="3608" y="747"/>
                      </a:lnTo>
                      <a:lnTo>
                        <a:pt x="3571" y="760"/>
                      </a:lnTo>
                      <a:lnTo>
                        <a:pt x="3531" y="771"/>
                      </a:lnTo>
                      <a:lnTo>
                        <a:pt x="3491" y="780"/>
                      </a:lnTo>
                      <a:lnTo>
                        <a:pt x="3449" y="788"/>
                      </a:lnTo>
                      <a:lnTo>
                        <a:pt x="3407" y="794"/>
                      </a:lnTo>
                      <a:lnTo>
                        <a:pt x="3365" y="797"/>
                      </a:lnTo>
                      <a:lnTo>
                        <a:pt x="3357" y="810"/>
                      </a:lnTo>
                      <a:lnTo>
                        <a:pt x="3346" y="826"/>
                      </a:lnTo>
                      <a:lnTo>
                        <a:pt x="3332" y="843"/>
                      </a:lnTo>
                      <a:lnTo>
                        <a:pt x="3316" y="861"/>
                      </a:lnTo>
                      <a:lnTo>
                        <a:pt x="3298" y="880"/>
                      </a:lnTo>
                      <a:lnTo>
                        <a:pt x="3276" y="900"/>
                      </a:lnTo>
                      <a:lnTo>
                        <a:pt x="3253" y="919"/>
                      </a:lnTo>
                      <a:lnTo>
                        <a:pt x="3227" y="938"/>
                      </a:lnTo>
                      <a:lnTo>
                        <a:pt x="3199" y="956"/>
                      </a:lnTo>
                      <a:lnTo>
                        <a:pt x="3167" y="974"/>
                      </a:lnTo>
                      <a:lnTo>
                        <a:pt x="3134" y="990"/>
                      </a:lnTo>
                      <a:lnTo>
                        <a:pt x="3117" y="997"/>
                      </a:lnTo>
                      <a:lnTo>
                        <a:pt x="3099" y="1003"/>
                      </a:lnTo>
                      <a:lnTo>
                        <a:pt x="3080" y="1009"/>
                      </a:lnTo>
                      <a:lnTo>
                        <a:pt x="3060" y="1014"/>
                      </a:lnTo>
                      <a:lnTo>
                        <a:pt x="3041" y="1019"/>
                      </a:lnTo>
                      <a:lnTo>
                        <a:pt x="3021" y="1024"/>
                      </a:lnTo>
                      <a:lnTo>
                        <a:pt x="3000" y="1026"/>
                      </a:lnTo>
                      <a:lnTo>
                        <a:pt x="2978" y="1028"/>
                      </a:lnTo>
                      <a:lnTo>
                        <a:pt x="2957" y="1030"/>
                      </a:lnTo>
                      <a:lnTo>
                        <a:pt x="2934" y="1031"/>
                      </a:lnTo>
                      <a:lnTo>
                        <a:pt x="2897" y="1028"/>
                      </a:lnTo>
                      <a:lnTo>
                        <a:pt x="2859" y="1025"/>
                      </a:lnTo>
                      <a:lnTo>
                        <a:pt x="2822" y="1019"/>
                      </a:lnTo>
                      <a:lnTo>
                        <a:pt x="2787" y="1009"/>
                      </a:lnTo>
                      <a:lnTo>
                        <a:pt x="2752" y="997"/>
                      </a:lnTo>
                      <a:lnTo>
                        <a:pt x="2719" y="984"/>
                      </a:lnTo>
                      <a:lnTo>
                        <a:pt x="2688" y="967"/>
                      </a:lnTo>
                      <a:lnTo>
                        <a:pt x="2658" y="949"/>
                      </a:lnTo>
                      <a:lnTo>
                        <a:pt x="2645" y="939"/>
                      </a:lnTo>
                      <a:lnTo>
                        <a:pt x="2632" y="929"/>
                      </a:lnTo>
                      <a:lnTo>
                        <a:pt x="2618" y="918"/>
                      </a:lnTo>
                      <a:lnTo>
                        <a:pt x="2606" y="906"/>
                      </a:lnTo>
                      <a:lnTo>
                        <a:pt x="2595" y="895"/>
                      </a:lnTo>
                      <a:lnTo>
                        <a:pt x="2585" y="882"/>
                      </a:lnTo>
                      <a:lnTo>
                        <a:pt x="2574" y="870"/>
                      </a:lnTo>
                      <a:lnTo>
                        <a:pt x="2564" y="856"/>
                      </a:lnTo>
                      <a:lnTo>
                        <a:pt x="2556" y="843"/>
                      </a:lnTo>
                      <a:lnTo>
                        <a:pt x="2547" y="829"/>
                      </a:lnTo>
                      <a:lnTo>
                        <a:pt x="2540" y="814"/>
                      </a:lnTo>
                      <a:lnTo>
                        <a:pt x="2534" y="800"/>
                      </a:lnTo>
                      <a:lnTo>
                        <a:pt x="2529" y="784"/>
                      </a:lnTo>
                      <a:lnTo>
                        <a:pt x="2524" y="768"/>
                      </a:lnTo>
                      <a:lnTo>
                        <a:pt x="2521" y="753"/>
                      </a:lnTo>
                      <a:lnTo>
                        <a:pt x="2517" y="737"/>
                      </a:lnTo>
                      <a:close/>
                      <a:moveTo>
                        <a:pt x="1496" y="715"/>
                      </a:moveTo>
                      <a:lnTo>
                        <a:pt x="1448" y="2141"/>
                      </a:lnTo>
                      <a:lnTo>
                        <a:pt x="1604" y="1983"/>
                      </a:lnTo>
                      <a:lnTo>
                        <a:pt x="1562" y="715"/>
                      </a:lnTo>
                      <a:lnTo>
                        <a:pt x="1496" y="715"/>
                      </a:lnTo>
                      <a:close/>
                      <a:moveTo>
                        <a:pt x="1402" y="619"/>
                      </a:moveTo>
                      <a:lnTo>
                        <a:pt x="1655" y="619"/>
                      </a:lnTo>
                      <a:lnTo>
                        <a:pt x="1716" y="2436"/>
                      </a:lnTo>
                      <a:lnTo>
                        <a:pt x="1340" y="2436"/>
                      </a:lnTo>
                      <a:lnTo>
                        <a:pt x="1402" y="619"/>
                      </a:lnTo>
                      <a:close/>
                      <a:moveTo>
                        <a:pt x="992" y="2132"/>
                      </a:moveTo>
                      <a:lnTo>
                        <a:pt x="1149" y="1975"/>
                      </a:lnTo>
                      <a:lnTo>
                        <a:pt x="1107" y="715"/>
                      </a:lnTo>
                      <a:lnTo>
                        <a:pt x="1041" y="715"/>
                      </a:lnTo>
                      <a:lnTo>
                        <a:pt x="992" y="2132"/>
                      </a:lnTo>
                      <a:close/>
                      <a:moveTo>
                        <a:pt x="948" y="619"/>
                      </a:moveTo>
                      <a:lnTo>
                        <a:pt x="1200" y="619"/>
                      </a:lnTo>
                      <a:lnTo>
                        <a:pt x="1261" y="2436"/>
                      </a:lnTo>
                      <a:lnTo>
                        <a:pt x="886" y="2436"/>
                      </a:lnTo>
                      <a:lnTo>
                        <a:pt x="948" y="619"/>
                      </a:lnTo>
                      <a:close/>
                      <a:moveTo>
                        <a:pt x="3022" y="2533"/>
                      </a:moveTo>
                      <a:lnTo>
                        <a:pt x="3022" y="3006"/>
                      </a:lnTo>
                      <a:lnTo>
                        <a:pt x="0" y="3006"/>
                      </a:lnTo>
                      <a:lnTo>
                        <a:pt x="0" y="2533"/>
                      </a:lnTo>
                      <a:lnTo>
                        <a:pt x="3022" y="2533"/>
                      </a:lnTo>
                      <a:close/>
                      <a:moveTo>
                        <a:pt x="193" y="4079"/>
                      </a:moveTo>
                      <a:lnTo>
                        <a:pt x="1303" y="4079"/>
                      </a:lnTo>
                      <a:lnTo>
                        <a:pt x="1308" y="3455"/>
                      </a:lnTo>
                      <a:lnTo>
                        <a:pt x="1308" y="3445"/>
                      </a:lnTo>
                      <a:lnTo>
                        <a:pt x="1309" y="3437"/>
                      </a:lnTo>
                      <a:lnTo>
                        <a:pt x="1312" y="3430"/>
                      </a:lnTo>
                      <a:lnTo>
                        <a:pt x="1314" y="3424"/>
                      </a:lnTo>
                      <a:lnTo>
                        <a:pt x="1318" y="3418"/>
                      </a:lnTo>
                      <a:lnTo>
                        <a:pt x="1322" y="3413"/>
                      </a:lnTo>
                      <a:lnTo>
                        <a:pt x="1326" y="3409"/>
                      </a:lnTo>
                      <a:lnTo>
                        <a:pt x="1332" y="3406"/>
                      </a:lnTo>
                      <a:lnTo>
                        <a:pt x="1338" y="3403"/>
                      </a:lnTo>
                      <a:lnTo>
                        <a:pt x="1344" y="3402"/>
                      </a:lnTo>
                      <a:lnTo>
                        <a:pt x="1350" y="3402"/>
                      </a:lnTo>
                      <a:lnTo>
                        <a:pt x="1357" y="3403"/>
                      </a:lnTo>
                      <a:lnTo>
                        <a:pt x="1363" y="3405"/>
                      </a:lnTo>
                      <a:lnTo>
                        <a:pt x="1371" y="3408"/>
                      </a:lnTo>
                      <a:lnTo>
                        <a:pt x="1378" y="3412"/>
                      </a:lnTo>
                      <a:lnTo>
                        <a:pt x="1385" y="3418"/>
                      </a:lnTo>
                      <a:lnTo>
                        <a:pt x="2135" y="4008"/>
                      </a:lnTo>
                      <a:lnTo>
                        <a:pt x="2135" y="3455"/>
                      </a:lnTo>
                      <a:lnTo>
                        <a:pt x="2135" y="3445"/>
                      </a:lnTo>
                      <a:lnTo>
                        <a:pt x="2138" y="3438"/>
                      </a:lnTo>
                      <a:lnTo>
                        <a:pt x="2139" y="3430"/>
                      </a:lnTo>
                      <a:lnTo>
                        <a:pt x="2143" y="3424"/>
                      </a:lnTo>
                      <a:lnTo>
                        <a:pt x="2146" y="3418"/>
                      </a:lnTo>
                      <a:lnTo>
                        <a:pt x="2150" y="3413"/>
                      </a:lnTo>
                      <a:lnTo>
                        <a:pt x="2155" y="3409"/>
                      </a:lnTo>
                      <a:lnTo>
                        <a:pt x="2159" y="3406"/>
                      </a:lnTo>
                      <a:lnTo>
                        <a:pt x="2165" y="3403"/>
                      </a:lnTo>
                      <a:lnTo>
                        <a:pt x="2171" y="3402"/>
                      </a:lnTo>
                      <a:lnTo>
                        <a:pt x="2177" y="3402"/>
                      </a:lnTo>
                      <a:lnTo>
                        <a:pt x="2185" y="3403"/>
                      </a:lnTo>
                      <a:lnTo>
                        <a:pt x="2192" y="3405"/>
                      </a:lnTo>
                      <a:lnTo>
                        <a:pt x="2199" y="3408"/>
                      </a:lnTo>
                      <a:lnTo>
                        <a:pt x="2206" y="3412"/>
                      </a:lnTo>
                      <a:lnTo>
                        <a:pt x="2214" y="3418"/>
                      </a:lnTo>
                      <a:lnTo>
                        <a:pt x="2627" y="3743"/>
                      </a:lnTo>
                      <a:lnTo>
                        <a:pt x="2627" y="3102"/>
                      </a:lnTo>
                      <a:lnTo>
                        <a:pt x="2819" y="3102"/>
                      </a:lnTo>
                      <a:lnTo>
                        <a:pt x="2819" y="3895"/>
                      </a:lnTo>
                      <a:lnTo>
                        <a:pt x="2912" y="3968"/>
                      </a:lnTo>
                      <a:lnTo>
                        <a:pt x="2964" y="3968"/>
                      </a:lnTo>
                      <a:lnTo>
                        <a:pt x="2964" y="3455"/>
                      </a:lnTo>
                      <a:lnTo>
                        <a:pt x="2964" y="3445"/>
                      </a:lnTo>
                      <a:lnTo>
                        <a:pt x="2965" y="3438"/>
                      </a:lnTo>
                      <a:lnTo>
                        <a:pt x="2968" y="3430"/>
                      </a:lnTo>
                      <a:lnTo>
                        <a:pt x="2970" y="3424"/>
                      </a:lnTo>
                      <a:lnTo>
                        <a:pt x="2974" y="3418"/>
                      </a:lnTo>
                      <a:lnTo>
                        <a:pt x="2978" y="3413"/>
                      </a:lnTo>
                      <a:lnTo>
                        <a:pt x="2982" y="3409"/>
                      </a:lnTo>
                      <a:lnTo>
                        <a:pt x="2988" y="3406"/>
                      </a:lnTo>
                      <a:lnTo>
                        <a:pt x="2994" y="3403"/>
                      </a:lnTo>
                      <a:lnTo>
                        <a:pt x="3000" y="3402"/>
                      </a:lnTo>
                      <a:lnTo>
                        <a:pt x="3006" y="3402"/>
                      </a:lnTo>
                      <a:lnTo>
                        <a:pt x="3013" y="3403"/>
                      </a:lnTo>
                      <a:lnTo>
                        <a:pt x="3019" y="3405"/>
                      </a:lnTo>
                      <a:lnTo>
                        <a:pt x="3027" y="3408"/>
                      </a:lnTo>
                      <a:lnTo>
                        <a:pt x="3034" y="3412"/>
                      </a:lnTo>
                      <a:lnTo>
                        <a:pt x="3041" y="3418"/>
                      </a:lnTo>
                      <a:lnTo>
                        <a:pt x="3740" y="3968"/>
                      </a:lnTo>
                      <a:lnTo>
                        <a:pt x="4190" y="3968"/>
                      </a:lnTo>
                      <a:lnTo>
                        <a:pt x="4190" y="4763"/>
                      </a:lnTo>
                      <a:lnTo>
                        <a:pt x="0" y="4763"/>
                      </a:lnTo>
                      <a:lnTo>
                        <a:pt x="0" y="3102"/>
                      </a:lnTo>
                      <a:lnTo>
                        <a:pt x="193" y="3102"/>
                      </a:lnTo>
                      <a:lnTo>
                        <a:pt x="193" y="4079"/>
                      </a:lnTo>
                      <a:close/>
                      <a:moveTo>
                        <a:pt x="3783" y="4125"/>
                      </a:moveTo>
                      <a:lnTo>
                        <a:pt x="3060" y="3554"/>
                      </a:lnTo>
                      <a:lnTo>
                        <a:pt x="3060" y="4108"/>
                      </a:lnTo>
                      <a:lnTo>
                        <a:pt x="3059" y="4116"/>
                      </a:lnTo>
                      <a:lnTo>
                        <a:pt x="3058" y="4125"/>
                      </a:lnTo>
                      <a:lnTo>
                        <a:pt x="3055" y="4132"/>
                      </a:lnTo>
                      <a:lnTo>
                        <a:pt x="3053" y="4139"/>
                      </a:lnTo>
                      <a:lnTo>
                        <a:pt x="3049" y="4145"/>
                      </a:lnTo>
                      <a:lnTo>
                        <a:pt x="3046" y="4150"/>
                      </a:lnTo>
                      <a:lnTo>
                        <a:pt x="3041" y="4154"/>
                      </a:lnTo>
                      <a:lnTo>
                        <a:pt x="3035" y="4157"/>
                      </a:lnTo>
                      <a:lnTo>
                        <a:pt x="3030" y="4160"/>
                      </a:lnTo>
                      <a:lnTo>
                        <a:pt x="3024" y="4161"/>
                      </a:lnTo>
                      <a:lnTo>
                        <a:pt x="3017" y="4161"/>
                      </a:lnTo>
                      <a:lnTo>
                        <a:pt x="3011" y="4160"/>
                      </a:lnTo>
                      <a:lnTo>
                        <a:pt x="3004" y="4158"/>
                      </a:lnTo>
                      <a:lnTo>
                        <a:pt x="2996" y="4155"/>
                      </a:lnTo>
                      <a:lnTo>
                        <a:pt x="2989" y="4151"/>
                      </a:lnTo>
                      <a:lnTo>
                        <a:pt x="2982" y="4145"/>
                      </a:lnTo>
                      <a:lnTo>
                        <a:pt x="2232" y="3554"/>
                      </a:lnTo>
                      <a:lnTo>
                        <a:pt x="2232" y="4108"/>
                      </a:lnTo>
                      <a:lnTo>
                        <a:pt x="2232" y="4116"/>
                      </a:lnTo>
                      <a:lnTo>
                        <a:pt x="2230" y="4125"/>
                      </a:lnTo>
                      <a:lnTo>
                        <a:pt x="2228" y="4132"/>
                      </a:lnTo>
                      <a:lnTo>
                        <a:pt x="2226" y="4139"/>
                      </a:lnTo>
                      <a:lnTo>
                        <a:pt x="2222" y="4145"/>
                      </a:lnTo>
                      <a:lnTo>
                        <a:pt x="2217" y="4150"/>
                      </a:lnTo>
                      <a:lnTo>
                        <a:pt x="2212" y="4154"/>
                      </a:lnTo>
                      <a:lnTo>
                        <a:pt x="2208" y="4157"/>
                      </a:lnTo>
                      <a:lnTo>
                        <a:pt x="2202" y="4160"/>
                      </a:lnTo>
                      <a:lnTo>
                        <a:pt x="2196" y="4161"/>
                      </a:lnTo>
                      <a:lnTo>
                        <a:pt x="2190" y="4161"/>
                      </a:lnTo>
                      <a:lnTo>
                        <a:pt x="2182" y="4160"/>
                      </a:lnTo>
                      <a:lnTo>
                        <a:pt x="2175" y="4158"/>
                      </a:lnTo>
                      <a:lnTo>
                        <a:pt x="2168" y="4155"/>
                      </a:lnTo>
                      <a:lnTo>
                        <a:pt x="2161" y="4151"/>
                      </a:lnTo>
                      <a:lnTo>
                        <a:pt x="2153" y="4145"/>
                      </a:lnTo>
                      <a:lnTo>
                        <a:pt x="1403" y="3554"/>
                      </a:lnTo>
                      <a:lnTo>
                        <a:pt x="1399" y="4128"/>
                      </a:lnTo>
                      <a:lnTo>
                        <a:pt x="1398" y="4137"/>
                      </a:lnTo>
                      <a:lnTo>
                        <a:pt x="1396" y="4146"/>
                      </a:lnTo>
                      <a:lnTo>
                        <a:pt x="1391" y="4154"/>
                      </a:lnTo>
                      <a:lnTo>
                        <a:pt x="1385" y="4161"/>
                      </a:lnTo>
                      <a:lnTo>
                        <a:pt x="1378" y="4167"/>
                      </a:lnTo>
                      <a:lnTo>
                        <a:pt x="1369" y="4172"/>
                      </a:lnTo>
                      <a:lnTo>
                        <a:pt x="1361" y="4175"/>
                      </a:lnTo>
                      <a:lnTo>
                        <a:pt x="1351" y="4175"/>
                      </a:lnTo>
                      <a:lnTo>
                        <a:pt x="193" y="4175"/>
                      </a:lnTo>
                      <a:lnTo>
                        <a:pt x="193" y="4570"/>
                      </a:lnTo>
                      <a:lnTo>
                        <a:pt x="4005" y="4570"/>
                      </a:lnTo>
                      <a:lnTo>
                        <a:pt x="4005" y="4127"/>
                      </a:lnTo>
                      <a:lnTo>
                        <a:pt x="3783" y="4125"/>
                      </a:lnTo>
                      <a:close/>
                      <a:moveTo>
                        <a:pt x="618" y="3656"/>
                      </a:moveTo>
                      <a:lnTo>
                        <a:pt x="618" y="3965"/>
                      </a:lnTo>
                      <a:lnTo>
                        <a:pt x="425" y="3965"/>
                      </a:lnTo>
                      <a:lnTo>
                        <a:pt x="425" y="3656"/>
                      </a:lnTo>
                      <a:lnTo>
                        <a:pt x="618" y="3656"/>
                      </a:lnTo>
                      <a:close/>
                      <a:moveTo>
                        <a:pt x="618" y="3153"/>
                      </a:moveTo>
                      <a:lnTo>
                        <a:pt x="618" y="3464"/>
                      </a:lnTo>
                      <a:lnTo>
                        <a:pt x="425" y="3464"/>
                      </a:lnTo>
                      <a:lnTo>
                        <a:pt x="425" y="3153"/>
                      </a:lnTo>
                      <a:lnTo>
                        <a:pt x="618" y="3153"/>
                      </a:lnTo>
                      <a:close/>
                      <a:moveTo>
                        <a:pt x="953" y="3656"/>
                      </a:moveTo>
                      <a:lnTo>
                        <a:pt x="953" y="3965"/>
                      </a:lnTo>
                      <a:lnTo>
                        <a:pt x="760" y="3965"/>
                      </a:lnTo>
                      <a:lnTo>
                        <a:pt x="760" y="3656"/>
                      </a:lnTo>
                      <a:lnTo>
                        <a:pt x="953" y="3656"/>
                      </a:lnTo>
                      <a:close/>
                    </a:path>
                  </a:pathLst>
                </a:custGeom>
                <a:solidFill>
                  <a:schemeClr val="accent1"/>
                </a:solidFill>
                <a:ln w="9525">
                  <a:noFill/>
                  <a:round/>
                  <a:headEnd/>
                  <a:tailEnd/>
                </a:ln>
              </p:spPr>
              <p:txBody>
                <a:bodyPr/>
                <a:lstStyle/>
                <a:p>
                  <a:pPr defTabSz="791108">
                    <a:defRPr/>
                  </a:pPr>
                  <a:endParaRPr lang="de-DE" sz="1557" kern="0" dirty="0">
                    <a:solidFill>
                      <a:srgbClr val="646464"/>
                    </a:solidFill>
                    <a:latin typeface="+mj-lt"/>
                  </a:endParaRPr>
                </a:p>
              </p:txBody>
            </p:sp>
          </p:grpSp>
          <p:cxnSp>
            <p:nvCxnSpPr>
              <p:cNvPr id="169" name="Straight Connector 168"/>
              <p:cNvCxnSpPr>
                <a:stCxn id="227" idx="1"/>
                <a:endCxn id="200" idx="5"/>
              </p:cNvCxnSpPr>
              <p:nvPr/>
            </p:nvCxnSpPr>
            <p:spPr>
              <a:xfrm flipH="1" flipV="1">
                <a:off x="8341078" y="2119725"/>
                <a:ext cx="746527" cy="676224"/>
              </a:xfrm>
              <a:prstGeom prst="line">
                <a:avLst/>
              </a:prstGeom>
              <a:noFill/>
              <a:ln w="28575" cap="flat" cmpd="sng" algn="ctr">
                <a:solidFill>
                  <a:srgbClr val="C0C0C0"/>
                </a:solidFill>
                <a:prstDash val="solid"/>
              </a:ln>
              <a:effectLst/>
            </p:spPr>
          </p:cxnSp>
          <p:sp>
            <p:nvSpPr>
              <p:cNvPr id="170" name="TextBox 169"/>
              <p:cNvSpPr txBox="1"/>
              <p:nvPr/>
            </p:nvSpPr>
            <p:spPr>
              <a:xfrm>
                <a:off x="7852255" y="2221873"/>
                <a:ext cx="765657" cy="248858"/>
              </a:xfrm>
              <a:prstGeom prst="rect">
                <a:avLst/>
              </a:prstGeom>
              <a:noFill/>
            </p:spPr>
            <p:txBody>
              <a:bodyPr wrap="none" lIns="0" tIns="29067" rIns="0" bIns="0" rtlCol="0">
                <a:spAutoFit/>
              </a:bodyPr>
              <a:lstStyle/>
              <a:p>
                <a:pPr algn="ctr" defTabSz="791108">
                  <a:lnSpc>
                    <a:spcPct val="85000"/>
                  </a:lnSpc>
                  <a:spcAft>
                    <a:spcPts val="477"/>
                  </a:spcAft>
                  <a:buClr>
                    <a:srgbClr val="FFE600"/>
                  </a:buClr>
                  <a:buSzPct val="70000"/>
                  <a:defRPr/>
                </a:pPr>
                <a:r>
                  <a:rPr lang="de-DE" sz="716" kern="0" dirty="0">
                    <a:latin typeface="+mj-lt"/>
                  </a:rPr>
                  <a:t>Platform-based</a:t>
                </a:r>
                <a:br>
                  <a:rPr lang="de-DE" sz="716" kern="0" dirty="0">
                    <a:latin typeface="+mj-lt"/>
                  </a:rPr>
                </a:br>
                <a:r>
                  <a:rPr lang="de-DE" sz="716" kern="0" dirty="0" smtClean="0">
                    <a:latin typeface="+mj-lt"/>
                  </a:rPr>
                  <a:t>business </a:t>
                </a:r>
                <a:r>
                  <a:rPr lang="de-DE" sz="716" kern="0" dirty="0">
                    <a:latin typeface="+mj-lt"/>
                  </a:rPr>
                  <a:t>m</a:t>
                </a:r>
                <a:r>
                  <a:rPr lang="de-DE" sz="716" kern="0" dirty="0" smtClean="0">
                    <a:latin typeface="+mj-lt"/>
                  </a:rPr>
                  <a:t>odel</a:t>
                </a:r>
                <a:endParaRPr lang="de-DE" sz="716" kern="0" dirty="0">
                  <a:latin typeface="+mj-lt"/>
                </a:endParaRPr>
              </a:p>
            </p:txBody>
          </p:sp>
          <p:sp>
            <p:nvSpPr>
              <p:cNvPr id="171" name="TextBox 170"/>
              <p:cNvSpPr txBox="1"/>
              <p:nvPr/>
            </p:nvSpPr>
            <p:spPr>
              <a:xfrm>
                <a:off x="7803393" y="4115308"/>
                <a:ext cx="1076884" cy="356424"/>
              </a:xfrm>
              <a:prstGeom prst="rect">
                <a:avLst/>
              </a:prstGeom>
              <a:noFill/>
            </p:spPr>
            <p:txBody>
              <a:bodyPr wrap="none" lIns="0" tIns="29067" rIns="0" bIns="0" rtlCol="0">
                <a:spAutoFit/>
              </a:bodyPr>
              <a:lstStyle/>
              <a:p>
                <a:pPr algn="ctr" defTabSz="791108">
                  <a:lnSpc>
                    <a:spcPct val="85000"/>
                  </a:lnSpc>
                  <a:spcAft>
                    <a:spcPts val="477"/>
                  </a:spcAft>
                  <a:buClr>
                    <a:srgbClr val="FFE600"/>
                  </a:buClr>
                  <a:buSzPct val="70000"/>
                  <a:defRPr/>
                </a:pPr>
                <a:r>
                  <a:rPr lang="de-DE" sz="716" kern="0" dirty="0" smtClean="0">
                    <a:latin typeface="+mj-lt"/>
                  </a:rPr>
                  <a:t>Supply chain planning</a:t>
                </a:r>
                <a:r>
                  <a:rPr lang="de-DE" sz="716" kern="0" dirty="0">
                    <a:latin typeface="+mj-lt"/>
                  </a:rPr>
                  <a:t/>
                </a:r>
                <a:br>
                  <a:rPr lang="de-DE" sz="716" kern="0" dirty="0">
                    <a:latin typeface="+mj-lt"/>
                  </a:rPr>
                </a:br>
                <a:r>
                  <a:rPr lang="de-DE" sz="716" kern="0" dirty="0" smtClean="0">
                    <a:latin typeface="+mj-lt"/>
                  </a:rPr>
                  <a:t>supplier mgmt.,</a:t>
                </a:r>
                <a:r>
                  <a:rPr lang="de-DE" sz="716" kern="0" dirty="0">
                    <a:latin typeface="+mj-lt"/>
                  </a:rPr>
                  <a:t/>
                </a:r>
                <a:br>
                  <a:rPr lang="de-DE" sz="716" kern="0" dirty="0">
                    <a:latin typeface="+mj-lt"/>
                  </a:rPr>
                </a:br>
                <a:r>
                  <a:rPr lang="de-DE" sz="716" kern="0" dirty="0" smtClean="0">
                    <a:latin typeface="+mj-lt"/>
                  </a:rPr>
                  <a:t>risk </a:t>
                </a:r>
                <a:r>
                  <a:rPr lang="de-DE" sz="716" kern="0" dirty="0">
                    <a:latin typeface="+mj-lt"/>
                  </a:rPr>
                  <a:t>m</a:t>
                </a:r>
                <a:r>
                  <a:rPr lang="de-DE" sz="716" kern="0" dirty="0" smtClean="0">
                    <a:latin typeface="+mj-lt"/>
                  </a:rPr>
                  <a:t>anagement</a:t>
                </a:r>
                <a:endParaRPr lang="de-DE" sz="716" kern="0" dirty="0">
                  <a:latin typeface="+mj-lt"/>
                </a:endParaRPr>
              </a:p>
            </p:txBody>
          </p:sp>
          <p:sp>
            <p:nvSpPr>
              <p:cNvPr id="172" name="TextBox 171"/>
              <p:cNvSpPr txBox="1"/>
              <p:nvPr/>
            </p:nvSpPr>
            <p:spPr>
              <a:xfrm>
                <a:off x="7167402" y="2137953"/>
                <a:ext cx="586175" cy="141291"/>
              </a:xfrm>
              <a:prstGeom prst="rect">
                <a:avLst/>
              </a:prstGeom>
              <a:noFill/>
            </p:spPr>
            <p:txBody>
              <a:bodyPr wrap="none" lIns="0" tIns="29067" rIns="0" bIns="0" rtlCol="0">
                <a:spAutoFit/>
              </a:bodyPr>
              <a:lstStyle/>
              <a:p>
                <a:pPr algn="ctr" defTabSz="791108">
                  <a:lnSpc>
                    <a:spcPct val="85000"/>
                  </a:lnSpc>
                  <a:spcAft>
                    <a:spcPts val="477"/>
                  </a:spcAft>
                  <a:buClr>
                    <a:srgbClr val="FFE600"/>
                  </a:buClr>
                  <a:buSzPct val="70000"/>
                  <a:defRPr/>
                </a:pPr>
                <a:r>
                  <a:rPr lang="de-DE" sz="716" kern="0" dirty="0" smtClean="0">
                    <a:latin typeface="+mj-lt"/>
                  </a:rPr>
                  <a:t>Competition</a:t>
                </a:r>
                <a:endParaRPr lang="de-DE" sz="716" kern="0" dirty="0">
                  <a:latin typeface="+mj-lt"/>
                </a:endParaRPr>
              </a:p>
            </p:txBody>
          </p:sp>
          <p:grpSp>
            <p:nvGrpSpPr>
              <p:cNvPr id="173" name="Group 172"/>
              <p:cNvGrpSpPr/>
              <p:nvPr/>
            </p:nvGrpSpPr>
            <p:grpSpPr>
              <a:xfrm>
                <a:off x="9564734" y="3237593"/>
                <a:ext cx="646887" cy="646887"/>
                <a:chOff x="9807408" y="3650691"/>
                <a:chExt cx="684476" cy="684476"/>
              </a:xfrm>
            </p:grpSpPr>
            <p:sp>
              <p:nvSpPr>
                <p:cNvPr id="185" name="Oval 184"/>
                <p:cNvSpPr/>
                <p:nvPr/>
              </p:nvSpPr>
              <p:spPr>
                <a:xfrm>
                  <a:off x="9807408" y="3650691"/>
                  <a:ext cx="684476" cy="684476"/>
                </a:xfrm>
                <a:prstGeom prst="ellipse">
                  <a:avLst/>
                </a:prstGeom>
                <a:solidFill>
                  <a:srgbClr val="00A3AE"/>
                </a:solidFill>
                <a:ln w="12700">
                  <a:noFill/>
                  <a:prstDash val="solid"/>
                  <a:round/>
                  <a:headEnd/>
                  <a:tailEnd/>
                </a:ln>
              </p:spPr>
              <p:txBody>
                <a:bodyPr wrap="none" lIns="0" tIns="0" rIns="0" bIns="429126" anchor="t"/>
                <a:lstStyle/>
                <a:p>
                  <a:pPr algn="ctr" defTabSz="558057">
                    <a:lnSpc>
                      <a:spcPct val="90000"/>
                    </a:lnSpc>
                    <a:defRPr/>
                  </a:pPr>
                  <a:r>
                    <a:rPr lang="de-DE" sz="716" b="1" kern="0" dirty="0">
                      <a:solidFill>
                        <a:srgbClr val="F0F0F0"/>
                      </a:solidFill>
                      <a:latin typeface="+mj-lt"/>
                    </a:rPr>
                    <a:t>Retail/</a:t>
                  </a:r>
                  <a:br>
                    <a:rPr lang="de-DE" sz="716" b="1" kern="0" dirty="0">
                      <a:solidFill>
                        <a:srgbClr val="F0F0F0"/>
                      </a:solidFill>
                      <a:latin typeface="+mj-lt"/>
                    </a:rPr>
                  </a:br>
                  <a:r>
                    <a:rPr lang="de-DE" sz="716" b="1" kern="0" dirty="0" smtClean="0">
                      <a:solidFill>
                        <a:srgbClr val="F0F0F0"/>
                      </a:solidFill>
                      <a:latin typeface="+mj-lt"/>
                    </a:rPr>
                    <a:t>consumer</a:t>
                  </a:r>
                  <a:endParaRPr lang="de-DE" sz="716" b="1" kern="0" dirty="0">
                    <a:solidFill>
                      <a:srgbClr val="F0F0F0"/>
                    </a:solidFill>
                    <a:latin typeface="+mj-lt"/>
                  </a:endParaRPr>
                </a:p>
              </p:txBody>
            </p:sp>
            <p:sp>
              <p:nvSpPr>
                <p:cNvPr id="186" name="Freeform 71"/>
                <p:cNvSpPr>
                  <a:spLocks noChangeAspect="1" noEditPoints="1"/>
                </p:cNvSpPr>
                <p:nvPr/>
              </p:nvSpPr>
              <p:spPr bwMode="auto">
                <a:xfrm>
                  <a:off x="9882410" y="4016534"/>
                  <a:ext cx="224749" cy="184581"/>
                </a:xfrm>
                <a:custGeom>
                  <a:avLst/>
                  <a:gdLst>
                    <a:gd name="T0" fmla="*/ 2147483647 w 5802"/>
                    <a:gd name="T1" fmla="*/ 2147483647 h 4763"/>
                    <a:gd name="T2" fmla="*/ 2147483647 w 5802"/>
                    <a:gd name="T3" fmla="*/ 2147483647 h 4763"/>
                    <a:gd name="T4" fmla="*/ 2147483647 w 5802"/>
                    <a:gd name="T5" fmla="*/ 2147483647 h 4763"/>
                    <a:gd name="T6" fmla="*/ 2147483647 w 5802"/>
                    <a:gd name="T7" fmla="*/ 2147483647 h 4763"/>
                    <a:gd name="T8" fmla="*/ 2147483647 w 5802"/>
                    <a:gd name="T9" fmla="*/ 2147483647 h 4763"/>
                    <a:gd name="T10" fmla="*/ 2147483647 w 5802"/>
                    <a:gd name="T11" fmla="*/ 2147483647 h 4763"/>
                    <a:gd name="T12" fmla="*/ 2147483647 w 5802"/>
                    <a:gd name="T13" fmla="*/ 2147483647 h 4763"/>
                    <a:gd name="T14" fmla="*/ 2147483647 w 5802"/>
                    <a:gd name="T15" fmla="*/ 2147483647 h 4763"/>
                    <a:gd name="T16" fmla="*/ 2147483647 w 5802"/>
                    <a:gd name="T17" fmla="*/ 2147483647 h 4763"/>
                    <a:gd name="T18" fmla="*/ 2147483647 w 5802"/>
                    <a:gd name="T19" fmla="*/ 2147483647 h 4763"/>
                    <a:gd name="T20" fmla="*/ 2147483647 w 5802"/>
                    <a:gd name="T21" fmla="*/ 2147483647 h 4763"/>
                    <a:gd name="T22" fmla="*/ 2147483647 w 5802"/>
                    <a:gd name="T23" fmla="*/ 2147483647 h 4763"/>
                    <a:gd name="T24" fmla="*/ 2147483647 w 5802"/>
                    <a:gd name="T25" fmla="*/ 2147483647 h 4763"/>
                    <a:gd name="T26" fmla="*/ 2147483647 w 5802"/>
                    <a:gd name="T27" fmla="*/ 2147483647 h 4763"/>
                    <a:gd name="T28" fmla="*/ 2147483647 w 5802"/>
                    <a:gd name="T29" fmla="*/ 2147483647 h 4763"/>
                    <a:gd name="T30" fmla="*/ 0 w 5802"/>
                    <a:gd name="T31" fmla="*/ 2147483647 h 4763"/>
                    <a:gd name="T32" fmla="*/ 2147483647 w 5802"/>
                    <a:gd name="T33" fmla="*/ 2147483647 h 4763"/>
                    <a:gd name="T34" fmla="*/ 2147483647 w 5802"/>
                    <a:gd name="T35" fmla="*/ 2147483647 h 4763"/>
                    <a:gd name="T36" fmla="*/ 2147483647 w 5802"/>
                    <a:gd name="T37" fmla="*/ 2147483647 h 4763"/>
                    <a:gd name="T38" fmla="*/ 2147483647 w 5802"/>
                    <a:gd name="T39" fmla="*/ 0 h 4763"/>
                    <a:gd name="T40" fmla="*/ 2147483647 w 5802"/>
                    <a:gd name="T41" fmla="*/ 2147483647 h 4763"/>
                    <a:gd name="T42" fmla="*/ 2147483647 w 5802"/>
                    <a:gd name="T43" fmla="*/ 2147483647 h 4763"/>
                    <a:gd name="T44" fmla="*/ 2147483647 w 5802"/>
                    <a:gd name="T45" fmla="*/ 2147483647 h 4763"/>
                    <a:gd name="T46" fmla="*/ 2147483647 w 5802"/>
                    <a:gd name="T47" fmla="*/ 2147483647 h 4763"/>
                    <a:gd name="T48" fmla="*/ 2147483647 w 5802"/>
                    <a:gd name="T49" fmla="*/ 2147483647 h 4763"/>
                    <a:gd name="T50" fmla="*/ 2147483647 w 5802"/>
                    <a:gd name="T51" fmla="*/ 2147483647 h 4763"/>
                    <a:gd name="T52" fmla="*/ 2147483647 w 5802"/>
                    <a:gd name="T53" fmla="*/ 2147483647 h 4763"/>
                    <a:gd name="T54" fmla="*/ 2147483647 w 5802"/>
                    <a:gd name="T55" fmla="*/ 2147483647 h 4763"/>
                    <a:gd name="T56" fmla="*/ 2147483647 w 5802"/>
                    <a:gd name="T57" fmla="*/ 2147483647 h 4763"/>
                    <a:gd name="T58" fmla="*/ 2147483647 w 5802"/>
                    <a:gd name="T59" fmla="*/ 2147483647 h 4763"/>
                    <a:gd name="T60" fmla="*/ 2147483647 w 5802"/>
                    <a:gd name="T61" fmla="*/ 2147483647 h 4763"/>
                    <a:gd name="T62" fmla="*/ 2147483647 w 5802"/>
                    <a:gd name="T63" fmla="*/ 2147483647 h 4763"/>
                    <a:gd name="T64" fmla="*/ 2147483647 w 5802"/>
                    <a:gd name="T65" fmla="*/ 2147483647 h 4763"/>
                    <a:gd name="T66" fmla="*/ 2147483647 w 5802"/>
                    <a:gd name="T67" fmla="*/ 2147483647 h 4763"/>
                    <a:gd name="T68" fmla="*/ 2147483647 w 5802"/>
                    <a:gd name="T69" fmla="*/ 2147483647 h 4763"/>
                    <a:gd name="T70" fmla="*/ 2147483647 w 5802"/>
                    <a:gd name="T71" fmla="*/ 2147483647 h 4763"/>
                    <a:gd name="T72" fmla="*/ 2147483647 w 5802"/>
                    <a:gd name="T73" fmla="*/ 2147483647 h 4763"/>
                    <a:gd name="T74" fmla="*/ 2147483647 w 5802"/>
                    <a:gd name="T75" fmla="*/ 2147483647 h 4763"/>
                    <a:gd name="T76" fmla="*/ 2147483647 w 5802"/>
                    <a:gd name="T77" fmla="*/ 2147483647 h 4763"/>
                    <a:gd name="T78" fmla="*/ 2147483647 w 5802"/>
                    <a:gd name="T79" fmla="*/ 2147483647 h 4763"/>
                    <a:gd name="T80" fmla="*/ 2147483647 w 5802"/>
                    <a:gd name="T81" fmla="*/ 2147483647 h 4763"/>
                    <a:gd name="T82" fmla="*/ 2147483647 w 5802"/>
                    <a:gd name="T83" fmla="*/ 2147483647 h 4763"/>
                    <a:gd name="T84" fmla="*/ 2147483647 w 5802"/>
                    <a:gd name="T85" fmla="*/ 2147483647 h 4763"/>
                    <a:gd name="T86" fmla="*/ 2147483647 w 5802"/>
                    <a:gd name="T87" fmla="*/ 2147483647 h 4763"/>
                    <a:gd name="T88" fmla="*/ 2147483647 w 5802"/>
                    <a:gd name="T89" fmla="*/ 2147483647 h 4763"/>
                    <a:gd name="T90" fmla="*/ 2147483647 w 5802"/>
                    <a:gd name="T91" fmla="*/ 2147483647 h 4763"/>
                    <a:gd name="T92" fmla="*/ 2147483647 w 5802"/>
                    <a:gd name="T93" fmla="*/ 2147483647 h 4763"/>
                    <a:gd name="T94" fmla="*/ 2147483647 w 5802"/>
                    <a:gd name="T95" fmla="*/ 2147483647 h 4763"/>
                    <a:gd name="T96" fmla="*/ 2147483647 w 5802"/>
                    <a:gd name="T97" fmla="*/ 2147483647 h 4763"/>
                    <a:gd name="T98" fmla="*/ 2147483647 w 5802"/>
                    <a:gd name="T99" fmla="*/ 2147483647 h 4763"/>
                    <a:gd name="T100" fmla="*/ 2147483647 w 5802"/>
                    <a:gd name="T101" fmla="*/ 2147483647 h 4763"/>
                    <a:gd name="T102" fmla="*/ 2147483647 w 5802"/>
                    <a:gd name="T103" fmla="*/ 2147483647 h 4763"/>
                    <a:gd name="T104" fmla="*/ 2147483647 w 5802"/>
                    <a:gd name="T105" fmla="*/ 2147483647 h 4763"/>
                    <a:gd name="T106" fmla="*/ 2147483647 w 5802"/>
                    <a:gd name="T107" fmla="*/ 2147483647 h 4763"/>
                    <a:gd name="T108" fmla="*/ 2147483647 w 5802"/>
                    <a:gd name="T109" fmla="*/ 2147483647 h 47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02"/>
                    <a:gd name="T166" fmla="*/ 0 h 4763"/>
                    <a:gd name="T167" fmla="*/ 5802 w 5802"/>
                    <a:gd name="T168" fmla="*/ 4763 h 47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02" h="4763">
                      <a:moveTo>
                        <a:pt x="1835" y="889"/>
                      </a:moveTo>
                      <a:lnTo>
                        <a:pt x="5297" y="889"/>
                      </a:lnTo>
                      <a:lnTo>
                        <a:pt x="5279" y="1015"/>
                      </a:lnTo>
                      <a:lnTo>
                        <a:pt x="1887" y="1015"/>
                      </a:lnTo>
                      <a:lnTo>
                        <a:pt x="1835" y="889"/>
                      </a:lnTo>
                      <a:close/>
                      <a:moveTo>
                        <a:pt x="2060" y="1420"/>
                      </a:moveTo>
                      <a:lnTo>
                        <a:pt x="5231" y="1366"/>
                      </a:lnTo>
                      <a:lnTo>
                        <a:pt x="5213" y="1492"/>
                      </a:lnTo>
                      <a:lnTo>
                        <a:pt x="2112" y="1546"/>
                      </a:lnTo>
                      <a:lnTo>
                        <a:pt x="2060" y="1420"/>
                      </a:lnTo>
                      <a:close/>
                      <a:moveTo>
                        <a:pt x="2278" y="1934"/>
                      </a:moveTo>
                      <a:lnTo>
                        <a:pt x="5166" y="1827"/>
                      </a:lnTo>
                      <a:lnTo>
                        <a:pt x="5149" y="1955"/>
                      </a:lnTo>
                      <a:lnTo>
                        <a:pt x="2331" y="2059"/>
                      </a:lnTo>
                      <a:lnTo>
                        <a:pt x="2278" y="1934"/>
                      </a:lnTo>
                      <a:close/>
                      <a:moveTo>
                        <a:pt x="2496" y="2451"/>
                      </a:moveTo>
                      <a:lnTo>
                        <a:pt x="5103" y="2289"/>
                      </a:lnTo>
                      <a:lnTo>
                        <a:pt x="5086" y="2416"/>
                      </a:lnTo>
                      <a:lnTo>
                        <a:pt x="2548" y="2574"/>
                      </a:lnTo>
                      <a:lnTo>
                        <a:pt x="2496" y="2451"/>
                      </a:lnTo>
                      <a:close/>
                      <a:moveTo>
                        <a:pt x="5802" y="889"/>
                      </a:moveTo>
                      <a:lnTo>
                        <a:pt x="5522" y="2918"/>
                      </a:lnTo>
                      <a:lnTo>
                        <a:pt x="2249" y="3135"/>
                      </a:lnTo>
                      <a:lnTo>
                        <a:pt x="1297" y="889"/>
                      </a:lnTo>
                      <a:lnTo>
                        <a:pt x="1571" y="889"/>
                      </a:lnTo>
                      <a:lnTo>
                        <a:pt x="2410" y="2873"/>
                      </a:lnTo>
                      <a:lnTo>
                        <a:pt x="5301" y="2681"/>
                      </a:lnTo>
                      <a:lnTo>
                        <a:pt x="5549" y="889"/>
                      </a:lnTo>
                      <a:lnTo>
                        <a:pt x="5802" y="889"/>
                      </a:lnTo>
                      <a:close/>
                      <a:moveTo>
                        <a:pt x="1952" y="4366"/>
                      </a:moveTo>
                      <a:lnTo>
                        <a:pt x="1952" y="4366"/>
                      </a:lnTo>
                      <a:lnTo>
                        <a:pt x="1953" y="4330"/>
                      </a:lnTo>
                      <a:lnTo>
                        <a:pt x="1958" y="4294"/>
                      </a:lnTo>
                      <a:lnTo>
                        <a:pt x="1968" y="4259"/>
                      </a:lnTo>
                      <a:lnTo>
                        <a:pt x="1979" y="4226"/>
                      </a:lnTo>
                      <a:lnTo>
                        <a:pt x="1991" y="4195"/>
                      </a:lnTo>
                      <a:lnTo>
                        <a:pt x="2009" y="4163"/>
                      </a:lnTo>
                      <a:lnTo>
                        <a:pt x="2027" y="4135"/>
                      </a:lnTo>
                      <a:lnTo>
                        <a:pt x="2048" y="4108"/>
                      </a:lnTo>
                      <a:lnTo>
                        <a:pt x="2071" y="4083"/>
                      </a:lnTo>
                      <a:lnTo>
                        <a:pt x="2097" y="4059"/>
                      </a:lnTo>
                      <a:lnTo>
                        <a:pt x="2125" y="4039"/>
                      </a:lnTo>
                      <a:lnTo>
                        <a:pt x="2155" y="4020"/>
                      </a:lnTo>
                      <a:lnTo>
                        <a:pt x="2185" y="4004"/>
                      </a:lnTo>
                      <a:lnTo>
                        <a:pt x="2218" y="3992"/>
                      </a:lnTo>
                      <a:lnTo>
                        <a:pt x="2251" y="3982"/>
                      </a:lnTo>
                      <a:lnTo>
                        <a:pt x="2286" y="3974"/>
                      </a:lnTo>
                      <a:lnTo>
                        <a:pt x="2286" y="3826"/>
                      </a:lnTo>
                      <a:lnTo>
                        <a:pt x="1420" y="3826"/>
                      </a:lnTo>
                      <a:lnTo>
                        <a:pt x="1757" y="3069"/>
                      </a:lnTo>
                      <a:lnTo>
                        <a:pt x="669" y="496"/>
                      </a:lnTo>
                      <a:lnTo>
                        <a:pt x="387" y="378"/>
                      </a:lnTo>
                      <a:lnTo>
                        <a:pt x="379" y="387"/>
                      </a:lnTo>
                      <a:lnTo>
                        <a:pt x="368" y="395"/>
                      </a:lnTo>
                      <a:lnTo>
                        <a:pt x="357" y="401"/>
                      </a:lnTo>
                      <a:lnTo>
                        <a:pt x="346" y="408"/>
                      </a:lnTo>
                      <a:lnTo>
                        <a:pt x="334" y="412"/>
                      </a:lnTo>
                      <a:lnTo>
                        <a:pt x="321" y="416"/>
                      </a:lnTo>
                      <a:lnTo>
                        <a:pt x="309" y="419"/>
                      </a:lnTo>
                      <a:lnTo>
                        <a:pt x="294" y="419"/>
                      </a:lnTo>
                      <a:lnTo>
                        <a:pt x="124" y="419"/>
                      </a:lnTo>
                      <a:lnTo>
                        <a:pt x="112" y="419"/>
                      </a:lnTo>
                      <a:lnTo>
                        <a:pt x="99" y="417"/>
                      </a:lnTo>
                      <a:lnTo>
                        <a:pt x="88" y="414"/>
                      </a:lnTo>
                      <a:lnTo>
                        <a:pt x="76" y="409"/>
                      </a:lnTo>
                      <a:lnTo>
                        <a:pt x="65" y="405"/>
                      </a:lnTo>
                      <a:lnTo>
                        <a:pt x="55" y="398"/>
                      </a:lnTo>
                      <a:lnTo>
                        <a:pt x="46" y="390"/>
                      </a:lnTo>
                      <a:lnTo>
                        <a:pt x="36" y="382"/>
                      </a:lnTo>
                      <a:lnTo>
                        <a:pt x="28" y="373"/>
                      </a:lnTo>
                      <a:lnTo>
                        <a:pt x="20" y="364"/>
                      </a:lnTo>
                      <a:lnTo>
                        <a:pt x="14" y="354"/>
                      </a:lnTo>
                      <a:lnTo>
                        <a:pt x="9" y="343"/>
                      </a:lnTo>
                      <a:lnTo>
                        <a:pt x="5" y="332"/>
                      </a:lnTo>
                      <a:lnTo>
                        <a:pt x="2" y="320"/>
                      </a:lnTo>
                      <a:lnTo>
                        <a:pt x="0" y="307"/>
                      </a:lnTo>
                      <a:lnTo>
                        <a:pt x="0" y="294"/>
                      </a:lnTo>
                      <a:lnTo>
                        <a:pt x="0" y="124"/>
                      </a:lnTo>
                      <a:lnTo>
                        <a:pt x="0" y="112"/>
                      </a:lnTo>
                      <a:lnTo>
                        <a:pt x="2" y="99"/>
                      </a:lnTo>
                      <a:lnTo>
                        <a:pt x="5" y="87"/>
                      </a:lnTo>
                      <a:lnTo>
                        <a:pt x="9" y="76"/>
                      </a:lnTo>
                      <a:lnTo>
                        <a:pt x="14" y="65"/>
                      </a:lnTo>
                      <a:lnTo>
                        <a:pt x="20" y="55"/>
                      </a:lnTo>
                      <a:lnTo>
                        <a:pt x="28" y="44"/>
                      </a:lnTo>
                      <a:lnTo>
                        <a:pt x="36" y="36"/>
                      </a:lnTo>
                      <a:lnTo>
                        <a:pt x="46" y="28"/>
                      </a:lnTo>
                      <a:lnTo>
                        <a:pt x="55" y="20"/>
                      </a:lnTo>
                      <a:lnTo>
                        <a:pt x="65" y="14"/>
                      </a:lnTo>
                      <a:lnTo>
                        <a:pt x="76" y="9"/>
                      </a:lnTo>
                      <a:lnTo>
                        <a:pt x="88" y="5"/>
                      </a:lnTo>
                      <a:lnTo>
                        <a:pt x="99" y="2"/>
                      </a:lnTo>
                      <a:lnTo>
                        <a:pt x="112" y="0"/>
                      </a:lnTo>
                      <a:lnTo>
                        <a:pt x="124" y="0"/>
                      </a:lnTo>
                      <a:lnTo>
                        <a:pt x="294" y="0"/>
                      </a:lnTo>
                      <a:lnTo>
                        <a:pt x="307" y="0"/>
                      </a:lnTo>
                      <a:lnTo>
                        <a:pt x="320" y="2"/>
                      </a:lnTo>
                      <a:lnTo>
                        <a:pt x="331" y="5"/>
                      </a:lnTo>
                      <a:lnTo>
                        <a:pt x="342" y="8"/>
                      </a:lnTo>
                      <a:lnTo>
                        <a:pt x="353" y="13"/>
                      </a:lnTo>
                      <a:lnTo>
                        <a:pt x="362" y="19"/>
                      </a:lnTo>
                      <a:lnTo>
                        <a:pt x="371" y="27"/>
                      </a:lnTo>
                      <a:lnTo>
                        <a:pt x="381" y="33"/>
                      </a:lnTo>
                      <a:lnTo>
                        <a:pt x="389" y="42"/>
                      </a:lnTo>
                      <a:lnTo>
                        <a:pt x="395" y="50"/>
                      </a:lnTo>
                      <a:lnTo>
                        <a:pt x="403" y="61"/>
                      </a:lnTo>
                      <a:lnTo>
                        <a:pt x="408" y="71"/>
                      </a:lnTo>
                      <a:lnTo>
                        <a:pt x="412" y="82"/>
                      </a:lnTo>
                      <a:lnTo>
                        <a:pt x="416" y="93"/>
                      </a:lnTo>
                      <a:lnTo>
                        <a:pt x="419" y="105"/>
                      </a:lnTo>
                      <a:lnTo>
                        <a:pt x="419" y="118"/>
                      </a:lnTo>
                      <a:lnTo>
                        <a:pt x="861" y="304"/>
                      </a:lnTo>
                      <a:lnTo>
                        <a:pt x="2031" y="3072"/>
                      </a:lnTo>
                      <a:lnTo>
                        <a:pt x="1807" y="3575"/>
                      </a:lnTo>
                      <a:lnTo>
                        <a:pt x="5187" y="3575"/>
                      </a:lnTo>
                      <a:lnTo>
                        <a:pt x="5187" y="3826"/>
                      </a:lnTo>
                      <a:lnTo>
                        <a:pt x="4688" y="3826"/>
                      </a:lnTo>
                      <a:lnTo>
                        <a:pt x="4688" y="3974"/>
                      </a:lnTo>
                      <a:lnTo>
                        <a:pt x="4722" y="3982"/>
                      </a:lnTo>
                      <a:lnTo>
                        <a:pt x="4757" y="3992"/>
                      </a:lnTo>
                      <a:lnTo>
                        <a:pt x="4788" y="4004"/>
                      </a:lnTo>
                      <a:lnTo>
                        <a:pt x="4820" y="4020"/>
                      </a:lnTo>
                      <a:lnTo>
                        <a:pt x="4850" y="4039"/>
                      </a:lnTo>
                      <a:lnTo>
                        <a:pt x="4876" y="4059"/>
                      </a:lnTo>
                      <a:lnTo>
                        <a:pt x="4902" y="4083"/>
                      </a:lnTo>
                      <a:lnTo>
                        <a:pt x="4925" y="4108"/>
                      </a:lnTo>
                      <a:lnTo>
                        <a:pt x="4947" y="4135"/>
                      </a:lnTo>
                      <a:lnTo>
                        <a:pt x="4966" y="4163"/>
                      </a:lnTo>
                      <a:lnTo>
                        <a:pt x="4982" y="4195"/>
                      </a:lnTo>
                      <a:lnTo>
                        <a:pt x="4996" y="4226"/>
                      </a:lnTo>
                      <a:lnTo>
                        <a:pt x="5007" y="4259"/>
                      </a:lnTo>
                      <a:lnTo>
                        <a:pt x="5015" y="4294"/>
                      </a:lnTo>
                      <a:lnTo>
                        <a:pt x="5020" y="4330"/>
                      </a:lnTo>
                      <a:lnTo>
                        <a:pt x="5021" y="4366"/>
                      </a:lnTo>
                      <a:lnTo>
                        <a:pt x="5021" y="4387"/>
                      </a:lnTo>
                      <a:lnTo>
                        <a:pt x="5020" y="4407"/>
                      </a:lnTo>
                      <a:lnTo>
                        <a:pt x="5017" y="4428"/>
                      </a:lnTo>
                      <a:lnTo>
                        <a:pt x="5013" y="4447"/>
                      </a:lnTo>
                      <a:lnTo>
                        <a:pt x="5009" y="4466"/>
                      </a:lnTo>
                      <a:lnTo>
                        <a:pt x="5004" y="4484"/>
                      </a:lnTo>
                      <a:lnTo>
                        <a:pt x="4998" y="4503"/>
                      </a:lnTo>
                      <a:lnTo>
                        <a:pt x="4991" y="4521"/>
                      </a:lnTo>
                      <a:lnTo>
                        <a:pt x="4974" y="4555"/>
                      </a:lnTo>
                      <a:lnTo>
                        <a:pt x="4954" y="4588"/>
                      </a:lnTo>
                      <a:lnTo>
                        <a:pt x="4932" y="4620"/>
                      </a:lnTo>
                      <a:lnTo>
                        <a:pt x="4906" y="4647"/>
                      </a:lnTo>
                      <a:lnTo>
                        <a:pt x="4878" y="4673"/>
                      </a:lnTo>
                      <a:lnTo>
                        <a:pt x="4847" y="4695"/>
                      </a:lnTo>
                      <a:lnTo>
                        <a:pt x="4813" y="4716"/>
                      </a:lnTo>
                      <a:lnTo>
                        <a:pt x="4779" y="4732"/>
                      </a:lnTo>
                      <a:lnTo>
                        <a:pt x="4762" y="4739"/>
                      </a:lnTo>
                      <a:lnTo>
                        <a:pt x="4743" y="4746"/>
                      </a:lnTo>
                      <a:lnTo>
                        <a:pt x="4724" y="4750"/>
                      </a:lnTo>
                      <a:lnTo>
                        <a:pt x="4705" y="4755"/>
                      </a:lnTo>
                      <a:lnTo>
                        <a:pt x="4686" y="4758"/>
                      </a:lnTo>
                      <a:lnTo>
                        <a:pt x="4666" y="4761"/>
                      </a:lnTo>
                      <a:lnTo>
                        <a:pt x="4645" y="4763"/>
                      </a:lnTo>
                      <a:lnTo>
                        <a:pt x="4625" y="4763"/>
                      </a:lnTo>
                      <a:lnTo>
                        <a:pt x="4604" y="4763"/>
                      </a:lnTo>
                      <a:lnTo>
                        <a:pt x="4584" y="4761"/>
                      </a:lnTo>
                      <a:lnTo>
                        <a:pt x="4565" y="4758"/>
                      </a:lnTo>
                      <a:lnTo>
                        <a:pt x="4544" y="4755"/>
                      </a:lnTo>
                      <a:lnTo>
                        <a:pt x="4525" y="4750"/>
                      </a:lnTo>
                      <a:lnTo>
                        <a:pt x="4507" y="4746"/>
                      </a:lnTo>
                      <a:lnTo>
                        <a:pt x="4489" y="4739"/>
                      </a:lnTo>
                      <a:lnTo>
                        <a:pt x="4470" y="4732"/>
                      </a:lnTo>
                      <a:lnTo>
                        <a:pt x="4436" y="4716"/>
                      </a:lnTo>
                      <a:lnTo>
                        <a:pt x="4403" y="4695"/>
                      </a:lnTo>
                      <a:lnTo>
                        <a:pt x="4373" y="4673"/>
                      </a:lnTo>
                      <a:lnTo>
                        <a:pt x="4344" y="4647"/>
                      </a:lnTo>
                      <a:lnTo>
                        <a:pt x="4319" y="4620"/>
                      </a:lnTo>
                      <a:lnTo>
                        <a:pt x="4296" y="4588"/>
                      </a:lnTo>
                      <a:lnTo>
                        <a:pt x="4275" y="4555"/>
                      </a:lnTo>
                      <a:lnTo>
                        <a:pt x="4259" y="4521"/>
                      </a:lnTo>
                      <a:lnTo>
                        <a:pt x="4252" y="4503"/>
                      </a:lnTo>
                      <a:lnTo>
                        <a:pt x="4245" y="4484"/>
                      </a:lnTo>
                      <a:lnTo>
                        <a:pt x="4241" y="4466"/>
                      </a:lnTo>
                      <a:lnTo>
                        <a:pt x="4236" y="4447"/>
                      </a:lnTo>
                      <a:lnTo>
                        <a:pt x="4233" y="4428"/>
                      </a:lnTo>
                      <a:lnTo>
                        <a:pt x="4230" y="4407"/>
                      </a:lnTo>
                      <a:lnTo>
                        <a:pt x="4228" y="4387"/>
                      </a:lnTo>
                      <a:lnTo>
                        <a:pt x="4228" y="4366"/>
                      </a:lnTo>
                      <a:lnTo>
                        <a:pt x="4230" y="4330"/>
                      </a:lnTo>
                      <a:lnTo>
                        <a:pt x="4234" y="4294"/>
                      </a:lnTo>
                      <a:lnTo>
                        <a:pt x="4242" y="4259"/>
                      </a:lnTo>
                      <a:lnTo>
                        <a:pt x="4253" y="4226"/>
                      </a:lnTo>
                      <a:lnTo>
                        <a:pt x="4267" y="4195"/>
                      </a:lnTo>
                      <a:lnTo>
                        <a:pt x="4283" y="4163"/>
                      </a:lnTo>
                      <a:lnTo>
                        <a:pt x="4302" y="4135"/>
                      </a:lnTo>
                      <a:lnTo>
                        <a:pt x="4324" y="4108"/>
                      </a:lnTo>
                      <a:lnTo>
                        <a:pt x="4348" y="4083"/>
                      </a:lnTo>
                      <a:lnTo>
                        <a:pt x="4373" y="4059"/>
                      </a:lnTo>
                      <a:lnTo>
                        <a:pt x="4401" y="4039"/>
                      </a:lnTo>
                      <a:lnTo>
                        <a:pt x="4429" y="4020"/>
                      </a:lnTo>
                      <a:lnTo>
                        <a:pt x="4461" y="4004"/>
                      </a:lnTo>
                      <a:lnTo>
                        <a:pt x="4494" y="3992"/>
                      </a:lnTo>
                      <a:lnTo>
                        <a:pt x="4527" y="3982"/>
                      </a:lnTo>
                      <a:lnTo>
                        <a:pt x="4562" y="3974"/>
                      </a:lnTo>
                      <a:lnTo>
                        <a:pt x="4562" y="3826"/>
                      </a:lnTo>
                      <a:lnTo>
                        <a:pt x="2411" y="3826"/>
                      </a:lnTo>
                      <a:lnTo>
                        <a:pt x="2411" y="3974"/>
                      </a:lnTo>
                      <a:lnTo>
                        <a:pt x="2448" y="3982"/>
                      </a:lnTo>
                      <a:lnTo>
                        <a:pt x="2481" y="3992"/>
                      </a:lnTo>
                      <a:lnTo>
                        <a:pt x="2514" y="4004"/>
                      </a:lnTo>
                      <a:lnTo>
                        <a:pt x="2544" y="4020"/>
                      </a:lnTo>
                      <a:lnTo>
                        <a:pt x="2574" y="4039"/>
                      </a:lnTo>
                      <a:lnTo>
                        <a:pt x="2600" y="4059"/>
                      </a:lnTo>
                      <a:lnTo>
                        <a:pt x="2627" y="4083"/>
                      </a:lnTo>
                      <a:lnTo>
                        <a:pt x="2651" y="4108"/>
                      </a:lnTo>
                      <a:lnTo>
                        <a:pt x="2671" y="4135"/>
                      </a:lnTo>
                      <a:lnTo>
                        <a:pt x="2690" y="4163"/>
                      </a:lnTo>
                      <a:lnTo>
                        <a:pt x="2707" y="4195"/>
                      </a:lnTo>
                      <a:lnTo>
                        <a:pt x="2720" y="4226"/>
                      </a:lnTo>
                      <a:lnTo>
                        <a:pt x="2731" y="4259"/>
                      </a:lnTo>
                      <a:lnTo>
                        <a:pt x="2739" y="4294"/>
                      </a:lnTo>
                      <a:lnTo>
                        <a:pt x="2745" y="4330"/>
                      </a:lnTo>
                      <a:lnTo>
                        <a:pt x="2747" y="4366"/>
                      </a:lnTo>
                      <a:lnTo>
                        <a:pt x="2745" y="4387"/>
                      </a:lnTo>
                      <a:lnTo>
                        <a:pt x="2744" y="4407"/>
                      </a:lnTo>
                      <a:lnTo>
                        <a:pt x="2742" y="4428"/>
                      </a:lnTo>
                      <a:lnTo>
                        <a:pt x="2737" y="4447"/>
                      </a:lnTo>
                      <a:lnTo>
                        <a:pt x="2734" y="4466"/>
                      </a:lnTo>
                      <a:lnTo>
                        <a:pt x="2728" y="4484"/>
                      </a:lnTo>
                      <a:lnTo>
                        <a:pt x="2722" y="4503"/>
                      </a:lnTo>
                      <a:lnTo>
                        <a:pt x="2715" y="4521"/>
                      </a:lnTo>
                      <a:lnTo>
                        <a:pt x="2698" y="4555"/>
                      </a:lnTo>
                      <a:lnTo>
                        <a:pt x="2679" y="4588"/>
                      </a:lnTo>
                      <a:lnTo>
                        <a:pt x="2655" y="4620"/>
                      </a:lnTo>
                      <a:lnTo>
                        <a:pt x="2630" y="4647"/>
                      </a:lnTo>
                      <a:lnTo>
                        <a:pt x="2602" y="4673"/>
                      </a:lnTo>
                      <a:lnTo>
                        <a:pt x="2570" y="4695"/>
                      </a:lnTo>
                      <a:lnTo>
                        <a:pt x="2539" y="4716"/>
                      </a:lnTo>
                      <a:lnTo>
                        <a:pt x="2504" y="4732"/>
                      </a:lnTo>
                      <a:lnTo>
                        <a:pt x="2485" y="4739"/>
                      </a:lnTo>
                      <a:lnTo>
                        <a:pt x="2467" y="4746"/>
                      </a:lnTo>
                      <a:lnTo>
                        <a:pt x="2448" y="4750"/>
                      </a:lnTo>
                      <a:lnTo>
                        <a:pt x="2429" y="4755"/>
                      </a:lnTo>
                      <a:lnTo>
                        <a:pt x="2410" y="4758"/>
                      </a:lnTo>
                      <a:lnTo>
                        <a:pt x="2389" y="4761"/>
                      </a:lnTo>
                      <a:lnTo>
                        <a:pt x="2369" y="4763"/>
                      </a:lnTo>
                      <a:lnTo>
                        <a:pt x="2349" y="4763"/>
                      </a:lnTo>
                      <a:lnTo>
                        <a:pt x="2328" y="4763"/>
                      </a:lnTo>
                      <a:lnTo>
                        <a:pt x="2309" y="4761"/>
                      </a:lnTo>
                      <a:lnTo>
                        <a:pt x="2289" y="4758"/>
                      </a:lnTo>
                      <a:lnTo>
                        <a:pt x="2270" y="4755"/>
                      </a:lnTo>
                      <a:lnTo>
                        <a:pt x="2249" y="4750"/>
                      </a:lnTo>
                      <a:lnTo>
                        <a:pt x="2230" y="4746"/>
                      </a:lnTo>
                      <a:lnTo>
                        <a:pt x="2213" y="4739"/>
                      </a:lnTo>
                      <a:lnTo>
                        <a:pt x="2194" y="4732"/>
                      </a:lnTo>
                      <a:lnTo>
                        <a:pt x="2160" y="4716"/>
                      </a:lnTo>
                      <a:lnTo>
                        <a:pt x="2127" y="4695"/>
                      </a:lnTo>
                      <a:lnTo>
                        <a:pt x="2097" y="4673"/>
                      </a:lnTo>
                      <a:lnTo>
                        <a:pt x="2068" y="4647"/>
                      </a:lnTo>
                      <a:lnTo>
                        <a:pt x="2043" y="4620"/>
                      </a:lnTo>
                      <a:lnTo>
                        <a:pt x="2020" y="4588"/>
                      </a:lnTo>
                      <a:lnTo>
                        <a:pt x="2001" y="4555"/>
                      </a:lnTo>
                      <a:lnTo>
                        <a:pt x="1983" y="4521"/>
                      </a:lnTo>
                      <a:lnTo>
                        <a:pt x="1977" y="4503"/>
                      </a:lnTo>
                      <a:lnTo>
                        <a:pt x="1971" y="4484"/>
                      </a:lnTo>
                      <a:lnTo>
                        <a:pt x="1964" y="4466"/>
                      </a:lnTo>
                      <a:lnTo>
                        <a:pt x="1960" y="4447"/>
                      </a:lnTo>
                      <a:lnTo>
                        <a:pt x="1957" y="4428"/>
                      </a:lnTo>
                      <a:lnTo>
                        <a:pt x="1955" y="4407"/>
                      </a:lnTo>
                      <a:lnTo>
                        <a:pt x="1953" y="4387"/>
                      </a:lnTo>
                      <a:lnTo>
                        <a:pt x="1952" y="4366"/>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sp>
              <p:nvSpPr>
                <p:cNvPr id="187" name="Freeform 53"/>
                <p:cNvSpPr>
                  <a:spLocks noChangeAspect="1" noEditPoints="1"/>
                </p:cNvSpPr>
                <p:nvPr/>
              </p:nvSpPr>
              <p:spPr bwMode="auto">
                <a:xfrm>
                  <a:off x="10181969" y="3984563"/>
                  <a:ext cx="178989" cy="234061"/>
                </a:xfrm>
                <a:custGeom>
                  <a:avLst/>
                  <a:gdLst>
                    <a:gd name="T0" fmla="*/ 998 w 1950"/>
                    <a:gd name="T1" fmla="*/ 750 h 2550"/>
                    <a:gd name="T2" fmla="*/ 923 w 1950"/>
                    <a:gd name="T3" fmla="*/ 377 h 2550"/>
                    <a:gd name="T4" fmla="*/ 1033 w 1950"/>
                    <a:gd name="T5" fmla="*/ 392 h 2550"/>
                    <a:gd name="T6" fmla="*/ 1178 w 1950"/>
                    <a:gd name="T7" fmla="*/ 371 h 2550"/>
                    <a:gd name="T8" fmla="*/ 1175 w 1950"/>
                    <a:gd name="T9" fmla="*/ 136 h 2550"/>
                    <a:gd name="T10" fmla="*/ 1054 w 1950"/>
                    <a:gd name="T11" fmla="*/ 8 h 2550"/>
                    <a:gd name="T12" fmla="*/ 857 w 1950"/>
                    <a:gd name="T13" fmla="*/ 56 h 2550"/>
                    <a:gd name="T14" fmla="*/ 805 w 1950"/>
                    <a:gd name="T15" fmla="*/ 335 h 2550"/>
                    <a:gd name="T16" fmla="*/ 881 w 1950"/>
                    <a:gd name="T17" fmla="*/ 209 h 2550"/>
                    <a:gd name="T18" fmla="*/ 961 w 1950"/>
                    <a:gd name="T19" fmla="*/ 197 h 2550"/>
                    <a:gd name="T20" fmla="*/ 1107 w 1950"/>
                    <a:gd name="T21" fmla="*/ 198 h 2550"/>
                    <a:gd name="T22" fmla="*/ 1066 w 1950"/>
                    <a:gd name="T23" fmla="*/ 341 h 2550"/>
                    <a:gd name="T24" fmla="*/ 951 w 1950"/>
                    <a:gd name="T25" fmla="*/ 360 h 2550"/>
                    <a:gd name="T26" fmla="*/ 881 w 1950"/>
                    <a:gd name="T27" fmla="*/ 243 h 2550"/>
                    <a:gd name="T28" fmla="*/ 360 w 1950"/>
                    <a:gd name="T29" fmla="*/ 472 h 2550"/>
                    <a:gd name="T30" fmla="*/ 501 w 1950"/>
                    <a:gd name="T31" fmla="*/ 492 h 2550"/>
                    <a:gd name="T32" fmla="*/ 591 w 1950"/>
                    <a:gd name="T33" fmla="*/ 356 h 2550"/>
                    <a:gd name="T34" fmla="*/ 540 w 1950"/>
                    <a:gd name="T35" fmla="*/ 144 h 2550"/>
                    <a:gd name="T36" fmla="*/ 405 w 1950"/>
                    <a:gd name="T37" fmla="*/ 126 h 2550"/>
                    <a:gd name="T38" fmla="*/ 267 w 1950"/>
                    <a:gd name="T39" fmla="*/ 229 h 2550"/>
                    <a:gd name="T40" fmla="*/ 404 w 1950"/>
                    <a:gd name="T41" fmla="*/ 289 h 2550"/>
                    <a:gd name="T42" fmla="*/ 552 w 1950"/>
                    <a:gd name="T43" fmla="*/ 257 h 2550"/>
                    <a:gd name="T44" fmla="*/ 534 w 1950"/>
                    <a:gd name="T45" fmla="*/ 428 h 2550"/>
                    <a:gd name="T46" fmla="*/ 424 w 1950"/>
                    <a:gd name="T47" fmla="*/ 472 h 2550"/>
                    <a:gd name="T48" fmla="*/ 334 w 1950"/>
                    <a:gd name="T49" fmla="*/ 371 h 2550"/>
                    <a:gd name="T50" fmla="*/ 447 w 1950"/>
                    <a:gd name="T51" fmla="*/ 567 h 2550"/>
                    <a:gd name="T52" fmla="*/ 100 w 1950"/>
                    <a:gd name="T53" fmla="*/ 1431 h 2550"/>
                    <a:gd name="T54" fmla="*/ 136 w 1950"/>
                    <a:gd name="T55" fmla="*/ 1435 h 2550"/>
                    <a:gd name="T56" fmla="*/ 119 w 1950"/>
                    <a:gd name="T57" fmla="*/ 1403 h 2550"/>
                    <a:gd name="T58" fmla="*/ 1913 w 1950"/>
                    <a:gd name="T59" fmla="*/ 1333 h 2550"/>
                    <a:gd name="T60" fmla="*/ 1599 w 1950"/>
                    <a:gd name="T61" fmla="*/ 815 h 2550"/>
                    <a:gd name="T62" fmla="*/ 1548 w 1950"/>
                    <a:gd name="T63" fmla="*/ 835 h 2550"/>
                    <a:gd name="T64" fmla="*/ 1359 w 1950"/>
                    <a:gd name="T65" fmla="*/ 558 h 2550"/>
                    <a:gd name="T66" fmla="*/ 1231 w 1950"/>
                    <a:gd name="T67" fmla="*/ 456 h 2550"/>
                    <a:gd name="T68" fmla="*/ 817 w 1950"/>
                    <a:gd name="T69" fmla="*/ 537 h 2550"/>
                    <a:gd name="T70" fmla="*/ 676 w 1950"/>
                    <a:gd name="T71" fmla="*/ 504 h 2550"/>
                    <a:gd name="T72" fmla="*/ 744 w 1950"/>
                    <a:gd name="T73" fmla="*/ 1355 h 2550"/>
                    <a:gd name="T74" fmla="*/ 87 w 1950"/>
                    <a:gd name="T75" fmla="*/ 725 h 2550"/>
                    <a:gd name="T76" fmla="*/ 106 w 1950"/>
                    <a:gd name="T77" fmla="*/ 622 h 2550"/>
                    <a:gd name="T78" fmla="*/ 60 w 1950"/>
                    <a:gd name="T79" fmla="*/ 1535 h 2550"/>
                    <a:gd name="T80" fmla="*/ 846 w 1950"/>
                    <a:gd name="T81" fmla="*/ 2024 h 2550"/>
                    <a:gd name="T82" fmla="*/ 1403 w 1950"/>
                    <a:gd name="T83" fmla="*/ 2059 h 2550"/>
                    <a:gd name="T84" fmla="*/ 186 w 1950"/>
                    <a:gd name="T85" fmla="*/ 1505 h 2550"/>
                    <a:gd name="T86" fmla="*/ 1714 w 1950"/>
                    <a:gd name="T87" fmla="*/ 905 h 2550"/>
                    <a:gd name="T88" fmla="*/ 1366 w 1950"/>
                    <a:gd name="T89" fmla="*/ 1202 h 2550"/>
                    <a:gd name="T90" fmla="*/ 1563 w 1950"/>
                    <a:gd name="T91" fmla="*/ 871 h 2550"/>
                    <a:gd name="T92" fmla="*/ 1785 w 1950"/>
                    <a:gd name="T93" fmla="*/ 689 h 2550"/>
                    <a:gd name="T94" fmla="*/ 1854 w 1950"/>
                    <a:gd name="T95" fmla="*/ 1323 h 2550"/>
                    <a:gd name="T96" fmla="*/ 1526 w 1950"/>
                    <a:gd name="T97" fmla="*/ 539 h 2550"/>
                    <a:gd name="T98" fmla="*/ 1669 w 1950"/>
                    <a:gd name="T99" fmla="*/ 533 h 2550"/>
                    <a:gd name="T100" fmla="*/ 1722 w 1950"/>
                    <a:gd name="T101" fmla="*/ 469 h 2550"/>
                    <a:gd name="T102" fmla="*/ 1711 w 1950"/>
                    <a:gd name="T103" fmla="*/ 380 h 2550"/>
                    <a:gd name="T104" fmla="*/ 1646 w 1950"/>
                    <a:gd name="T105" fmla="*/ 195 h 2550"/>
                    <a:gd name="T106" fmla="*/ 1488 w 1950"/>
                    <a:gd name="T107" fmla="*/ 186 h 2550"/>
                    <a:gd name="T108" fmla="*/ 1410 w 1950"/>
                    <a:gd name="T109" fmla="*/ 380 h 2550"/>
                    <a:gd name="T110" fmla="*/ 1410 w 1950"/>
                    <a:gd name="T111" fmla="*/ 468 h 2550"/>
                    <a:gd name="T112" fmla="*/ 1453 w 1950"/>
                    <a:gd name="T113" fmla="*/ 533 h 2550"/>
                    <a:gd name="T114" fmla="*/ 1529 w 1950"/>
                    <a:gd name="T115" fmla="*/ 334 h 2550"/>
                    <a:gd name="T116" fmla="*/ 1625 w 1950"/>
                    <a:gd name="T117" fmla="*/ 255 h 2550"/>
                    <a:gd name="T118" fmla="*/ 1665 w 1950"/>
                    <a:gd name="T119" fmla="*/ 406 h 2550"/>
                    <a:gd name="T120" fmla="*/ 1591 w 1950"/>
                    <a:gd name="T121" fmla="*/ 508 h 2550"/>
                    <a:gd name="T122" fmla="*/ 1486 w 1950"/>
                    <a:gd name="T123" fmla="*/ 479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0" h="2550">
                      <a:moveTo>
                        <a:pt x="1157" y="444"/>
                      </a:moveTo>
                      <a:lnTo>
                        <a:pt x="1106" y="436"/>
                      </a:lnTo>
                      <a:lnTo>
                        <a:pt x="998" y="663"/>
                      </a:lnTo>
                      <a:lnTo>
                        <a:pt x="889" y="433"/>
                      </a:lnTo>
                      <a:lnTo>
                        <a:pt x="847" y="442"/>
                      </a:lnTo>
                      <a:lnTo>
                        <a:pt x="847" y="442"/>
                      </a:lnTo>
                      <a:lnTo>
                        <a:pt x="847" y="476"/>
                      </a:lnTo>
                      <a:lnTo>
                        <a:pt x="847" y="476"/>
                      </a:lnTo>
                      <a:lnTo>
                        <a:pt x="846" y="516"/>
                      </a:lnTo>
                      <a:lnTo>
                        <a:pt x="910" y="536"/>
                      </a:lnTo>
                      <a:lnTo>
                        <a:pt x="857" y="584"/>
                      </a:lnTo>
                      <a:lnTo>
                        <a:pt x="998" y="750"/>
                      </a:lnTo>
                      <a:lnTo>
                        <a:pt x="1147" y="584"/>
                      </a:lnTo>
                      <a:lnTo>
                        <a:pt x="1095" y="536"/>
                      </a:lnTo>
                      <a:lnTo>
                        <a:pt x="1158" y="516"/>
                      </a:lnTo>
                      <a:lnTo>
                        <a:pt x="1158" y="516"/>
                      </a:lnTo>
                      <a:lnTo>
                        <a:pt x="1157" y="444"/>
                      </a:lnTo>
                      <a:lnTo>
                        <a:pt x="1157" y="444"/>
                      </a:lnTo>
                      <a:close/>
                      <a:moveTo>
                        <a:pt x="877" y="380"/>
                      </a:moveTo>
                      <a:lnTo>
                        <a:pt x="877" y="380"/>
                      </a:lnTo>
                      <a:lnTo>
                        <a:pt x="892" y="380"/>
                      </a:lnTo>
                      <a:lnTo>
                        <a:pt x="905" y="379"/>
                      </a:lnTo>
                      <a:lnTo>
                        <a:pt x="915" y="378"/>
                      </a:lnTo>
                      <a:lnTo>
                        <a:pt x="923" y="377"/>
                      </a:lnTo>
                      <a:lnTo>
                        <a:pt x="923" y="377"/>
                      </a:lnTo>
                      <a:lnTo>
                        <a:pt x="938" y="386"/>
                      </a:lnTo>
                      <a:lnTo>
                        <a:pt x="956" y="392"/>
                      </a:lnTo>
                      <a:lnTo>
                        <a:pt x="965" y="396"/>
                      </a:lnTo>
                      <a:lnTo>
                        <a:pt x="974" y="397"/>
                      </a:lnTo>
                      <a:lnTo>
                        <a:pt x="985" y="398"/>
                      </a:lnTo>
                      <a:lnTo>
                        <a:pt x="995" y="399"/>
                      </a:lnTo>
                      <a:lnTo>
                        <a:pt x="995" y="399"/>
                      </a:lnTo>
                      <a:lnTo>
                        <a:pt x="1005" y="398"/>
                      </a:lnTo>
                      <a:lnTo>
                        <a:pt x="1014" y="397"/>
                      </a:lnTo>
                      <a:lnTo>
                        <a:pt x="1024" y="395"/>
                      </a:lnTo>
                      <a:lnTo>
                        <a:pt x="1033" y="392"/>
                      </a:lnTo>
                      <a:lnTo>
                        <a:pt x="1042" y="389"/>
                      </a:lnTo>
                      <a:lnTo>
                        <a:pt x="1051" y="386"/>
                      </a:lnTo>
                      <a:lnTo>
                        <a:pt x="1068" y="376"/>
                      </a:lnTo>
                      <a:lnTo>
                        <a:pt x="1068" y="376"/>
                      </a:lnTo>
                      <a:lnTo>
                        <a:pt x="1097" y="378"/>
                      </a:lnTo>
                      <a:lnTo>
                        <a:pt x="1131" y="378"/>
                      </a:lnTo>
                      <a:lnTo>
                        <a:pt x="1147" y="378"/>
                      </a:lnTo>
                      <a:lnTo>
                        <a:pt x="1161" y="377"/>
                      </a:lnTo>
                      <a:lnTo>
                        <a:pt x="1171" y="374"/>
                      </a:lnTo>
                      <a:lnTo>
                        <a:pt x="1176" y="373"/>
                      </a:lnTo>
                      <a:lnTo>
                        <a:pt x="1178" y="371"/>
                      </a:lnTo>
                      <a:lnTo>
                        <a:pt x="1178" y="371"/>
                      </a:lnTo>
                      <a:lnTo>
                        <a:pt x="1181" y="368"/>
                      </a:lnTo>
                      <a:lnTo>
                        <a:pt x="1184" y="361"/>
                      </a:lnTo>
                      <a:lnTo>
                        <a:pt x="1186" y="352"/>
                      </a:lnTo>
                      <a:lnTo>
                        <a:pt x="1187" y="341"/>
                      </a:lnTo>
                      <a:lnTo>
                        <a:pt x="1189" y="314"/>
                      </a:lnTo>
                      <a:lnTo>
                        <a:pt x="1189" y="281"/>
                      </a:lnTo>
                      <a:lnTo>
                        <a:pt x="1188" y="246"/>
                      </a:lnTo>
                      <a:lnTo>
                        <a:pt x="1186" y="211"/>
                      </a:lnTo>
                      <a:lnTo>
                        <a:pt x="1183" y="178"/>
                      </a:lnTo>
                      <a:lnTo>
                        <a:pt x="1178" y="148"/>
                      </a:lnTo>
                      <a:lnTo>
                        <a:pt x="1178" y="148"/>
                      </a:lnTo>
                      <a:lnTo>
                        <a:pt x="1175" y="136"/>
                      </a:lnTo>
                      <a:lnTo>
                        <a:pt x="1171" y="123"/>
                      </a:lnTo>
                      <a:lnTo>
                        <a:pt x="1167" y="109"/>
                      </a:lnTo>
                      <a:lnTo>
                        <a:pt x="1162" y="96"/>
                      </a:lnTo>
                      <a:lnTo>
                        <a:pt x="1156" y="83"/>
                      </a:lnTo>
                      <a:lnTo>
                        <a:pt x="1148" y="71"/>
                      </a:lnTo>
                      <a:lnTo>
                        <a:pt x="1139" y="60"/>
                      </a:lnTo>
                      <a:lnTo>
                        <a:pt x="1129" y="48"/>
                      </a:lnTo>
                      <a:lnTo>
                        <a:pt x="1117" y="38"/>
                      </a:lnTo>
                      <a:lnTo>
                        <a:pt x="1104" y="28"/>
                      </a:lnTo>
                      <a:lnTo>
                        <a:pt x="1089" y="20"/>
                      </a:lnTo>
                      <a:lnTo>
                        <a:pt x="1073" y="13"/>
                      </a:lnTo>
                      <a:lnTo>
                        <a:pt x="1054" y="8"/>
                      </a:lnTo>
                      <a:lnTo>
                        <a:pt x="1035" y="3"/>
                      </a:lnTo>
                      <a:lnTo>
                        <a:pt x="1013" y="1"/>
                      </a:lnTo>
                      <a:lnTo>
                        <a:pt x="989" y="0"/>
                      </a:lnTo>
                      <a:lnTo>
                        <a:pt x="989" y="0"/>
                      </a:lnTo>
                      <a:lnTo>
                        <a:pt x="964" y="1"/>
                      </a:lnTo>
                      <a:lnTo>
                        <a:pt x="943" y="4"/>
                      </a:lnTo>
                      <a:lnTo>
                        <a:pt x="924" y="10"/>
                      </a:lnTo>
                      <a:lnTo>
                        <a:pt x="907" y="17"/>
                      </a:lnTo>
                      <a:lnTo>
                        <a:pt x="892" y="25"/>
                      </a:lnTo>
                      <a:lnTo>
                        <a:pt x="879" y="35"/>
                      </a:lnTo>
                      <a:lnTo>
                        <a:pt x="868" y="45"/>
                      </a:lnTo>
                      <a:lnTo>
                        <a:pt x="857" y="56"/>
                      </a:lnTo>
                      <a:lnTo>
                        <a:pt x="850" y="69"/>
                      </a:lnTo>
                      <a:lnTo>
                        <a:pt x="843" y="80"/>
                      </a:lnTo>
                      <a:lnTo>
                        <a:pt x="837" y="92"/>
                      </a:lnTo>
                      <a:lnTo>
                        <a:pt x="832" y="105"/>
                      </a:lnTo>
                      <a:lnTo>
                        <a:pt x="828" y="116"/>
                      </a:lnTo>
                      <a:lnTo>
                        <a:pt x="826" y="127"/>
                      </a:lnTo>
                      <a:lnTo>
                        <a:pt x="821" y="147"/>
                      </a:lnTo>
                      <a:lnTo>
                        <a:pt x="821" y="147"/>
                      </a:lnTo>
                      <a:lnTo>
                        <a:pt x="816" y="195"/>
                      </a:lnTo>
                      <a:lnTo>
                        <a:pt x="809" y="257"/>
                      </a:lnTo>
                      <a:lnTo>
                        <a:pt x="805" y="314"/>
                      </a:lnTo>
                      <a:lnTo>
                        <a:pt x="805" y="335"/>
                      </a:lnTo>
                      <a:lnTo>
                        <a:pt x="805" y="347"/>
                      </a:lnTo>
                      <a:lnTo>
                        <a:pt x="805" y="347"/>
                      </a:lnTo>
                      <a:lnTo>
                        <a:pt x="807" y="352"/>
                      </a:lnTo>
                      <a:lnTo>
                        <a:pt x="810" y="358"/>
                      </a:lnTo>
                      <a:lnTo>
                        <a:pt x="815" y="363"/>
                      </a:lnTo>
                      <a:lnTo>
                        <a:pt x="821" y="369"/>
                      </a:lnTo>
                      <a:lnTo>
                        <a:pt x="830" y="373"/>
                      </a:lnTo>
                      <a:lnTo>
                        <a:pt x="843" y="377"/>
                      </a:lnTo>
                      <a:lnTo>
                        <a:pt x="859" y="379"/>
                      </a:lnTo>
                      <a:lnTo>
                        <a:pt x="877" y="380"/>
                      </a:lnTo>
                      <a:lnTo>
                        <a:pt x="877" y="380"/>
                      </a:lnTo>
                      <a:close/>
                      <a:moveTo>
                        <a:pt x="881" y="209"/>
                      </a:moveTo>
                      <a:lnTo>
                        <a:pt x="881" y="209"/>
                      </a:lnTo>
                      <a:lnTo>
                        <a:pt x="882" y="191"/>
                      </a:lnTo>
                      <a:lnTo>
                        <a:pt x="886" y="174"/>
                      </a:lnTo>
                      <a:lnTo>
                        <a:pt x="886" y="174"/>
                      </a:lnTo>
                      <a:lnTo>
                        <a:pt x="890" y="180"/>
                      </a:lnTo>
                      <a:lnTo>
                        <a:pt x="895" y="184"/>
                      </a:lnTo>
                      <a:lnTo>
                        <a:pt x="901" y="189"/>
                      </a:lnTo>
                      <a:lnTo>
                        <a:pt x="910" y="192"/>
                      </a:lnTo>
                      <a:lnTo>
                        <a:pt x="920" y="196"/>
                      </a:lnTo>
                      <a:lnTo>
                        <a:pt x="932" y="197"/>
                      </a:lnTo>
                      <a:lnTo>
                        <a:pt x="945" y="198"/>
                      </a:lnTo>
                      <a:lnTo>
                        <a:pt x="961" y="197"/>
                      </a:lnTo>
                      <a:lnTo>
                        <a:pt x="961" y="197"/>
                      </a:lnTo>
                      <a:lnTo>
                        <a:pt x="979" y="193"/>
                      </a:lnTo>
                      <a:lnTo>
                        <a:pt x="994" y="189"/>
                      </a:lnTo>
                      <a:lnTo>
                        <a:pt x="1019" y="179"/>
                      </a:lnTo>
                      <a:lnTo>
                        <a:pt x="1034" y="174"/>
                      </a:lnTo>
                      <a:lnTo>
                        <a:pt x="1051" y="170"/>
                      </a:lnTo>
                      <a:lnTo>
                        <a:pt x="1073" y="168"/>
                      </a:lnTo>
                      <a:lnTo>
                        <a:pt x="1100" y="166"/>
                      </a:lnTo>
                      <a:lnTo>
                        <a:pt x="1100" y="166"/>
                      </a:lnTo>
                      <a:lnTo>
                        <a:pt x="1104" y="177"/>
                      </a:lnTo>
                      <a:lnTo>
                        <a:pt x="1106" y="187"/>
                      </a:lnTo>
                      <a:lnTo>
                        <a:pt x="1107" y="198"/>
                      </a:lnTo>
                      <a:lnTo>
                        <a:pt x="1108" y="209"/>
                      </a:lnTo>
                      <a:lnTo>
                        <a:pt x="1108" y="243"/>
                      </a:lnTo>
                      <a:lnTo>
                        <a:pt x="1108" y="243"/>
                      </a:lnTo>
                      <a:lnTo>
                        <a:pt x="1107" y="255"/>
                      </a:lnTo>
                      <a:lnTo>
                        <a:pt x="1106" y="269"/>
                      </a:lnTo>
                      <a:lnTo>
                        <a:pt x="1103" y="280"/>
                      </a:lnTo>
                      <a:lnTo>
                        <a:pt x="1099" y="292"/>
                      </a:lnTo>
                      <a:lnTo>
                        <a:pt x="1094" y="304"/>
                      </a:lnTo>
                      <a:lnTo>
                        <a:pt x="1088" y="314"/>
                      </a:lnTo>
                      <a:lnTo>
                        <a:pt x="1081" y="324"/>
                      </a:lnTo>
                      <a:lnTo>
                        <a:pt x="1075" y="333"/>
                      </a:lnTo>
                      <a:lnTo>
                        <a:pt x="1066" y="341"/>
                      </a:lnTo>
                      <a:lnTo>
                        <a:pt x="1058" y="347"/>
                      </a:lnTo>
                      <a:lnTo>
                        <a:pt x="1048" y="354"/>
                      </a:lnTo>
                      <a:lnTo>
                        <a:pt x="1037" y="360"/>
                      </a:lnTo>
                      <a:lnTo>
                        <a:pt x="1027" y="363"/>
                      </a:lnTo>
                      <a:lnTo>
                        <a:pt x="1017" y="367"/>
                      </a:lnTo>
                      <a:lnTo>
                        <a:pt x="1006" y="369"/>
                      </a:lnTo>
                      <a:lnTo>
                        <a:pt x="995" y="369"/>
                      </a:lnTo>
                      <a:lnTo>
                        <a:pt x="995" y="369"/>
                      </a:lnTo>
                      <a:lnTo>
                        <a:pt x="983" y="369"/>
                      </a:lnTo>
                      <a:lnTo>
                        <a:pt x="972" y="367"/>
                      </a:lnTo>
                      <a:lnTo>
                        <a:pt x="961" y="363"/>
                      </a:lnTo>
                      <a:lnTo>
                        <a:pt x="951" y="360"/>
                      </a:lnTo>
                      <a:lnTo>
                        <a:pt x="941" y="354"/>
                      </a:lnTo>
                      <a:lnTo>
                        <a:pt x="932" y="347"/>
                      </a:lnTo>
                      <a:lnTo>
                        <a:pt x="923" y="341"/>
                      </a:lnTo>
                      <a:lnTo>
                        <a:pt x="915" y="333"/>
                      </a:lnTo>
                      <a:lnTo>
                        <a:pt x="907" y="324"/>
                      </a:lnTo>
                      <a:lnTo>
                        <a:pt x="900" y="314"/>
                      </a:lnTo>
                      <a:lnTo>
                        <a:pt x="895" y="304"/>
                      </a:lnTo>
                      <a:lnTo>
                        <a:pt x="890" y="292"/>
                      </a:lnTo>
                      <a:lnTo>
                        <a:pt x="886" y="280"/>
                      </a:lnTo>
                      <a:lnTo>
                        <a:pt x="883" y="269"/>
                      </a:lnTo>
                      <a:lnTo>
                        <a:pt x="881" y="255"/>
                      </a:lnTo>
                      <a:lnTo>
                        <a:pt x="881" y="243"/>
                      </a:lnTo>
                      <a:lnTo>
                        <a:pt x="881" y="209"/>
                      </a:lnTo>
                      <a:close/>
                      <a:moveTo>
                        <a:pt x="304" y="362"/>
                      </a:moveTo>
                      <a:lnTo>
                        <a:pt x="304" y="362"/>
                      </a:lnTo>
                      <a:lnTo>
                        <a:pt x="306" y="377"/>
                      </a:lnTo>
                      <a:lnTo>
                        <a:pt x="309" y="391"/>
                      </a:lnTo>
                      <a:lnTo>
                        <a:pt x="314" y="405"/>
                      </a:lnTo>
                      <a:lnTo>
                        <a:pt x="320" y="418"/>
                      </a:lnTo>
                      <a:lnTo>
                        <a:pt x="325" y="431"/>
                      </a:lnTo>
                      <a:lnTo>
                        <a:pt x="333" y="442"/>
                      </a:lnTo>
                      <a:lnTo>
                        <a:pt x="341" y="453"/>
                      </a:lnTo>
                      <a:lnTo>
                        <a:pt x="350" y="463"/>
                      </a:lnTo>
                      <a:lnTo>
                        <a:pt x="360" y="472"/>
                      </a:lnTo>
                      <a:lnTo>
                        <a:pt x="370" y="480"/>
                      </a:lnTo>
                      <a:lnTo>
                        <a:pt x="381" y="487"/>
                      </a:lnTo>
                      <a:lnTo>
                        <a:pt x="394" y="494"/>
                      </a:lnTo>
                      <a:lnTo>
                        <a:pt x="406" y="498"/>
                      </a:lnTo>
                      <a:lnTo>
                        <a:pt x="420" y="501"/>
                      </a:lnTo>
                      <a:lnTo>
                        <a:pt x="433" y="504"/>
                      </a:lnTo>
                      <a:lnTo>
                        <a:pt x="447" y="505"/>
                      </a:lnTo>
                      <a:lnTo>
                        <a:pt x="447" y="505"/>
                      </a:lnTo>
                      <a:lnTo>
                        <a:pt x="461" y="504"/>
                      </a:lnTo>
                      <a:lnTo>
                        <a:pt x="475" y="501"/>
                      </a:lnTo>
                      <a:lnTo>
                        <a:pt x="488" y="498"/>
                      </a:lnTo>
                      <a:lnTo>
                        <a:pt x="501" y="492"/>
                      </a:lnTo>
                      <a:lnTo>
                        <a:pt x="513" y="487"/>
                      </a:lnTo>
                      <a:lnTo>
                        <a:pt x="524" y="479"/>
                      </a:lnTo>
                      <a:lnTo>
                        <a:pt x="536" y="470"/>
                      </a:lnTo>
                      <a:lnTo>
                        <a:pt x="546" y="461"/>
                      </a:lnTo>
                      <a:lnTo>
                        <a:pt x="555" y="451"/>
                      </a:lnTo>
                      <a:lnTo>
                        <a:pt x="563" y="440"/>
                      </a:lnTo>
                      <a:lnTo>
                        <a:pt x="570" y="427"/>
                      </a:lnTo>
                      <a:lnTo>
                        <a:pt x="576" y="414"/>
                      </a:lnTo>
                      <a:lnTo>
                        <a:pt x="582" y="400"/>
                      </a:lnTo>
                      <a:lnTo>
                        <a:pt x="585" y="387"/>
                      </a:lnTo>
                      <a:lnTo>
                        <a:pt x="588" y="372"/>
                      </a:lnTo>
                      <a:lnTo>
                        <a:pt x="591" y="356"/>
                      </a:lnTo>
                      <a:lnTo>
                        <a:pt x="612" y="254"/>
                      </a:lnTo>
                      <a:lnTo>
                        <a:pt x="612" y="254"/>
                      </a:lnTo>
                      <a:lnTo>
                        <a:pt x="613" y="238"/>
                      </a:lnTo>
                      <a:lnTo>
                        <a:pt x="613" y="221"/>
                      </a:lnTo>
                      <a:lnTo>
                        <a:pt x="610" y="207"/>
                      </a:lnTo>
                      <a:lnTo>
                        <a:pt x="605" y="192"/>
                      </a:lnTo>
                      <a:lnTo>
                        <a:pt x="600" y="180"/>
                      </a:lnTo>
                      <a:lnTo>
                        <a:pt x="592" y="170"/>
                      </a:lnTo>
                      <a:lnTo>
                        <a:pt x="583" y="161"/>
                      </a:lnTo>
                      <a:lnTo>
                        <a:pt x="577" y="159"/>
                      </a:lnTo>
                      <a:lnTo>
                        <a:pt x="573" y="156"/>
                      </a:lnTo>
                      <a:lnTo>
                        <a:pt x="540" y="144"/>
                      </a:lnTo>
                      <a:lnTo>
                        <a:pt x="532" y="126"/>
                      </a:lnTo>
                      <a:lnTo>
                        <a:pt x="532" y="126"/>
                      </a:lnTo>
                      <a:lnTo>
                        <a:pt x="530" y="123"/>
                      </a:lnTo>
                      <a:lnTo>
                        <a:pt x="525" y="119"/>
                      </a:lnTo>
                      <a:lnTo>
                        <a:pt x="520" y="117"/>
                      </a:lnTo>
                      <a:lnTo>
                        <a:pt x="514" y="115"/>
                      </a:lnTo>
                      <a:lnTo>
                        <a:pt x="506" y="112"/>
                      </a:lnTo>
                      <a:lnTo>
                        <a:pt x="497" y="112"/>
                      </a:lnTo>
                      <a:lnTo>
                        <a:pt x="477" y="112"/>
                      </a:lnTo>
                      <a:lnTo>
                        <a:pt x="455" y="115"/>
                      </a:lnTo>
                      <a:lnTo>
                        <a:pt x="431" y="119"/>
                      </a:lnTo>
                      <a:lnTo>
                        <a:pt x="405" y="126"/>
                      </a:lnTo>
                      <a:lnTo>
                        <a:pt x="379" y="134"/>
                      </a:lnTo>
                      <a:lnTo>
                        <a:pt x="354" y="145"/>
                      </a:lnTo>
                      <a:lnTo>
                        <a:pt x="332" y="156"/>
                      </a:lnTo>
                      <a:lnTo>
                        <a:pt x="321" y="163"/>
                      </a:lnTo>
                      <a:lnTo>
                        <a:pt x="311" y="170"/>
                      </a:lnTo>
                      <a:lnTo>
                        <a:pt x="300" y="178"/>
                      </a:lnTo>
                      <a:lnTo>
                        <a:pt x="293" y="186"/>
                      </a:lnTo>
                      <a:lnTo>
                        <a:pt x="285" y="193"/>
                      </a:lnTo>
                      <a:lnTo>
                        <a:pt x="279" y="202"/>
                      </a:lnTo>
                      <a:lnTo>
                        <a:pt x="273" y="210"/>
                      </a:lnTo>
                      <a:lnTo>
                        <a:pt x="270" y="219"/>
                      </a:lnTo>
                      <a:lnTo>
                        <a:pt x="267" y="229"/>
                      </a:lnTo>
                      <a:lnTo>
                        <a:pt x="267" y="238"/>
                      </a:lnTo>
                      <a:lnTo>
                        <a:pt x="267" y="248"/>
                      </a:lnTo>
                      <a:lnTo>
                        <a:pt x="270" y="259"/>
                      </a:lnTo>
                      <a:lnTo>
                        <a:pt x="304" y="362"/>
                      </a:lnTo>
                      <a:close/>
                      <a:moveTo>
                        <a:pt x="333" y="283"/>
                      </a:moveTo>
                      <a:lnTo>
                        <a:pt x="333" y="283"/>
                      </a:lnTo>
                      <a:lnTo>
                        <a:pt x="344" y="287"/>
                      </a:lnTo>
                      <a:lnTo>
                        <a:pt x="358" y="288"/>
                      </a:lnTo>
                      <a:lnTo>
                        <a:pt x="370" y="289"/>
                      </a:lnTo>
                      <a:lnTo>
                        <a:pt x="384" y="290"/>
                      </a:lnTo>
                      <a:lnTo>
                        <a:pt x="384" y="290"/>
                      </a:lnTo>
                      <a:lnTo>
                        <a:pt x="404" y="289"/>
                      </a:lnTo>
                      <a:lnTo>
                        <a:pt x="423" y="286"/>
                      </a:lnTo>
                      <a:lnTo>
                        <a:pt x="442" y="281"/>
                      </a:lnTo>
                      <a:lnTo>
                        <a:pt x="460" y="273"/>
                      </a:lnTo>
                      <a:lnTo>
                        <a:pt x="478" y="265"/>
                      </a:lnTo>
                      <a:lnTo>
                        <a:pt x="494" y="255"/>
                      </a:lnTo>
                      <a:lnTo>
                        <a:pt x="510" y="243"/>
                      </a:lnTo>
                      <a:lnTo>
                        <a:pt x="523" y="229"/>
                      </a:lnTo>
                      <a:lnTo>
                        <a:pt x="523" y="229"/>
                      </a:lnTo>
                      <a:lnTo>
                        <a:pt x="534" y="236"/>
                      </a:lnTo>
                      <a:lnTo>
                        <a:pt x="540" y="242"/>
                      </a:lnTo>
                      <a:lnTo>
                        <a:pt x="547" y="248"/>
                      </a:lnTo>
                      <a:lnTo>
                        <a:pt x="552" y="257"/>
                      </a:lnTo>
                      <a:lnTo>
                        <a:pt x="557" y="270"/>
                      </a:lnTo>
                      <a:lnTo>
                        <a:pt x="560" y="286"/>
                      </a:lnTo>
                      <a:lnTo>
                        <a:pt x="561" y="306"/>
                      </a:lnTo>
                      <a:lnTo>
                        <a:pt x="561" y="344"/>
                      </a:lnTo>
                      <a:lnTo>
                        <a:pt x="561" y="344"/>
                      </a:lnTo>
                      <a:lnTo>
                        <a:pt x="560" y="358"/>
                      </a:lnTo>
                      <a:lnTo>
                        <a:pt x="559" y="371"/>
                      </a:lnTo>
                      <a:lnTo>
                        <a:pt x="556" y="383"/>
                      </a:lnTo>
                      <a:lnTo>
                        <a:pt x="552" y="396"/>
                      </a:lnTo>
                      <a:lnTo>
                        <a:pt x="547" y="407"/>
                      </a:lnTo>
                      <a:lnTo>
                        <a:pt x="541" y="418"/>
                      </a:lnTo>
                      <a:lnTo>
                        <a:pt x="534" y="428"/>
                      </a:lnTo>
                      <a:lnTo>
                        <a:pt x="528" y="437"/>
                      </a:lnTo>
                      <a:lnTo>
                        <a:pt x="519" y="445"/>
                      </a:lnTo>
                      <a:lnTo>
                        <a:pt x="510" y="453"/>
                      </a:lnTo>
                      <a:lnTo>
                        <a:pt x="501" y="460"/>
                      </a:lnTo>
                      <a:lnTo>
                        <a:pt x="491" y="465"/>
                      </a:lnTo>
                      <a:lnTo>
                        <a:pt x="480" y="469"/>
                      </a:lnTo>
                      <a:lnTo>
                        <a:pt x="469" y="472"/>
                      </a:lnTo>
                      <a:lnTo>
                        <a:pt x="458" y="474"/>
                      </a:lnTo>
                      <a:lnTo>
                        <a:pt x="447" y="474"/>
                      </a:lnTo>
                      <a:lnTo>
                        <a:pt x="447" y="474"/>
                      </a:lnTo>
                      <a:lnTo>
                        <a:pt x="435" y="474"/>
                      </a:lnTo>
                      <a:lnTo>
                        <a:pt x="424" y="472"/>
                      </a:lnTo>
                      <a:lnTo>
                        <a:pt x="413" y="469"/>
                      </a:lnTo>
                      <a:lnTo>
                        <a:pt x="403" y="465"/>
                      </a:lnTo>
                      <a:lnTo>
                        <a:pt x="393" y="460"/>
                      </a:lnTo>
                      <a:lnTo>
                        <a:pt x="384" y="453"/>
                      </a:lnTo>
                      <a:lnTo>
                        <a:pt x="375" y="445"/>
                      </a:lnTo>
                      <a:lnTo>
                        <a:pt x="367" y="437"/>
                      </a:lnTo>
                      <a:lnTo>
                        <a:pt x="359" y="428"/>
                      </a:lnTo>
                      <a:lnTo>
                        <a:pt x="352" y="418"/>
                      </a:lnTo>
                      <a:lnTo>
                        <a:pt x="347" y="407"/>
                      </a:lnTo>
                      <a:lnTo>
                        <a:pt x="341" y="396"/>
                      </a:lnTo>
                      <a:lnTo>
                        <a:pt x="338" y="383"/>
                      </a:lnTo>
                      <a:lnTo>
                        <a:pt x="334" y="371"/>
                      </a:lnTo>
                      <a:lnTo>
                        <a:pt x="333" y="358"/>
                      </a:lnTo>
                      <a:lnTo>
                        <a:pt x="332" y="344"/>
                      </a:lnTo>
                      <a:lnTo>
                        <a:pt x="333" y="283"/>
                      </a:lnTo>
                      <a:close/>
                      <a:moveTo>
                        <a:pt x="447" y="1322"/>
                      </a:moveTo>
                      <a:lnTo>
                        <a:pt x="510" y="1249"/>
                      </a:lnTo>
                      <a:lnTo>
                        <a:pt x="471" y="642"/>
                      </a:lnTo>
                      <a:lnTo>
                        <a:pt x="471" y="642"/>
                      </a:lnTo>
                      <a:lnTo>
                        <a:pt x="479" y="635"/>
                      </a:lnTo>
                      <a:lnTo>
                        <a:pt x="486" y="627"/>
                      </a:lnTo>
                      <a:lnTo>
                        <a:pt x="491" y="618"/>
                      </a:lnTo>
                      <a:lnTo>
                        <a:pt x="493" y="608"/>
                      </a:lnTo>
                      <a:lnTo>
                        <a:pt x="447" y="567"/>
                      </a:lnTo>
                      <a:lnTo>
                        <a:pt x="401" y="608"/>
                      </a:lnTo>
                      <a:lnTo>
                        <a:pt x="401" y="608"/>
                      </a:lnTo>
                      <a:lnTo>
                        <a:pt x="403" y="618"/>
                      </a:lnTo>
                      <a:lnTo>
                        <a:pt x="408" y="627"/>
                      </a:lnTo>
                      <a:lnTo>
                        <a:pt x="414" y="635"/>
                      </a:lnTo>
                      <a:lnTo>
                        <a:pt x="422" y="642"/>
                      </a:lnTo>
                      <a:lnTo>
                        <a:pt x="384" y="1249"/>
                      </a:lnTo>
                      <a:lnTo>
                        <a:pt x="447" y="1322"/>
                      </a:lnTo>
                      <a:close/>
                      <a:moveTo>
                        <a:pt x="99" y="1423"/>
                      </a:moveTo>
                      <a:lnTo>
                        <a:pt x="99" y="1423"/>
                      </a:lnTo>
                      <a:lnTo>
                        <a:pt x="99" y="1427"/>
                      </a:lnTo>
                      <a:lnTo>
                        <a:pt x="100" y="1431"/>
                      </a:lnTo>
                      <a:lnTo>
                        <a:pt x="102" y="1435"/>
                      </a:lnTo>
                      <a:lnTo>
                        <a:pt x="105" y="1437"/>
                      </a:lnTo>
                      <a:lnTo>
                        <a:pt x="108" y="1439"/>
                      </a:lnTo>
                      <a:lnTo>
                        <a:pt x="111" y="1441"/>
                      </a:lnTo>
                      <a:lnTo>
                        <a:pt x="115" y="1443"/>
                      </a:lnTo>
                      <a:lnTo>
                        <a:pt x="119" y="1444"/>
                      </a:lnTo>
                      <a:lnTo>
                        <a:pt x="119" y="1444"/>
                      </a:lnTo>
                      <a:lnTo>
                        <a:pt x="123" y="1443"/>
                      </a:lnTo>
                      <a:lnTo>
                        <a:pt x="127" y="1441"/>
                      </a:lnTo>
                      <a:lnTo>
                        <a:pt x="131" y="1439"/>
                      </a:lnTo>
                      <a:lnTo>
                        <a:pt x="133" y="1437"/>
                      </a:lnTo>
                      <a:lnTo>
                        <a:pt x="136" y="1435"/>
                      </a:lnTo>
                      <a:lnTo>
                        <a:pt x="137" y="1431"/>
                      </a:lnTo>
                      <a:lnTo>
                        <a:pt x="138" y="1427"/>
                      </a:lnTo>
                      <a:lnTo>
                        <a:pt x="140" y="1423"/>
                      </a:lnTo>
                      <a:lnTo>
                        <a:pt x="140" y="1423"/>
                      </a:lnTo>
                      <a:lnTo>
                        <a:pt x="138" y="1419"/>
                      </a:lnTo>
                      <a:lnTo>
                        <a:pt x="137" y="1416"/>
                      </a:lnTo>
                      <a:lnTo>
                        <a:pt x="136" y="1412"/>
                      </a:lnTo>
                      <a:lnTo>
                        <a:pt x="133" y="1409"/>
                      </a:lnTo>
                      <a:lnTo>
                        <a:pt x="131" y="1407"/>
                      </a:lnTo>
                      <a:lnTo>
                        <a:pt x="127" y="1404"/>
                      </a:lnTo>
                      <a:lnTo>
                        <a:pt x="123" y="1403"/>
                      </a:lnTo>
                      <a:lnTo>
                        <a:pt x="119" y="1403"/>
                      </a:lnTo>
                      <a:lnTo>
                        <a:pt x="119" y="1403"/>
                      </a:lnTo>
                      <a:lnTo>
                        <a:pt x="115" y="1403"/>
                      </a:lnTo>
                      <a:lnTo>
                        <a:pt x="111" y="1404"/>
                      </a:lnTo>
                      <a:lnTo>
                        <a:pt x="108" y="1407"/>
                      </a:lnTo>
                      <a:lnTo>
                        <a:pt x="105" y="1409"/>
                      </a:lnTo>
                      <a:lnTo>
                        <a:pt x="102" y="1412"/>
                      </a:lnTo>
                      <a:lnTo>
                        <a:pt x="100" y="1416"/>
                      </a:lnTo>
                      <a:lnTo>
                        <a:pt x="99" y="1419"/>
                      </a:lnTo>
                      <a:lnTo>
                        <a:pt x="99" y="1423"/>
                      </a:lnTo>
                      <a:lnTo>
                        <a:pt x="99" y="1423"/>
                      </a:lnTo>
                      <a:close/>
                      <a:moveTo>
                        <a:pt x="1844" y="1519"/>
                      </a:moveTo>
                      <a:lnTo>
                        <a:pt x="1913" y="1333"/>
                      </a:lnTo>
                      <a:lnTo>
                        <a:pt x="1879" y="729"/>
                      </a:lnTo>
                      <a:lnTo>
                        <a:pt x="1879" y="729"/>
                      </a:lnTo>
                      <a:lnTo>
                        <a:pt x="1877" y="713"/>
                      </a:lnTo>
                      <a:lnTo>
                        <a:pt x="1872" y="697"/>
                      </a:lnTo>
                      <a:lnTo>
                        <a:pt x="1864" y="682"/>
                      </a:lnTo>
                      <a:lnTo>
                        <a:pt x="1855" y="670"/>
                      </a:lnTo>
                      <a:lnTo>
                        <a:pt x="1845" y="659"/>
                      </a:lnTo>
                      <a:lnTo>
                        <a:pt x="1832" y="649"/>
                      </a:lnTo>
                      <a:lnTo>
                        <a:pt x="1818" y="640"/>
                      </a:lnTo>
                      <a:lnTo>
                        <a:pt x="1803" y="633"/>
                      </a:lnTo>
                      <a:lnTo>
                        <a:pt x="1657" y="580"/>
                      </a:lnTo>
                      <a:lnTo>
                        <a:pt x="1599" y="815"/>
                      </a:lnTo>
                      <a:lnTo>
                        <a:pt x="1599" y="815"/>
                      </a:lnTo>
                      <a:lnTo>
                        <a:pt x="1597" y="821"/>
                      </a:lnTo>
                      <a:lnTo>
                        <a:pt x="1593" y="825"/>
                      </a:lnTo>
                      <a:lnTo>
                        <a:pt x="1590" y="830"/>
                      </a:lnTo>
                      <a:lnTo>
                        <a:pt x="1585" y="833"/>
                      </a:lnTo>
                      <a:lnTo>
                        <a:pt x="1581" y="835"/>
                      </a:lnTo>
                      <a:lnTo>
                        <a:pt x="1575" y="838"/>
                      </a:lnTo>
                      <a:lnTo>
                        <a:pt x="1570" y="839"/>
                      </a:lnTo>
                      <a:lnTo>
                        <a:pt x="1564" y="839"/>
                      </a:lnTo>
                      <a:lnTo>
                        <a:pt x="1558" y="839"/>
                      </a:lnTo>
                      <a:lnTo>
                        <a:pt x="1553" y="838"/>
                      </a:lnTo>
                      <a:lnTo>
                        <a:pt x="1548" y="835"/>
                      </a:lnTo>
                      <a:lnTo>
                        <a:pt x="1543" y="833"/>
                      </a:lnTo>
                      <a:lnTo>
                        <a:pt x="1539" y="830"/>
                      </a:lnTo>
                      <a:lnTo>
                        <a:pt x="1535" y="825"/>
                      </a:lnTo>
                      <a:lnTo>
                        <a:pt x="1533" y="821"/>
                      </a:lnTo>
                      <a:lnTo>
                        <a:pt x="1530" y="815"/>
                      </a:lnTo>
                      <a:lnTo>
                        <a:pt x="1472" y="584"/>
                      </a:lnTo>
                      <a:lnTo>
                        <a:pt x="1366" y="611"/>
                      </a:lnTo>
                      <a:lnTo>
                        <a:pt x="1366" y="609"/>
                      </a:lnTo>
                      <a:lnTo>
                        <a:pt x="1366" y="609"/>
                      </a:lnTo>
                      <a:lnTo>
                        <a:pt x="1366" y="590"/>
                      </a:lnTo>
                      <a:lnTo>
                        <a:pt x="1364" y="573"/>
                      </a:lnTo>
                      <a:lnTo>
                        <a:pt x="1359" y="558"/>
                      </a:lnTo>
                      <a:lnTo>
                        <a:pt x="1355" y="543"/>
                      </a:lnTo>
                      <a:lnTo>
                        <a:pt x="1348" y="530"/>
                      </a:lnTo>
                      <a:lnTo>
                        <a:pt x="1340" y="518"/>
                      </a:lnTo>
                      <a:lnTo>
                        <a:pt x="1331" y="507"/>
                      </a:lnTo>
                      <a:lnTo>
                        <a:pt x="1321" y="497"/>
                      </a:lnTo>
                      <a:lnTo>
                        <a:pt x="1311" y="489"/>
                      </a:lnTo>
                      <a:lnTo>
                        <a:pt x="1300" y="481"/>
                      </a:lnTo>
                      <a:lnTo>
                        <a:pt x="1287" y="474"/>
                      </a:lnTo>
                      <a:lnTo>
                        <a:pt x="1274" y="469"/>
                      </a:lnTo>
                      <a:lnTo>
                        <a:pt x="1260" y="464"/>
                      </a:lnTo>
                      <a:lnTo>
                        <a:pt x="1246" y="460"/>
                      </a:lnTo>
                      <a:lnTo>
                        <a:pt x="1231" y="456"/>
                      </a:lnTo>
                      <a:lnTo>
                        <a:pt x="1216" y="454"/>
                      </a:lnTo>
                      <a:lnTo>
                        <a:pt x="1186" y="449"/>
                      </a:lnTo>
                      <a:lnTo>
                        <a:pt x="1186" y="449"/>
                      </a:lnTo>
                      <a:lnTo>
                        <a:pt x="1187" y="526"/>
                      </a:lnTo>
                      <a:lnTo>
                        <a:pt x="1187" y="537"/>
                      </a:lnTo>
                      <a:lnTo>
                        <a:pt x="1177" y="541"/>
                      </a:lnTo>
                      <a:lnTo>
                        <a:pt x="1152" y="549"/>
                      </a:lnTo>
                      <a:lnTo>
                        <a:pt x="1188" y="580"/>
                      </a:lnTo>
                      <a:lnTo>
                        <a:pt x="998" y="795"/>
                      </a:lnTo>
                      <a:lnTo>
                        <a:pt x="816" y="580"/>
                      </a:lnTo>
                      <a:lnTo>
                        <a:pt x="852" y="549"/>
                      </a:lnTo>
                      <a:lnTo>
                        <a:pt x="817" y="537"/>
                      </a:lnTo>
                      <a:lnTo>
                        <a:pt x="817" y="526"/>
                      </a:lnTo>
                      <a:lnTo>
                        <a:pt x="817" y="526"/>
                      </a:lnTo>
                      <a:lnTo>
                        <a:pt x="818" y="447"/>
                      </a:lnTo>
                      <a:lnTo>
                        <a:pt x="779" y="455"/>
                      </a:lnTo>
                      <a:lnTo>
                        <a:pt x="779" y="455"/>
                      </a:lnTo>
                      <a:lnTo>
                        <a:pt x="755" y="461"/>
                      </a:lnTo>
                      <a:lnTo>
                        <a:pt x="733" y="469"/>
                      </a:lnTo>
                      <a:lnTo>
                        <a:pt x="712" y="478"/>
                      </a:lnTo>
                      <a:lnTo>
                        <a:pt x="702" y="483"/>
                      </a:lnTo>
                      <a:lnTo>
                        <a:pt x="693" y="489"/>
                      </a:lnTo>
                      <a:lnTo>
                        <a:pt x="685" y="496"/>
                      </a:lnTo>
                      <a:lnTo>
                        <a:pt x="676" y="504"/>
                      </a:lnTo>
                      <a:lnTo>
                        <a:pt x="670" y="512"/>
                      </a:lnTo>
                      <a:lnTo>
                        <a:pt x="663" y="521"/>
                      </a:lnTo>
                      <a:lnTo>
                        <a:pt x="656" y="530"/>
                      </a:lnTo>
                      <a:lnTo>
                        <a:pt x="652" y="540"/>
                      </a:lnTo>
                      <a:lnTo>
                        <a:pt x="647" y="551"/>
                      </a:lnTo>
                      <a:lnTo>
                        <a:pt x="642" y="563"/>
                      </a:lnTo>
                      <a:lnTo>
                        <a:pt x="577" y="544"/>
                      </a:lnTo>
                      <a:lnTo>
                        <a:pt x="552" y="598"/>
                      </a:lnTo>
                      <a:lnTo>
                        <a:pt x="637" y="622"/>
                      </a:lnTo>
                      <a:lnTo>
                        <a:pt x="637" y="1202"/>
                      </a:lnTo>
                      <a:lnTo>
                        <a:pt x="778" y="1202"/>
                      </a:lnTo>
                      <a:lnTo>
                        <a:pt x="744" y="1355"/>
                      </a:lnTo>
                      <a:lnTo>
                        <a:pt x="708" y="1319"/>
                      </a:lnTo>
                      <a:lnTo>
                        <a:pt x="695" y="1222"/>
                      </a:lnTo>
                      <a:lnTo>
                        <a:pt x="695" y="1222"/>
                      </a:lnTo>
                      <a:lnTo>
                        <a:pt x="674" y="1222"/>
                      </a:lnTo>
                      <a:lnTo>
                        <a:pt x="686" y="1329"/>
                      </a:lnTo>
                      <a:lnTo>
                        <a:pt x="712" y="1354"/>
                      </a:lnTo>
                      <a:lnTo>
                        <a:pt x="209" y="1354"/>
                      </a:lnTo>
                      <a:lnTo>
                        <a:pt x="187" y="808"/>
                      </a:lnTo>
                      <a:lnTo>
                        <a:pt x="158" y="810"/>
                      </a:lnTo>
                      <a:lnTo>
                        <a:pt x="185" y="1476"/>
                      </a:lnTo>
                      <a:lnTo>
                        <a:pt x="61" y="1476"/>
                      </a:lnTo>
                      <a:lnTo>
                        <a:pt x="87" y="725"/>
                      </a:lnTo>
                      <a:lnTo>
                        <a:pt x="87" y="725"/>
                      </a:lnTo>
                      <a:lnTo>
                        <a:pt x="88" y="717"/>
                      </a:lnTo>
                      <a:lnTo>
                        <a:pt x="90" y="711"/>
                      </a:lnTo>
                      <a:lnTo>
                        <a:pt x="93" y="703"/>
                      </a:lnTo>
                      <a:lnTo>
                        <a:pt x="98" y="696"/>
                      </a:lnTo>
                      <a:lnTo>
                        <a:pt x="102" y="690"/>
                      </a:lnTo>
                      <a:lnTo>
                        <a:pt x="109" y="685"/>
                      </a:lnTo>
                      <a:lnTo>
                        <a:pt x="116" y="680"/>
                      </a:lnTo>
                      <a:lnTo>
                        <a:pt x="124" y="677"/>
                      </a:lnTo>
                      <a:lnTo>
                        <a:pt x="343" y="605"/>
                      </a:lnTo>
                      <a:lnTo>
                        <a:pt x="318" y="552"/>
                      </a:lnTo>
                      <a:lnTo>
                        <a:pt x="106" y="622"/>
                      </a:lnTo>
                      <a:lnTo>
                        <a:pt x="106" y="622"/>
                      </a:lnTo>
                      <a:lnTo>
                        <a:pt x="90" y="629"/>
                      </a:lnTo>
                      <a:lnTo>
                        <a:pt x="75" y="638"/>
                      </a:lnTo>
                      <a:lnTo>
                        <a:pt x="62" y="648"/>
                      </a:lnTo>
                      <a:lnTo>
                        <a:pt x="51" y="661"/>
                      </a:lnTo>
                      <a:lnTo>
                        <a:pt x="42" y="675"/>
                      </a:lnTo>
                      <a:lnTo>
                        <a:pt x="35" y="690"/>
                      </a:lnTo>
                      <a:lnTo>
                        <a:pt x="29" y="706"/>
                      </a:lnTo>
                      <a:lnTo>
                        <a:pt x="28" y="714"/>
                      </a:lnTo>
                      <a:lnTo>
                        <a:pt x="28" y="723"/>
                      </a:lnTo>
                      <a:lnTo>
                        <a:pt x="0" y="1535"/>
                      </a:lnTo>
                      <a:lnTo>
                        <a:pt x="60" y="1535"/>
                      </a:lnTo>
                      <a:lnTo>
                        <a:pt x="162" y="1753"/>
                      </a:lnTo>
                      <a:lnTo>
                        <a:pt x="225" y="2550"/>
                      </a:lnTo>
                      <a:lnTo>
                        <a:pt x="432" y="2550"/>
                      </a:lnTo>
                      <a:lnTo>
                        <a:pt x="432" y="1558"/>
                      </a:lnTo>
                      <a:lnTo>
                        <a:pt x="461" y="1558"/>
                      </a:lnTo>
                      <a:lnTo>
                        <a:pt x="461" y="2550"/>
                      </a:lnTo>
                      <a:lnTo>
                        <a:pt x="657" y="2550"/>
                      </a:lnTo>
                      <a:lnTo>
                        <a:pt x="691" y="2024"/>
                      </a:lnTo>
                      <a:lnTo>
                        <a:pt x="787" y="2024"/>
                      </a:lnTo>
                      <a:lnTo>
                        <a:pt x="860" y="2550"/>
                      </a:lnTo>
                      <a:lnTo>
                        <a:pt x="918" y="2550"/>
                      </a:lnTo>
                      <a:lnTo>
                        <a:pt x="846" y="2024"/>
                      </a:lnTo>
                      <a:lnTo>
                        <a:pt x="987" y="2024"/>
                      </a:lnTo>
                      <a:lnTo>
                        <a:pt x="987" y="2550"/>
                      </a:lnTo>
                      <a:lnTo>
                        <a:pt x="1018" y="2550"/>
                      </a:lnTo>
                      <a:lnTo>
                        <a:pt x="1018" y="2024"/>
                      </a:lnTo>
                      <a:lnTo>
                        <a:pt x="1157" y="2024"/>
                      </a:lnTo>
                      <a:lnTo>
                        <a:pt x="1085" y="2550"/>
                      </a:lnTo>
                      <a:lnTo>
                        <a:pt x="1144" y="2550"/>
                      </a:lnTo>
                      <a:lnTo>
                        <a:pt x="1212" y="2059"/>
                      </a:lnTo>
                      <a:lnTo>
                        <a:pt x="1374" y="2059"/>
                      </a:lnTo>
                      <a:lnTo>
                        <a:pt x="1443" y="2550"/>
                      </a:lnTo>
                      <a:lnTo>
                        <a:pt x="1472" y="2550"/>
                      </a:lnTo>
                      <a:lnTo>
                        <a:pt x="1403" y="2059"/>
                      </a:lnTo>
                      <a:lnTo>
                        <a:pt x="1552" y="2059"/>
                      </a:lnTo>
                      <a:lnTo>
                        <a:pt x="1549" y="2550"/>
                      </a:lnTo>
                      <a:lnTo>
                        <a:pt x="1579" y="2550"/>
                      </a:lnTo>
                      <a:lnTo>
                        <a:pt x="1582" y="2059"/>
                      </a:lnTo>
                      <a:lnTo>
                        <a:pt x="1710" y="2059"/>
                      </a:lnTo>
                      <a:lnTo>
                        <a:pt x="1642" y="2550"/>
                      </a:lnTo>
                      <a:lnTo>
                        <a:pt x="1701" y="2550"/>
                      </a:lnTo>
                      <a:lnTo>
                        <a:pt x="1770" y="2059"/>
                      </a:lnTo>
                      <a:lnTo>
                        <a:pt x="1950" y="2059"/>
                      </a:lnTo>
                      <a:lnTo>
                        <a:pt x="1844" y="1519"/>
                      </a:lnTo>
                      <a:close/>
                      <a:moveTo>
                        <a:pt x="109" y="1505"/>
                      </a:moveTo>
                      <a:lnTo>
                        <a:pt x="186" y="1505"/>
                      </a:lnTo>
                      <a:lnTo>
                        <a:pt x="192" y="1680"/>
                      </a:lnTo>
                      <a:lnTo>
                        <a:pt x="109" y="1505"/>
                      </a:lnTo>
                      <a:close/>
                      <a:moveTo>
                        <a:pt x="1197" y="1109"/>
                      </a:moveTo>
                      <a:lnTo>
                        <a:pt x="807" y="1109"/>
                      </a:lnTo>
                      <a:lnTo>
                        <a:pt x="807" y="1084"/>
                      </a:lnTo>
                      <a:lnTo>
                        <a:pt x="1197" y="1084"/>
                      </a:lnTo>
                      <a:lnTo>
                        <a:pt x="1197" y="1109"/>
                      </a:lnTo>
                      <a:close/>
                      <a:moveTo>
                        <a:pt x="1743" y="1253"/>
                      </a:moveTo>
                      <a:lnTo>
                        <a:pt x="1743" y="907"/>
                      </a:lnTo>
                      <a:lnTo>
                        <a:pt x="1759" y="823"/>
                      </a:lnTo>
                      <a:lnTo>
                        <a:pt x="1729" y="817"/>
                      </a:lnTo>
                      <a:lnTo>
                        <a:pt x="1714" y="905"/>
                      </a:lnTo>
                      <a:lnTo>
                        <a:pt x="1714" y="1212"/>
                      </a:lnTo>
                      <a:lnTo>
                        <a:pt x="1387" y="1212"/>
                      </a:lnTo>
                      <a:lnTo>
                        <a:pt x="1309" y="1579"/>
                      </a:lnTo>
                      <a:lnTo>
                        <a:pt x="1266" y="1385"/>
                      </a:lnTo>
                      <a:lnTo>
                        <a:pt x="1322" y="1329"/>
                      </a:lnTo>
                      <a:lnTo>
                        <a:pt x="1336" y="1222"/>
                      </a:lnTo>
                      <a:lnTo>
                        <a:pt x="1313" y="1222"/>
                      </a:lnTo>
                      <a:lnTo>
                        <a:pt x="1313" y="1222"/>
                      </a:lnTo>
                      <a:lnTo>
                        <a:pt x="1301" y="1319"/>
                      </a:lnTo>
                      <a:lnTo>
                        <a:pt x="1260" y="1359"/>
                      </a:lnTo>
                      <a:lnTo>
                        <a:pt x="1226" y="1202"/>
                      </a:lnTo>
                      <a:lnTo>
                        <a:pt x="1366" y="1202"/>
                      </a:lnTo>
                      <a:lnTo>
                        <a:pt x="1366" y="670"/>
                      </a:lnTo>
                      <a:lnTo>
                        <a:pt x="1457" y="646"/>
                      </a:lnTo>
                      <a:lnTo>
                        <a:pt x="1502" y="823"/>
                      </a:lnTo>
                      <a:lnTo>
                        <a:pt x="1502" y="823"/>
                      </a:lnTo>
                      <a:lnTo>
                        <a:pt x="1506" y="833"/>
                      </a:lnTo>
                      <a:lnTo>
                        <a:pt x="1511" y="842"/>
                      </a:lnTo>
                      <a:lnTo>
                        <a:pt x="1518" y="850"/>
                      </a:lnTo>
                      <a:lnTo>
                        <a:pt x="1525" y="858"/>
                      </a:lnTo>
                      <a:lnTo>
                        <a:pt x="1534" y="862"/>
                      </a:lnTo>
                      <a:lnTo>
                        <a:pt x="1544" y="867"/>
                      </a:lnTo>
                      <a:lnTo>
                        <a:pt x="1553" y="870"/>
                      </a:lnTo>
                      <a:lnTo>
                        <a:pt x="1563" y="871"/>
                      </a:lnTo>
                      <a:lnTo>
                        <a:pt x="1573" y="870"/>
                      </a:lnTo>
                      <a:lnTo>
                        <a:pt x="1583" y="869"/>
                      </a:lnTo>
                      <a:lnTo>
                        <a:pt x="1593" y="866"/>
                      </a:lnTo>
                      <a:lnTo>
                        <a:pt x="1602" y="860"/>
                      </a:lnTo>
                      <a:lnTo>
                        <a:pt x="1610" y="853"/>
                      </a:lnTo>
                      <a:lnTo>
                        <a:pt x="1617" y="846"/>
                      </a:lnTo>
                      <a:lnTo>
                        <a:pt x="1623" y="835"/>
                      </a:lnTo>
                      <a:lnTo>
                        <a:pt x="1627" y="823"/>
                      </a:lnTo>
                      <a:lnTo>
                        <a:pt x="1671" y="648"/>
                      </a:lnTo>
                      <a:lnTo>
                        <a:pt x="1776" y="685"/>
                      </a:lnTo>
                      <a:lnTo>
                        <a:pt x="1776" y="685"/>
                      </a:lnTo>
                      <a:lnTo>
                        <a:pt x="1785" y="689"/>
                      </a:lnTo>
                      <a:lnTo>
                        <a:pt x="1794" y="694"/>
                      </a:lnTo>
                      <a:lnTo>
                        <a:pt x="1801" y="699"/>
                      </a:lnTo>
                      <a:lnTo>
                        <a:pt x="1807" y="705"/>
                      </a:lnTo>
                      <a:lnTo>
                        <a:pt x="1813" y="712"/>
                      </a:lnTo>
                      <a:lnTo>
                        <a:pt x="1816" y="718"/>
                      </a:lnTo>
                      <a:lnTo>
                        <a:pt x="1818" y="725"/>
                      </a:lnTo>
                      <a:lnTo>
                        <a:pt x="1819" y="732"/>
                      </a:lnTo>
                      <a:lnTo>
                        <a:pt x="1852" y="1294"/>
                      </a:lnTo>
                      <a:lnTo>
                        <a:pt x="1753" y="1294"/>
                      </a:lnTo>
                      <a:lnTo>
                        <a:pt x="1743" y="1253"/>
                      </a:lnTo>
                      <a:close/>
                      <a:moveTo>
                        <a:pt x="1759" y="1323"/>
                      </a:moveTo>
                      <a:lnTo>
                        <a:pt x="1854" y="1323"/>
                      </a:lnTo>
                      <a:lnTo>
                        <a:pt x="1854" y="1324"/>
                      </a:lnTo>
                      <a:lnTo>
                        <a:pt x="1795" y="1483"/>
                      </a:lnTo>
                      <a:lnTo>
                        <a:pt x="1759" y="1323"/>
                      </a:lnTo>
                      <a:close/>
                      <a:moveTo>
                        <a:pt x="1453" y="533"/>
                      </a:moveTo>
                      <a:lnTo>
                        <a:pt x="1453" y="533"/>
                      </a:lnTo>
                      <a:lnTo>
                        <a:pt x="1464" y="533"/>
                      </a:lnTo>
                      <a:lnTo>
                        <a:pt x="1474" y="531"/>
                      </a:lnTo>
                      <a:lnTo>
                        <a:pt x="1485" y="528"/>
                      </a:lnTo>
                      <a:lnTo>
                        <a:pt x="1494" y="524"/>
                      </a:lnTo>
                      <a:lnTo>
                        <a:pt x="1494" y="524"/>
                      </a:lnTo>
                      <a:lnTo>
                        <a:pt x="1510" y="533"/>
                      </a:lnTo>
                      <a:lnTo>
                        <a:pt x="1526" y="539"/>
                      </a:lnTo>
                      <a:lnTo>
                        <a:pt x="1543" y="542"/>
                      </a:lnTo>
                      <a:lnTo>
                        <a:pt x="1561" y="543"/>
                      </a:lnTo>
                      <a:lnTo>
                        <a:pt x="1561" y="543"/>
                      </a:lnTo>
                      <a:lnTo>
                        <a:pt x="1579" y="542"/>
                      </a:lnTo>
                      <a:lnTo>
                        <a:pt x="1596" y="539"/>
                      </a:lnTo>
                      <a:lnTo>
                        <a:pt x="1611" y="533"/>
                      </a:lnTo>
                      <a:lnTo>
                        <a:pt x="1627" y="524"/>
                      </a:lnTo>
                      <a:lnTo>
                        <a:pt x="1627" y="524"/>
                      </a:lnTo>
                      <a:lnTo>
                        <a:pt x="1636" y="528"/>
                      </a:lnTo>
                      <a:lnTo>
                        <a:pt x="1646" y="531"/>
                      </a:lnTo>
                      <a:lnTo>
                        <a:pt x="1657" y="533"/>
                      </a:lnTo>
                      <a:lnTo>
                        <a:pt x="1669" y="533"/>
                      </a:lnTo>
                      <a:lnTo>
                        <a:pt x="1669" y="533"/>
                      </a:lnTo>
                      <a:lnTo>
                        <a:pt x="1681" y="531"/>
                      </a:lnTo>
                      <a:lnTo>
                        <a:pt x="1693" y="526"/>
                      </a:lnTo>
                      <a:lnTo>
                        <a:pt x="1704" y="521"/>
                      </a:lnTo>
                      <a:lnTo>
                        <a:pt x="1713" y="513"/>
                      </a:lnTo>
                      <a:lnTo>
                        <a:pt x="1720" y="503"/>
                      </a:lnTo>
                      <a:lnTo>
                        <a:pt x="1727" y="492"/>
                      </a:lnTo>
                      <a:lnTo>
                        <a:pt x="1732" y="481"/>
                      </a:lnTo>
                      <a:lnTo>
                        <a:pt x="1734" y="469"/>
                      </a:lnTo>
                      <a:lnTo>
                        <a:pt x="1733" y="469"/>
                      </a:lnTo>
                      <a:lnTo>
                        <a:pt x="1733" y="469"/>
                      </a:lnTo>
                      <a:lnTo>
                        <a:pt x="1722" y="469"/>
                      </a:lnTo>
                      <a:lnTo>
                        <a:pt x="1711" y="468"/>
                      </a:lnTo>
                      <a:lnTo>
                        <a:pt x="1700" y="464"/>
                      </a:lnTo>
                      <a:lnTo>
                        <a:pt x="1690" y="460"/>
                      </a:lnTo>
                      <a:lnTo>
                        <a:pt x="1690" y="460"/>
                      </a:lnTo>
                      <a:lnTo>
                        <a:pt x="1695" y="452"/>
                      </a:lnTo>
                      <a:lnTo>
                        <a:pt x="1699" y="444"/>
                      </a:lnTo>
                      <a:lnTo>
                        <a:pt x="1704" y="435"/>
                      </a:lnTo>
                      <a:lnTo>
                        <a:pt x="1706" y="425"/>
                      </a:lnTo>
                      <a:lnTo>
                        <a:pt x="1708" y="415"/>
                      </a:lnTo>
                      <a:lnTo>
                        <a:pt x="1710" y="405"/>
                      </a:lnTo>
                      <a:lnTo>
                        <a:pt x="1711" y="392"/>
                      </a:lnTo>
                      <a:lnTo>
                        <a:pt x="1711" y="380"/>
                      </a:lnTo>
                      <a:lnTo>
                        <a:pt x="1711" y="345"/>
                      </a:lnTo>
                      <a:lnTo>
                        <a:pt x="1711" y="345"/>
                      </a:lnTo>
                      <a:lnTo>
                        <a:pt x="1711" y="327"/>
                      </a:lnTo>
                      <a:lnTo>
                        <a:pt x="1709" y="309"/>
                      </a:lnTo>
                      <a:lnTo>
                        <a:pt x="1705" y="292"/>
                      </a:lnTo>
                      <a:lnTo>
                        <a:pt x="1700" y="275"/>
                      </a:lnTo>
                      <a:lnTo>
                        <a:pt x="1695" y="260"/>
                      </a:lnTo>
                      <a:lnTo>
                        <a:pt x="1687" y="244"/>
                      </a:lnTo>
                      <a:lnTo>
                        <a:pt x="1678" y="230"/>
                      </a:lnTo>
                      <a:lnTo>
                        <a:pt x="1669" y="217"/>
                      </a:lnTo>
                      <a:lnTo>
                        <a:pt x="1659" y="206"/>
                      </a:lnTo>
                      <a:lnTo>
                        <a:pt x="1646" y="195"/>
                      </a:lnTo>
                      <a:lnTo>
                        <a:pt x="1634" y="186"/>
                      </a:lnTo>
                      <a:lnTo>
                        <a:pt x="1620" y="178"/>
                      </a:lnTo>
                      <a:lnTo>
                        <a:pt x="1607" y="171"/>
                      </a:lnTo>
                      <a:lnTo>
                        <a:pt x="1592" y="166"/>
                      </a:lnTo>
                      <a:lnTo>
                        <a:pt x="1576" y="164"/>
                      </a:lnTo>
                      <a:lnTo>
                        <a:pt x="1561" y="163"/>
                      </a:lnTo>
                      <a:lnTo>
                        <a:pt x="1561" y="163"/>
                      </a:lnTo>
                      <a:lnTo>
                        <a:pt x="1545" y="164"/>
                      </a:lnTo>
                      <a:lnTo>
                        <a:pt x="1529" y="166"/>
                      </a:lnTo>
                      <a:lnTo>
                        <a:pt x="1515" y="171"/>
                      </a:lnTo>
                      <a:lnTo>
                        <a:pt x="1501" y="178"/>
                      </a:lnTo>
                      <a:lnTo>
                        <a:pt x="1488" y="186"/>
                      </a:lnTo>
                      <a:lnTo>
                        <a:pt x="1475" y="195"/>
                      </a:lnTo>
                      <a:lnTo>
                        <a:pt x="1463" y="206"/>
                      </a:lnTo>
                      <a:lnTo>
                        <a:pt x="1453" y="217"/>
                      </a:lnTo>
                      <a:lnTo>
                        <a:pt x="1443" y="230"/>
                      </a:lnTo>
                      <a:lnTo>
                        <a:pt x="1435" y="244"/>
                      </a:lnTo>
                      <a:lnTo>
                        <a:pt x="1427" y="260"/>
                      </a:lnTo>
                      <a:lnTo>
                        <a:pt x="1421" y="275"/>
                      </a:lnTo>
                      <a:lnTo>
                        <a:pt x="1416" y="292"/>
                      </a:lnTo>
                      <a:lnTo>
                        <a:pt x="1412" y="309"/>
                      </a:lnTo>
                      <a:lnTo>
                        <a:pt x="1410" y="327"/>
                      </a:lnTo>
                      <a:lnTo>
                        <a:pt x="1410" y="345"/>
                      </a:lnTo>
                      <a:lnTo>
                        <a:pt x="1410" y="380"/>
                      </a:lnTo>
                      <a:lnTo>
                        <a:pt x="1410" y="380"/>
                      </a:lnTo>
                      <a:lnTo>
                        <a:pt x="1410" y="392"/>
                      </a:lnTo>
                      <a:lnTo>
                        <a:pt x="1411" y="405"/>
                      </a:lnTo>
                      <a:lnTo>
                        <a:pt x="1412" y="415"/>
                      </a:lnTo>
                      <a:lnTo>
                        <a:pt x="1416" y="425"/>
                      </a:lnTo>
                      <a:lnTo>
                        <a:pt x="1418" y="435"/>
                      </a:lnTo>
                      <a:lnTo>
                        <a:pt x="1422" y="444"/>
                      </a:lnTo>
                      <a:lnTo>
                        <a:pt x="1426" y="452"/>
                      </a:lnTo>
                      <a:lnTo>
                        <a:pt x="1431" y="460"/>
                      </a:lnTo>
                      <a:lnTo>
                        <a:pt x="1431" y="460"/>
                      </a:lnTo>
                      <a:lnTo>
                        <a:pt x="1421" y="464"/>
                      </a:lnTo>
                      <a:lnTo>
                        <a:pt x="1410" y="468"/>
                      </a:lnTo>
                      <a:lnTo>
                        <a:pt x="1400" y="469"/>
                      </a:lnTo>
                      <a:lnTo>
                        <a:pt x="1389" y="469"/>
                      </a:lnTo>
                      <a:lnTo>
                        <a:pt x="1387" y="469"/>
                      </a:lnTo>
                      <a:lnTo>
                        <a:pt x="1387" y="469"/>
                      </a:lnTo>
                      <a:lnTo>
                        <a:pt x="1390" y="481"/>
                      </a:lnTo>
                      <a:lnTo>
                        <a:pt x="1394" y="492"/>
                      </a:lnTo>
                      <a:lnTo>
                        <a:pt x="1401" y="503"/>
                      </a:lnTo>
                      <a:lnTo>
                        <a:pt x="1409" y="513"/>
                      </a:lnTo>
                      <a:lnTo>
                        <a:pt x="1418" y="521"/>
                      </a:lnTo>
                      <a:lnTo>
                        <a:pt x="1428" y="526"/>
                      </a:lnTo>
                      <a:lnTo>
                        <a:pt x="1440" y="531"/>
                      </a:lnTo>
                      <a:lnTo>
                        <a:pt x="1453" y="533"/>
                      </a:lnTo>
                      <a:lnTo>
                        <a:pt x="1453" y="533"/>
                      </a:lnTo>
                      <a:close/>
                      <a:moveTo>
                        <a:pt x="1455" y="351"/>
                      </a:moveTo>
                      <a:lnTo>
                        <a:pt x="1455" y="351"/>
                      </a:lnTo>
                      <a:lnTo>
                        <a:pt x="1456" y="337"/>
                      </a:lnTo>
                      <a:lnTo>
                        <a:pt x="1456" y="337"/>
                      </a:lnTo>
                      <a:lnTo>
                        <a:pt x="1470" y="340"/>
                      </a:lnTo>
                      <a:lnTo>
                        <a:pt x="1484" y="341"/>
                      </a:lnTo>
                      <a:lnTo>
                        <a:pt x="1484" y="341"/>
                      </a:lnTo>
                      <a:lnTo>
                        <a:pt x="1497" y="340"/>
                      </a:lnTo>
                      <a:lnTo>
                        <a:pt x="1507" y="338"/>
                      </a:lnTo>
                      <a:lnTo>
                        <a:pt x="1518" y="336"/>
                      </a:lnTo>
                      <a:lnTo>
                        <a:pt x="1529" y="334"/>
                      </a:lnTo>
                      <a:lnTo>
                        <a:pt x="1539" y="331"/>
                      </a:lnTo>
                      <a:lnTo>
                        <a:pt x="1549" y="326"/>
                      </a:lnTo>
                      <a:lnTo>
                        <a:pt x="1558" y="322"/>
                      </a:lnTo>
                      <a:lnTo>
                        <a:pt x="1569" y="317"/>
                      </a:lnTo>
                      <a:lnTo>
                        <a:pt x="1576" y="310"/>
                      </a:lnTo>
                      <a:lnTo>
                        <a:pt x="1585" y="305"/>
                      </a:lnTo>
                      <a:lnTo>
                        <a:pt x="1593" y="297"/>
                      </a:lnTo>
                      <a:lnTo>
                        <a:pt x="1601" y="290"/>
                      </a:lnTo>
                      <a:lnTo>
                        <a:pt x="1608" y="281"/>
                      </a:lnTo>
                      <a:lnTo>
                        <a:pt x="1615" y="273"/>
                      </a:lnTo>
                      <a:lnTo>
                        <a:pt x="1620" y="264"/>
                      </a:lnTo>
                      <a:lnTo>
                        <a:pt x="1625" y="255"/>
                      </a:lnTo>
                      <a:lnTo>
                        <a:pt x="1625" y="255"/>
                      </a:lnTo>
                      <a:lnTo>
                        <a:pt x="1634" y="264"/>
                      </a:lnTo>
                      <a:lnTo>
                        <a:pt x="1642" y="273"/>
                      </a:lnTo>
                      <a:lnTo>
                        <a:pt x="1650" y="284"/>
                      </a:lnTo>
                      <a:lnTo>
                        <a:pt x="1655" y="296"/>
                      </a:lnTo>
                      <a:lnTo>
                        <a:pt x="1660" y="309"/>
                      </a:lnTo>
                      <a:lnTo>
                        <a:pt x="1663" y="322"/>
                      </a:lnTo>
                      <a:lnTo>
                        <a:pt x="1665" y="336"/>
                      </a:lnTo>
                      <a:lnTo>
                        <a:pt x="1666" y="351"/>
                      </a:lnTo>
                      <a:lnTo>
                        <a:pt x="1666" y="394"/>
                      </a:lnTo>
                      <a:lnTo>
                        <a:pt x="1666" y="394"/>
                      </a:lnTo>
                      <a:lnTo>
                        <a:pt x="1665" y="406"/>
                      </a:lnTo>
                      <a:lnTo>
                        <a:pt x="1664" y="418"/>
                      </a:lnTo>
                      <a:lnTo>
                        <a:pt x="1662" y="429"/>
                      </a:lnTo>
                      <a:lnTo>
                        <a:pt x="1657" y="441"/>
                      </a:lnTo>
                      <a:lnTo>
                        <a:pt x="1653" y="452"/>
                      </a:lnTo>
                      <a:lnTo>
                        <a:pt x="1647" y="461"/>
                      </a:lnTo>
                      <a:lnTo>
                        <a:pt x="1642" y="471"/>
                      </a:lnTo>
                      <a:lnTo>
                        <a:pt x="1635" y="479"/>
                      </a:lnTo>
                      <a:lnTo>
                        <a:pt x="1627" y="487"/>
                      </a:lnTo>
                      <a:lnTo>
                        <a:pt x="1619" y="494"/>
                      </a:lnTo>
                      <a:lnTo>
                        <a:pt x="1610" y="500"/>
                      </a:lnTo>
                      <a:lnTo>
                        <a:pt x="1601" y="505"/>
                      </a:lnTo>
                      <a:lnTo>
                        <a:pt x="1591" y="508"/>
                      </a:lnTo>
                      <a:lnTo>
                        <a:pt x="1581" y="512"/>
                      </a:lnTo>
                      <a:lnTo>
                        <a:pt x="1571" y="514"/>
                      </a:lnTo>
                      <a:lnTo>
                        <a:pt x="1561" y="514"/>
                      </a:lnTo>
                      <a:lnTo>
                        <a:pt x="1561" y="514"/>
                      </a:lnTo>
                      <a:lnTo>
                        <a:pt x="1551" y="514"/>
                      </a:lnTo>
                      <a:lnTo>
                        <a:pt x="1539" y="512"/>
                      </a:lnTo>
                      <a:lnTo>
                        <a:pt x="1530" y="508"/>
                      </a:lnTo>
                      <a:lnTo>
                        <a:pt x="1520" y="505"/>
                      </a:lnTo>
                      <a:lnTo>
                        <a:pt x="1511" y="500"/>
                      </a:lnTo>
                      <a:lnTo>
                        <a:pt x="1502" y="494"/>
                      </a:lnTo>
                      <a:lnTo>
                        <a:pt x="1494" y="487"/>
                      </a:lnTo>
                      <a:lnTo>
                        <a:pt x="1486" y="479"/>
                      </a:lnTo>
                      <a:lnTo>
                        <a:pt x="1480" y="471"/>
                      </a:lnTo>
                      <a:lnTo>
                        <a:pt x="1473" y="461"/>
                      </a:lnTo>
                      <a:lnTo>
                        <a:pt x="1468" y="452"/>
                      </a:lnTo>
                      <a:lnTo>
                        <a:pt x="1464" y="441"/>
                      </a:lnTo>
                      <a:lnTo>
                        <a:pt x="1459" y="429"/>
                      </a:lnTo>
                      <a:lnTo>
                        <a:pt x="1457" y="418"/>
                      </a:lnTo>
                      <a:lnTo>
                        <a:pt x="1455" y="406"/>
                      </a:lnTo>
                      <a:lnTo>
                        <a:pt x="1455" y="394"/>
                      </a:lnTo>
                      <a:lnTo>
                        <a:pt x="1455" y="351"/>
                      </a:lnTo>
                      <a:close/>
                    </a:path>
                  </a:pathLst>
                </a:custGeom>
                <a:solidFill>
                  <a:srgbClr val="F0F0F0"/>
                </a:solidFill>
                <a:ln>
                  <a:noFill/>
                </a:ln>
              </p:spPr>
              <p:txBody>
                <a:bodyPr vert="horz" wrap="square" lIns="72666" tIns="36332" rIns="72666" bIns="36332" numCol="1" anchor="t" anchorCtr="0" compatLnSpc="1">
                  <a:prstTxWarp prst="textNoShape">
                    <a:avLst/>
                  </a:prstTxWarp>
                </a:bodyPr>
                <a:lstStyle/>
                <a:p>
                  <a:pPr defTabSz="791108">
                    <a:defRPr/>
                  </a:pPr>
                  <a:endParaRPr lang="de-DE" sz="1557" kern="0" dirty="0">
                    <a:solidFill>
                      <a:srgbClr val="000000"/>
                    </a:solidFill>
                    <a:latin typeface="+mj-lt"/>
                  </a:endParaRPr>
                </a:p>
              </p:txBody>
            </p:sp>
          </p:grpSp>
          <p:grpSp>
            <p:nvGrpSpPr>
              <p:cNvPr id="174" name="Group 173"/>
              <p:cNvGrpSpPr/>
              <p:nvPr/>
            </p:nvGrpSpPr>
            <p:grpSpPr>
              <a:xfrm>
                <a:off x="7284813" y="2637329"/>
                <a:ext cx="646887" cy="646887"/>
                <a:chOff x="7237745" y="2684397"/>
                <a:chExt cx="646887" cy="646887"/>
              </a:xfrm>
            </p:grpSpPr>
            <p:sp>
              <p:nvSpPr>
                <p:cNvPr id="183" name="Oval 182"/>
                <p:cNvSpPr/>
                <p:nvPr/>
              </p:nvSpPr>
              <p:spPr>
                <a:xfrm>
                  <a:off x="7237745" y="2684397"/>
                  <a:ext cx="646887" cy="646887"/>
                </a:xfrm>
                <a:prstGeom prst="ellipse">
                  <a:avLst/>
                </a:prstGeom>
                <a:solidFill>
                  <a:srgbClr val="FFE600"/>
                </a:solidFill>
                <a:ln w="12700">
                  <a:noFill/>
                  <a:prstDash val="solid"/>
                  <a:round/>
                  <a:headEnd/>
                  <a:tailEnd/>
                </a:ln>
              </p:spPr>
              <p:txBody>
                <a:bodyPr wrap="none" lIns="0" tIns="0" rIns="0" bIns="0" anchor="t"/>
                <a:lstStyle/>
                <a:p>
                  <a:pPr algn="ctr" defTabSz="558057">
                    <a:lnSpc>
                      <a:spcPct val="90000"/>
                    </a:lnSpc>
                    <a:defRPr/>
                  </a:pPr>
                  <a:r>
                    <a:rPr lang="de-DE" sz="716" b="1" kern="0" dirty="0">
                      <a:solidFill>
                        <a:schemeClr val="accent1"/>
                      </a:solidFill>
                      <a:latin typeface="+mj-lt"/>
                    </a:rPr>
                    <a:t>OEM</a:t>
                  </a:r>
                </a:p>
              </p:txBody>
            </p:sp>
            <p:sp>
              <p:nvSpPr>
                <p:cNvPr id="184" name="Freeform 59"/>
                <p:cNvSpPr>
                  <a:spLocks noChangeAspect="1" noEditPoints="1"/>
                </p:cNvSpPr>
                <p:nvPr/>
              </p:nvSpPr>
              <p:spPr bwMode="auto">
                <a:xfrm>
                  <a:off x="7411021" y="2942841"/>
                  <a:ext cx="284253" cy="299312"/>
                </a:xfrm>
                <a:custGeom>
                  <a:avLst/>
                  <a:gdLst>
                    <a:gd name="T0" fmla="*/ 2147483647 w 4531"/>
                    <a:gd name="T1" fmla="*/ 2147483647 h 4763"/>
                    <a:gd name="T2" fmla="*/ 2147483647 w 4531"/>
                    <a:gd name="T3" fmla="*/ 2147483647 h 4763"/>
                    <a:gd name="T4" fmla="*/ 2147483647 w 4531"/>
                    <a:gd name="T5" fmla="*/ 2147483647 h 4763"/>
                    <a:gd name="T6" fmla="*/ 2147483647 w 4531"/>
                    <a:gd name="T7" fmla="*/ 2147483647 h 4763"/>
                    <a:gd name="T8" fmla="*/ 2147483647 w 4531"/>
                    <a:gd name="T9" fmla="*/ 2147483647 h 4763"/>
                    <a:gd name="T10" fmla="*/ 2147483647 w 4531"/>
                    <a:gd name="T11" fmla="*/ 2147483647 h 4763"/>
                    <a:gd name="T12" fmla="*/ 2147483647 w 4531"/>
                    <a:gd name="T13" fmla="*/ 2147483647 h 4763"/>
                    <a:gd name="T14" fmla="*/ 2147483647 w 4531"/>
                    <a:gd name="T15" fmla="*/ 2147483647 h 4763"/>
                    <a:gd name="T16" fmla="*/ 2147483647 w 4531"/>
                    <a:gd name="T17" fmla="*/ 2147483647 h 4763"/>
                    <a:gd name="T18" fmla="*/ 2147483647 w 4531"/>
                    <a:gd name="T19" fmla="*/ 2147483647 h 4763"/>
                    <a:gd name="T20" fmla="*/ 2147483647 w 4531"/>
                    <a:gd name="T21" fmla="*/ 2147483647 h 4763"/>
                    <a:gd name="T22" fmla="*/ 2147483647 w 4531"/>
                    <a:gd name="T23" fmla="*/ 2147483647 h 4763"/>
                    <a:gd name="T24" fmla="*/ 2147483647 w 4531"/>
                    <a:gd name="T25" fmla="*/ 2147483647 h 4763"/>
                    <a:gd name="T26" fmla="*/ 2147483647 w 4531"/>
                    <a:gd name="T27" fmla="*/ 2147483647 h 4763"/>
                    <a:gd name="T28" fmla="*/ 2147483647 w 4531"/>
                    <a:gd name="T29" fmla="*/ 2147483647 h 4763"/>
                    <a:gd name="T30" fmla="*/ 2147483647 w 4531"/>
                    <a:gd name="T31" fmla="*/ 2147483647 h 4763"/>
                    <a:gd name="T32" fmla="*/ 2147483647 w 4531"/>
                    <a:gd name="T33" fmla="*/ 2147483647 h 4763"/>
                    <a:gd name="T34" fmla="*/ 2147483647 w 4531"/>
                    <a:gd name="T35" fmla="*/ 2147483647 h 4763"/>
                    <a:gd name="T36" fmla="*/ 2147483647 w 4531"/>
                    <a:gd name="T37" fmla="*/ 2147483647 h 4763"/>
                    <a:gd name="T38" fmla="*/ 2147483647 w 4531"/>
                    <a:gd name="T39" fmla="*/ 2147483647 h 4763"/>
                    <a:gd name="T40" fmla="*/ 2147483647 w 4531"/>
                    <a:gd name="T41" fmla="*/ 2147483647 h 4763"/>
                    <a:gd name="T42" fmla="*/ 2147483647 w 4531"/>
                    <a:gd name="T43" fmla="*/ 2147483647 h 4763"/>
                    <a:gd name="T44" fmla="*/ 2147483647 w 4531"/>
                    <a:gd name="T45" fmla="*/ 2147483647 h 4763"/>
                    <a:gd name="T46" fmla="*/ 2147483647 w 4531"/>
                    <a:gd name="T47" fmla="*/ 2147483647 h 4763"/>
                    <a:gd name="T48" fmla="*/ 2147483647 w 4531"/>
                    <a:gd name="T49" fmla="*/ 2147483647 h 4763"/>
                    <a:gd name="T50" fmla="*/ 2147483647 w 4531"/>
                    <a:gd name="T51" fmla="*/ 2147483647 h 4763"/>
                    <a:gd name="T52" fmla="*/ 2147483647 w 4531"/>
                    <a:gd name="T53" fmla="*/ 2147483647 h 4763"/>
                    <a:gd name="T54" fmla="*/ 2147483647 w 4531"/>
                    <a:gd name="T55" fmla="*/ 2147483647 h 4763"/>
                    <a:gd name="T56" fmla="*/ 2147483647 w 4531"/>
                    <a:gd name="T57" fmla="*/ 2147483647 h 4763"/>
                    <a:gd name="T58" fmla="*/ 2147483647 w 4531"/>
                    <a:gd name="T59" fmla="*/ 2147483647 h 4763"/>
                    <a:gd name="T60" fmla="*/ 2147483647 w 4531"/>
                    <a:gd name="T61" fmla="*/ 2147483647 h 4763"/>
                    <a:gd name="T62" fmla="*/ 2147483647 w 4531"/>
                    <a:gd name="T63" fmla="*/ 2147483647 h 4763"/>
                    <a:gd name="T64" fmla="*/ 2147483647 w 4531"/>
                    <a:gd name="T65" fmla="*/ 2147483647 h 4763"/>
                    <a:gd name="T66" fmla="*/ 2147483647 w 4531"/>
                    <a:gd name="T67" fmla="*/ 2147483647 h 4763"/>
                    <a:gd name="T68" fmla="*/ 2147483647 w 4531"/>
                    <a:gd name="T69" fmla="*/ 2147483647 h 4763"/>
                    <a:gd name="T70" fmla="*/ 2147483647 w 4531"/>
                    <a:gd name="T71" fmla="*/ 2147483647 h 4763"/>
                    <a:gd name="T72" fmla="*/ 2147483647 w 4531"/>
                    <a:gd name="T73" fmla="*/ 2147483647 h 4763"/>
                    <a:gd name="T74" fmla="*/ 2147483647 w 4531"/>
                    <a:gd name="T75" fmla="*/ 2147483647 h 4763"/>
                    <a:gd name="T76" fmla="*/ 2147483647 w 4531"/>
                    <a:gd name="T77" fmla="*/ 2147483647 h 4763"/>
                    <a:gd name="T78" fmla="*/ 2147483647 w 4531"/>
                    <a:gd name="T79" fmla="*/ 2147483647 h 4763"/>
                    <a:gd name="T80" fmla="*/ 2147483647 w 4531"/>
                    <a:gd name="T81" fmla="*/ 2147483647 h 4763"/>
                    <a:gd name="T82" fmla="*/ 2147483647 w 4531"/>
                    <a:gd name="T83" fmla="*/ 2147483647 h 4763"/>
                    <a:gd name="T84" fmla="*/ 2147483647 w 4531"/>
                    <a:gd name="T85" fmla="*/ 2147483647 h 4763"/>
                    <a:gd name="T86" fmla="*/ 2147483647 w 4531"/>
                    <a:gd name="T87" fmla="*/ 2147483647 h 4763"/>
                    <a:gd name="T88" fmla="*/ 2147483647 w 4531"/>
                    <a:gd name="T89" fmla="*/ 2147483647 h 4763"/>
                    <a:gd name="T90" fmla="*/ 2147483647 w 4531"/>
                    <a:gd name="T91" fmla="*/ 2147483647 h 4763"/>
                    <a:gd name="T92" fmla="*/ 2147483647 w 4531"/>
                    <a:gd name="T93" fmla="*/ 2147483647 h 4763"/>
                    <a:gd name="T94" fmla="*/ 2147483647 w 4531"/>
                    <a:gd name="T95" fmla="*/ 2147483647 h 4763"/>
                    <a:gd name="T96" fmla="*/ 2147483647 w 4531"/>
                    <a:gd name="T97" fmla="*/ 2147483647 h 4763"/>
                    <a:gd name="T98" fmla="*/ 2147483647 w 4531"/>
                    <a:gd name="T99" fmla="*/ 2147483647 h 4763"/>
                    <a:gd name="T100" fmla="*/ 2147483647 w 4531"/>
                    <a:gd name="T101" fmla="*/ 2147483647 h 4763"/>
                    <a:gd name="T102" fmla="*/ 2147483647 w 4531"/>
                    <a:gd name="T103" fmla="*/ 2147483647 h 4763"/>
                    <a:gd name="T104" fmla="*/ 2147483647 w 4531"/>
                    <a:gd name="T105" fmla="*/ 2147483647 h 4763"/>
                    <a:gd name="T106" fmla="*/ 2147483647 w 4531"/>
                    <a:gd name="T107" fmla="*/ 2147483647 h 4763"/>
                    <a:gd name="T108" fmla="*/ 2147483647 w 4531"/>
                    <a:gd name="T109" fmla="*/ 2147483647 h 4763"/>
                    <a:gd name="T110" fmla="*/ 2147483647 w 4531"/>
                    <a:gd name="T111" fmla="*/ 2147483647 h 4763"/>
                    <a:gd name="T112" fmla="*/ 2147483647 w 4531"/>
                    <a:gd name="T113" fmla="*/ 2147483647 h 4763"/>
                    <a:gd name="T114" fmla="*/ 2147483647 w 4531"/>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531"/>
                    <a:gd name="T175" fmla="*/ 0 h 4763"/>
                    <a:gd name="T176" fmla="*/ 4531 w 4531"/>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531" h="4763">
                      <a:moveTo>
                        <a:pt x="3199" y="2585"/>
                      </a:moveTo>
                      <a:lnTo>
                        <a:pt x="3199" y="2585"/>
                      </a:lnTo>
                      <a:lnTo>
                        <a:pt x="3205" y="2537"/>
                      </a:lnTo>
                      <a:lnTo>
                        <a:pt x="3211" y="2490"/>
                      </a:lnTo>
                      <a:lnTo>
                        <a:pt x="3213" y="2444"/>
                      </a:lnTo>
                      <a:lnTo>
                        <a:pt x="3213" y="2399"/>
                      </a:lnTo>
                      <a:lnTo>
                        <a:pt x="3211" y="2353"/>
                      </a:lnTo>
                      <a:lnTo>
                        <a:pt x="3205" y="2308"/>
                      </a:lnTo>
                      <a:lnTo>
                        <a:pt x="3199" y="2264"/>
                      </a:lnTo>
                      <a:lnTo>
                        <a:pt x="3190" y="2220"/>
                      </a:lnTo>
                      <a:lnTo>
                        <a:pt x="3179" y="2177"/>
                      </a:lnTo>
                      <a:lnTo>
                        <a:pt x="3166" y="2134"/>
                      </a:lnTo>
                      <a:lnTo>
                        <a:pt x="3150" y="2092"/>
                      </a:lnTo>
                      <a:lnTo>
                        <a:pt x="3133" y="2051"/>
                      </a:lnTo>
                      <a:lnTo>
                        <a:pt x="3115" y="2012"/>
                      </a:lnTo>
                      <a:lnTo>
                        <a:pt x="3094" y="1973"/>
                      </a:lnTo>
                      <a:lnTo>
                        <a:pt x="3072" y="1935"/>
                      </a:lnTo>
                      <a:lnTo>
                        <a:pt x="3047" y="1898"/>
                      </a:lnTo>
                      <a:lnTo>
                        <a:pt x="3021" y="1863"/>
                      </a:lnTo>
                      <a:lnTo>
                        <a:pt x="2993" y="1829"/>
                      </a:lnTo>
                      <a:lnTo>
                        <a:pt x="2964" y="1796"/>
                      </a:lnTo>
                      <a:lnTo>
                        <a:pt x="2933" y="1765"/>
                      </a:lnTo>
                      <a:lnTo>
                        <a:pt x="2900" y="1734"/>
                      </a:lnTo>
                      <a:lnTo>
                        <a:pt x="2866" y="1707"/>
                      </a:lnTo>
                      <a:lnTo>
                        <a:pt x="2831" y="1679"/>
                      </a:lnTo>
                      <a:lnTo>
                        <a:pt x="2794" y="1654"/>
                      </a:lnTo>
                      <a:lnTo>
                        <a:pt x="2756" y="1631"/>
                      </a:lnTo>
                      <a:lnTo>
                        <a:pt x="2717" y="1610"/>
                      </a:lnTo>
                      <a:lnTo>
                        <a:pt x="2676" y="1589"/>
                      </a:lnTo>
                      <a:lnTo>
                        <a:pt x="2634" y="1572"/>
                      </a:lnTo>
                      <a:lnTo>
                        <a:pt x="2591" y="1556"/>
                      </a:lnTo>
                      <a:lnTo>
                        <a:pt x="2547" y="1542"/>
                      </a:lnTo>
                      <a:lnTo>
                        <a:pt x="2501" y="1531"/>
                      </a:lnTo>
                      <a:lnTo>
                        <a:pt x="2455" y="1521"/>
                      </a:lnTo>
                      <a:lnTo>
                        <a:pt x="2423" y="1516"/>
                      </a:lnTo>
                      <a:lnTo>
                        <a:pt x="2391" y="1512"/>
                      </a:lnTo>
                      <a:lnTo>
                        <a:pt x="2359" y="1509"/>
                      </a:lnTo>
                      <a:lnTo>
                        <a:pt x="2328" y="1508"/>
                      </a:lnTo>
                      <a:lnTo>
                        <a:pt x="2296" y="1506"/>
                      </a:lnTo>
                      <a:lnTo>
                        <a:pt x="2266" y="1506"/>
                      </a:lnTo>
                      <a:lnTo>
                        <a:pt x="2235" y="1508"/>
                      </a:lnTo>
                      <a:lnTo>
                        <a:pt x="2205" y="1510"/>
                      </a:lnTo>
                      <a:lnTo>
                        <a:pt x="2175" y="1514"/>
                      </a:lnTo>
                      <a:lnTo>
                        <a:pt x="2146" y="1518"/>
                      </a:lnTo>
                      <a:lnTo>
                        <a:pt x="2117" y="1523"/>
                      </a:lnTo>
                      <a:lnTo>
                        <a:pt x="2088" y="1529"/>
                      </a:lnTo>
                      <a:lnTo>
                        <a:pt x="2059" y="1537"/>
                      </a:lnTo>
                      <a:lnTo>
                        <a:pt x="2032" y="1544"/>
                      </a:lnTo>
                      <a:lnTo>
                        <a:pt x="2004" y="1554"/>
                      </a:lnTo>
                      <a:lnTo>
                        <a:pt x="1977" y="1563"/>
                      </a:lnTo>
                      <a:lnTo>
                        <a:pt x="1949" y="1573"/>
                      </a:lnTo>
                      <a:lnTo>
                        <a:pt x="1923" y="1585"/>
                      </a:lnTo>
                      <a:lnTo>
                        <a:pt x="1898" y="1597"/>
                      </a:lnTo>
                      <a:lnTo>
                        <a:pt x="1872" y="1610"/>
                      </a:lnTo>
                      <a:lnTo>
                        <a:pt x="1847" y="1623"/>
                      </a:lnTo>
                      <a:lnTo>
                        <a:pt x="1824" y="1637"/>
                      </a:lnTo>
                      <a:lnTo>
                        <a:pt x="1799" y="1653"/>
                      </a:lnTo>
                      <a:lnTo>
                        <a:pt x="1776" y="1669"/>
                      </a:lnTo>
                      <a:lnTo>
                        <a:pt x="1753" y="1685"/>
                      </a:lnTo>
                      <a:lnTo>
                        <a:pt x="1731" y="1702"/>
                      </a:lnTo>
                      <a:lnTo>
                        <a:pt x="1710" y="1720"/>
                      </a:lnTo>
                      <a:lnTo>
                        <a:pt x="1689" y="1738"/>
                      </a:lnTo>
                      <a:lnTo>
                        <a:pt x="1668" y="1758"/>
                      </a:lnTo>
                      <a:lnTo>
                        <a:pt x="1648" y="1778"/>
                      </a:lnTo>
                      <a:lnTo>
                        <a:pt x="1628" y="1797"/>
                      </a:lnTo>
                      <a:lnTo>
                        <a:pt x="1610" y="1818"/>
                      </a:lnTo>
                      <a:lnTo>
                        <a:pt x="1592" y="1840"/>
                      </a:lnTo>
                      <a:lnTo>
                        <a:pt x="1573" y="1861"/>
                      </a:lnTo>
                      <a:lnTo>
                        <a:pt x="1558" y="1885"/>
                      </a:lnTo>
                      <a:lnTo>
                        <a:pt x="1541" y="1907"/>
                      </a:lnTo>
                      <a:lnTo>
                        <a:pt x="1526" y="1931"/>
                      </a:lnTo>
                      <a:lnTo>
                        <a:pt x="1511" y="1954"/>
                      </a:lnTo>
                      <a:lnTo>
                        <a:pt x="1497" y="1979"/>
                      </a:lnTo>
                      <a:lnTo>
                        <a:pt x="1484" y="2004"/>
                      </a:lnTo>
                      <a:lnTo>
                        <a:pt x="1471" y="2029"/>
                      </a:lnTo>
                      <a:lnTo>
                        <a:pt x="1459" y="2054"/>
                      </a:lnTo>
                      <a:lnTo>
                        <a:pt x="1448" y="2080"/>
                      </a:lnTo>
                      <a:lnTo>
                        <a:pt x="1438" y="2106"/>
                      </a:lnTo>
                      <a:lnTo>
                        <a:pt x="1428" y="2133"/>
                      </a:lnTo>
                      <a:lnTo>
                        <a:pt x="1420" y="2160"/>
                      </a:lnTo>
                      <a:lnTo>
                        <a:pt x="1412" y="2186"/>
                      </a:lnTo>
                      <a:lnTo>
                        <a:pt x="1404" y="2214"/>
                      </a:lnTo>
                      <a:lnTo>
                        <a:pt x="1398" y="2241"/>
                      </a:lnTo>
                      <a:lnTo>
                        <a:pt x="1393" y="2270"/>
                      </a:lnTo>
                      <a:lnTo>
                        <a:pt x="1389" y="2298"/>
                      </a:lnTo>
                      <a:lnTo>
                        <a:pt x="1385" y="2326"/>
                      </a:lnTo>
                      <a:lnTo>
                        <a:pt x="1382" y="2354"/>
                      </a:lnTo>
                      <a:lnTo>
                        <a:pt x="1380" y="2383"/>
                      </a:lnTo>
                      <a:lnTo>
                        <a:pt x="1380" y="2412"/>
                      </a:lnTo>
                      <a:lnTo>
                        <a:pt x="1380" y="2440"/>
                      </a:lnTo>
                      <a:lnTo>
                        <a:pt x="1380" y="2469"/>
                      </a:lnTo>
                      <a:lnTo>
                        <a:pt x="1382" y="2498"/>
                      </a:lnTo>
                      <a:lnTo>
                        <a:pt x="1385" y="2527"/>
                      </a:lnTo>
                      <a:lnTo>
                        <a:pt x="1389" y="2557"/>
                      </a:lnTo>
                      <a:lnTo>
                        <a:pt x="1393" y="2586"/>
                      </a:lnTo>
                      <a:lnTo>
                        <a:pt x="1399" y="2615"/>
                      </a:lnTo>
                      <a:lnTo>
                        <a:pt x="1406" y="2645"/>
                      </a:lnTo>
                      <a:lnTo>
                        <a:pt x="1414" y="2674"/>
                      </a:lnTo>
                      <a:lnTo>
                        <a:pt x="3178" y="2674"/>
                      </a:lnTo>
                      <a:lnTo>
                        <a:pt x="3190" y="2629"/>
                      </a:lnTo>
                      <a:lnTo>
                        <a:pt x="3199" y="2585"/>
                      </a:lnTo>
                      <a:close/>
                      <a:moveTo>
                        <a:pt x="1378" y="546"/>
                      </a:moveTo>
                      <a:lnTo>
                        <a:pt x="518" y="825"/>
                      </a:lnTo>
                      <a:lnTo>
                        <a:pt x="161" y="1331"/>
                      </a:lnTo>
                      <a:lnTo>
                        <a:pt x="1022" y="1060"/>
                      </a:lnTo>
                      <a:lnTo>
                        <a:pt x="1053" y="1161"/>
                      </a:lnTo>
                      <a:lnTo>
                        <a:pt x="126" y="1451"/>
                      </a:lnTo>
                      <a:lnTo>
                        <a:pt x="535" y="2674"/>
                      </a:lnTo>
                      <a:lnTo>
                        <a:pt x="1305" y="2674"/>
                      </a:lnTo>
                      <a:lnTo>
                        <a:pt x="1293" y="2623"/>
                      </a:lnTo>
                      <a:lnTo>
                        <a:pt x="1285" y="2573"/>
                      </a:lnTo>
                      <a:lnTo>
                        <a:pt x="1279" y="2522"/>
                      </a:lnTo>
                      <a:lnTo>
                        <a:pt x="1275" y="2472"/>
                      </a:lnTo>
                      <a:lnTo>
                        <a:pt x="1273" y="2421"/>
                      </a:lnTo>
                      <a:lnTo>
                        <a:pt x="1275" y="2371"/>
                      </a:lnTo>
                      <a:lnTo>
                        <a:pt x="1279" y="2321"/>
                      </a:lnTo>
                      <a:lnTo>
                        <a:pt x="1285" y="2271"/>
                      </a:lnTo>
                      <a:lnTo>
                        <a:pt x="1294" y="2223"/>
                      </a:lnTo>
                      <a:lnTo>
                        <a:pt x="1305" y="2175"/>
                      </a:lnTo>
                      <a:lnTo>
                        <a:pt x="1319" y="2126"/>
                      </a:lnTo>
                      <a:lnTo>
                        <a:pt x="1335" y="2079"/>
                      </a:lnTo>
                      <a:lnTo>
                        <a:pt x="1352" y="2033"/>
                      </a:lnTo>
                      <a:lnTo>
                        <a:pt x="1373" y="1987"/>
                      </a:lnTo>
                      <a:lnTo>
                        <a:pt x="1395" y="1943"/>
                      </a:lnTo>
                      <a:lnTo>
                        <a:pt x="1420" y="1899"/>
                      </a:lnTo>
                      <a:lnTo>
                        <a:pt x="1133" y="1045"/>
                      </a:lnTo>
                      <a:lnTo>
                        <a:pt x="1144" y="1022"/>
                      </a:lnTo>
                      <a:lnTo>
                        <a:pt x="1171" y="964"/>
                      </a:lnTo>
                      <a:lnTo>
                        <a:pt x="1255" y="794"/>
                      </a:lnTo>
                      <a:lnTo>
                        <a:pt x="1378" y="546"/>
                      </a:lnTo>
                      <a:close/>
                      <a:moveTo>
                        <a:pt x="3306" y="4552"/>
                      </a:moveTo>
                      <a:lnTo>
                        <a:pt x="4260" y="3598"/>
                      </a:lnTo>
                      <a:lnTo>
                        <a:pt x="4260" y="1792"/>
                      </a:lnTo>
                      <a:lnTo>
                        <a:pt x="3306" y="2747"/>
                      </a:lnTo>
                      <a:lnTo>
                        <a:pt x="3306" y="4552"/>
                      </a:lnTo>
                      <a:close/>
                      <a:moveTo>
                        <a:pt x="507" y="2778"/>
                      </a:moveTo>
                      <a:lnTo>
                        <a:pt x="507" y="4606"/>
                      </a:lnTo>
                      <a:lnTo>
                        <a:pt x="3202" y="4606"/>
                      </a:lnTo>
                      <a:lnTo>
                        <a:pt x="3202" y="2778"/>
                      </a:lnTo>
                      <a:lnTo>
                        <a:pt x="507" y="2778"/>
                      </a:lnTo>
                      <a:close/>
                      <a:moveTo>
                        <a:pt x="4230" y="1560"/>
                      </a:moveTo>
                      <a:lnTo>
                        <a:pt x="4417" y="1560"/>
                      </a:lnTo>
                      <a:lnTo>
                        <a:pt x="4417" y="3643"/>
                      </a:lnTo>
                      <a:lnTo>
                        <a:pt x="3297" y="4763"/>
                      </a:lnTo>
                      <a:lnTo>
                        <a:pt x="350" y="4763"/>
                      </a:lnTo>
                      <a:lnTo>
                        <a:pt x="350" y="2674"/>
                      </a:lnTo>
                      <a:lnTo>
                        <a:pt x="410" y="2629"/>
                      </a:lnTo>
                      <a:lnTo>
                        <a:pt x="2" y="1412"/>
                      </a:lnTo>
                      <a:lnTo>
                        <a:pt x="0" y="1402"/>
                      </a:lnTo>
                      <a:lnTo>
                        <a:pt x="0" y="1390"/>
                      </a:lnTo>
                      <a:lnTo>
                        <a:pt x="3" y="1379"/>
                      </a:lnTo>
                      <a:lnTo>
                        <a:pt x="7" y="1369"/>
                      </a:lnTo>
                      <a:lnTo>
                        <a:pt x="9" y="1366"/>
                      </a:lnTo>
                      <a:lnTo>
                        <a:pt x="442" y="751"/>
                      </a:lnTo>
                      <a:lnTo>
                        <a:pt x="455" y="740"/>
                      </a:lnTo>
                      <a:lnTo>
                        <a:pt x="468" y="731"/>
                      </a:lnTo>
                      <a:lnTo>
                        <a:pt x="1456" y="411"/>
                      </a:lnTo>
                      <a:lnTo>
                        <a:pt x="1465" y="409"/>
                      </a:lnTo>
                      <a:lnTo>
                        <a:pt x="1475" y="409"/>
                      </a:lnTo>
                      <a:lnTo>
                        <a:pt x="1486" y="410"/>
                      </a:lnTo>
                      <a:lnTo>
                        <a:pt x="1495" y="414"/>
                      </a:lnTo>
                      <a:lnTo>
                        <a:pt x="1504" y="419"/>
                      </a:lnTo>
                      <a:lnTo>
                        <a:pt x="1511" y="427"/>
                      </a:lnTo>
                      <a:lnTo>
                        <a:pt x="1517" y="435"/>
                      </a:lnTo>
                      <a:lnTo>
                        <a:pt x="1521" y="444"/>
                      </a:lnTo>
                      <a:lnTo>
                        <a:pt x="1873" y="1495"/>
                      </a:lnTo>
                      <a:lnTo>
                        <a:pt x="1907" y="1479"/>
                      </a:lnTo>
                      <a:lnTo>
                        <a:pt x="1943" y="1466"/>
                      </a:lnTo>
                      <a:lnTo>
                        <a:pt x="1978" y="1453"/>
                      </a:lnTo>
                      <a:lnTo>
                        <a:pt x="2014" y="1442"/>
                      </a:lnTo>
                      <a:lnTo>
                        <a:pt x="2050" y="1432"/>
                      </a:lnTo>
                      <a:lnTo>
                        <a:pt x="2087" y="1424"/>
                      </a:lnTo>
                      <a:lnTo>
                        <a:pt x="2125" y="1417"/>
                      </a:lnTo>
                      <a:lnTo>
                        <a:pt x="2162" y="1411"/>
                      </a:lnTo>
                      <a:lnTo>
                        <a:pt x="2200" y="1407"/>
                      </a:lnTo>
                      <a:lnTo>
                        <a:pt x="2239" y="1404"/>
                      </a:lnTo>
                      <a:lnTo>
                        <a:pt x="2277" y="1403"/>
                      </a:lnTo>
                      <a:lnTo>
                        <a:pt x="2316" y="1403"/>
                      </a:lnTo>
                      <a:lnTo>
                        <a:pt x="2355" y="1404"/>
                      </a:lnTo>
                      <a:lnTo>
                        <a:pt x="2395" y="1407"/>
                      </a:lnTo>
                      <a:lnTo>
                        <a:pt x="2434" y="1412"/>
                      </a:lnTo>
                      <a:lnTo>
                        <a:pt x="2473" y="1419"/>
                      </a:lnTo>
                      <a:lnTo>
                        <a:pt x="2503" y="1424"/>
                      </a:lnTo>
                      <a:lnTo>
                        <a:pt x="2534" y="1430"/>
                      </a:lnTo>
                      <a:lnTo>
                        <a:pt x="2562" y="1438"/>
                      </a:lnTo>
                      <a:lnTo>
                        <a:pt x="2591" y="1446"/>
                      </a:lnTo>
                      <a:lnTo>
                        <a:pt x="2620" y="1455"/>
                      </a:lnTo>
                      <a:lnTo>
                        <a:pt x="2649" y="1466"/>
                      </a:lnTo>
                      <a:lnTo>
                        <a:pt x="2676" y="1476"/>
                      </a:lnTo>
                      <a:lnTo>
                        <a:pt x="2704" y="1487"/>
                      </a:lnTo>
                      <a:lnTo>
                        <a:pt x="2734" y="1501"/>
                      </a:lnTo>
                      <a:lnTo>
                        <a:pt x="2763" y="1516"/>
                      </a:lnTo>
                      <a:lnTo>
                        <a:pt x="2792" y="1531"/>
                      </a:lnTo>
                      <a:lnTo>
                        <a:pt x="2820" y="1547"/>
                      </a:lnTo>
                      <a:lnTo>
                        <a:pt x="2848" y="1564"/>
                      </a:lnTo>
                      <a:lnTo>
                        <a:pt x="2874" y="1582"/>
                      </a:lnTo>
                      <a:lnTo>
                        <a:pt x="2902" y="1601"/>
                      </a:lnTo>
                      <a:lnTo>
                        <a:pt x="2926" y="1620"/>
                      </a:lnTo>
                      <a:lnTo>
                        <a:pt x="2951" y="1640"/>
                      </a:lnTo>
                      <a:lnTo>
                        <a:pt x="2976" y="1662"/>
                      </a:lnTo>
                      <a:lnTo>
                        <a:pt x="3000" y="1683"/>
                      </a:lnTo>
                      <a:lnTo>
                        <a:pt x="3022" y="1706"/>
                      </a:lnTo>
                      <a:lnTo>
                        <a:pt x="3044" y="1729"/>
                      </a:lnTo>
                      <a:lnTo>
                        <a:pt x="3067" y="1753"/>
                      </a:lnTo>
                      <a:lnTo>
                        <a:pt x="3086" y="1778"/>
                      </a:lnTo>
                      <a:lnTo>
                        <a:pt x="3106" y="1802"/>
                      </a:lnTo>
                      <a:lnTo>
                        <a:pt x="3126" y="1827"/>
                      </a:lnTo>
                      <a:lnTo>
                        <a:pt x="3144" y="1855"/>
                      </a:lnTo>
                      <a:lnTo>
                        <a:pt x="3161" y="1881"/>
                      </a:lnTo>
                      <a:lnTo>
                        <a:pt x="3178" y="1909"/>
                      </a:lnTo>
                      <a:lnTo>
                        <a:pt x="3194" y="1936"/>
                      </a:lnTo>
                      <a:lnTo>
                        <a:pt x="3208" y="1965"/>
                      </a:lnTo>
                      <a:lnTo>
                        <a:pt x="3222" y="1994"/>
                      </a:lnTo>
                      <a:lnTo>
                        <a:pt x="3236" y="2023"/>
                      </a:lnTo>
                      <a:lnTo>
                        <a:pt x="3247" y="2053"/>
                      </a:lnTo>
                      <a:lnTo>
                        <a:pt x="3259" y="2083"/>
                      </a:lnTo>
                      <a:lnTo>
                        <a:pt x="3270" y="2113"/>
                      </a:lnTo>
                      <a:lnTo>
                        <a:pt x="3279" y="2144"/>
                      </a:lnTo>
                      <a:lnTo>
                        <a:pt x="3287" y="2176"/>
                      </a:lnTo>
                      <a:lnTo>
                        <a:pt x="3295" y="2207"/>
                      </a:lnTo>
                      <a:lnTo>
                        <a:pt x="3301" y="2239"/>
                      </a:lnTo>
                      <a:lnTo>
                        <a:pt x="3306" y="2270"/>
                      </a:lnTo>
                      <a:lnTo>
                        <a:pt x="3879" y="924"/>
                      </a:lnTo>
                      <a:lnTo>
                        <a:pt x="3931" y="933"/>
                      </a:lnTo>
                      <a:lnTo>
                        <a:pt x="3981" y="941"/>
                      </a:lnTo>
                      <a:lnTo>
                        <a:pt x="4029" y="944"/>
                      </a:lnTo>
                      <a:lnTo>
                        <a:pt x="4075" y="947"/>
                      </a:lnTo>
                      <a:lnTo>
                        <a:pt x="4118" y="948"/>
                      </a:lnTo>
                      <a:lnTo>
                        <a:pt x="4160" y="946"/>
                      </a:lnTo>
                      <a:lnTo>
                        <a:pt x="4198" y="942"/>
                      </a:lnTo>
                      <a:lnTo>
                        <a:pt x="4235" y="937"/>
                      </a:lnTo>
                      <a:lnTo>
                        <a:pt x="4268" y="929"/>
                      </a:lnTo>
                      <a:lnTo>
                        <a:pt x="4299" y="918"/>
                      </a:lnTo>
                      <a:lnTo>
                        <a:pt x="4327" y="906"/>
                      </a:lnTo>
                      <a:lnTo>
                        <a:pt x="4350" y="893"/>
                      </a:lnTo>
                      <a:lnTo>
                        <a:pt x="4361" y="887"/>
                      </a:lnTo>
                      <a:lnTo>
                        <a:pt x="4371" y="879"/>
                      </a:lnTo>
                      <a:lnTo>
                        <a:pt x="4380" y="871"/>
                      </a:lnTo>
                      <a:lnTo>
                        <a:pt x="4390" y="862"/>
                      </a:lnTo>
                      <a:lnTo>
                        <a:pt x="4396" y="854"/>
                      </a:lnTo>
                      <a:lnTo>
                        <a:pt x="4403" y="845"/>
                      </a:lnTo>
                      <a:lnTo>
                        <a:pt x="4409" y="836"/>
                      </a:lnTo>
                      <a:lnTo>
                        <a:pt x="4413" y="825"/>
                      </a:lnTo>
                      <a:lnTo>
                        <a:pt x="4417" y="815"/>
                      </a:lnTo>
                      <a:lnTo>
                        <a:pt x="4421" y="803"/>
                      </a:lnTo>
                      <a:lnTo>
                        <a:pt x="4422" y="790"/>
                      </a:lnTo>
                      <a:lnTo>
                        <a:pt x="4424" y="778"/>
                      </a:lnTo>
                      <a:lnTo>
                        <a:pt x="4424" y="765"/>
                      </a:lnTo>
                      <a:lnTo>
                        <a:pt x="4422" y="751"/>
                      </a:lnTo>
                      <a:lnTo>
                        <a:pt x="4420" y="738"/>
                      </a:lnTo>
                      <a:lnTo>
                        <a:pt x="4416" y="723"/>
                      </a:lnTo>
                      <a:lnTo>
                        <a:pt x="4412" y="709"/>
                      </a:lnTo>
                      <a:lnTo>
                        <a:pt x="4407" y="693"/>
                      </a:lnTo>
                      <a:lnTo>
                        <a:pt x="4400" y="677"/>
                      </a:lnTo>
                      <a:lnTo>
                        <a:pt x="4393" y="663"/>
                      </a:lnTo>
                      <a:lnTo>
                        <a:pt x="4375" y="630"/>
                      </a:lnTo>
                      <a:lnTo>
                        <a:pt x="4353" y="597"/>
                      </a:lnTo>
                      <a:lnTo>
                        <a:pt x="4335" y="574"/>
                      </a:lnTo>
                      <a:lnTo>
                        <a:pt x="4316" y="550"/>
                      </a:lnTo>
                      <a:lnTo>
                        <a:pt x="4297" y="528"/>
                      </a:lnTo>
                      <a:lnTo>
                        <a:pt x="4277" y="507"/>
                      </a:lnTo>
                      <a:lnTo>
                        <a:pt x="4255" y="486"/>
                      </a:lnTo>
                      <a:lnTo>
                        <a:pt x="4232" y="464"/>
                      </a:lnTo>
                      <a:lnTo>
                        <a:pt x="4207" y="443"/>
                      </a:lnTo>
                      <a:lnTo>
                        <a:pt x="4180" y="422"/>
                      </a:lnTo>
                      <a:lnTo>
                        <a:pt x="4152" y="401"/>
                      </a:lnTo>
                      <a:lnTo>
                        <a:pt x="4124" y="380"/>
                      </a:lnTo>
                      <a:lnTo>
                        <a:pt x="4092" y="359"/>
                      </a:lnTo>
                      <a:lnTo>
                        <a:pt x="4061" y="339"/>
                      </a:lnTo>
                      <a:lnTo>
                        <a:pt x="4027" y="318"/>
                      </a:lnTo>
                      <a:lnTo>
                        <a:pt x="3991" y="300"/>
                      </a:lnTo>
                      <a:lnTo>
                        <a:pt x="3955" y="280"/>
                      </a:lnTo>
                      <a:lnTo>
                        <a:pt x="3918" y="262"/>
                      </a:lnTo>
                      <a:lnTo>
                        <a:pt x="3879" y="244"/>
                      </a:lnTo>
                      <a:lnTo>
                        <a:pt x="3838" y="225"/>
                      </a:lnTo>
                      <a:lnTo>
                        <a:pt x="3835" y="224"/>
                      </a:lnTo>
                      <a:lnTo>
                        <a:pt x="3833" y="224"/>
                      </a:lnTo>
                      <a:lnTo>
                        <a:pt x="3794" y="208"/>
                      </a:lnTo>
                      <a:lnTo>
                        <a:pt x="3756" y="193"/>
                      </a:lnTo>
                      <a:lnTo>
                        <a:pt x="3718" y="179"/>
                      </a:lnTo>
                      <a:lnTo>
                        <a:pt x="3680" y="168"/>
                      </a:lnTo>
                      <a:lnTo>
                        <a:pt x="3643" y="156"/>
                      </a:lnTo>
                      <a:lnTo>
                        <a:pt x="3606" y="147"/>
                      </a:lnTo>
                      <a:lnTo>
                        <a:pt x="3571" y="138"/>
                      </a:lnTo>
                      <a:lnTo>
                        <a:pt x="3536" y="131"/>
                      </a:lnTo>
                      <a:lnTo>
                        <a:pt x="3501" y="124"/>
                      </a:lnTo>
                      <a:lnTo>
                        <a:pt x="3469" y="119"/>
                      </a:lnTo>
                      <a:lnTo>
                        <a:pt x="3436" y="114"/>
                      </a:lnTo>
                      <a:lnTo>
                        <a:pt x="3405" y="111"/>
                      </a:lnTo>
                      <a:lnTo>
                        <a:pt x="3373" y="109"/>
                      </a:lnTo>
                      <a:lnTo>
                        <a:pt x="3343" y="107"/>
                      </a:lnTo>
                      <a:lnTo>
                        <a:pt x="3314" y="107"/>
                      </a:lnTo>
                      <a:lnTo>
                        <a:pt x="3287" y="109"/>
                      </a:lnTo>
                      <a:lnTo>
                        <a:pt x="3259" y="110"/>
                      </a:lnTo>
                      <a:lnTo>
                        <a:pt x="3234" y="113"/>
                      </a:lnTo>
                      <a:lnTo>
                        <a:pt x="3209" y="115"/>
                      </a:lnTo>
                      <a:lnTo>
                        <a:pt x="3186" y="119"/>
                      </a:lnTo>
                      <a:lnTo>
                        <a:pt x="3164" y="124"/>
                      </a:lnTo>
                      <a:lnTo>
                        <a:pt x="3143" y="131"/>
                      </a:lnTo>
                      <a:lnTo>
                        <a:pt x="3123" y="138"/>
                      </a:lnTo>
                      <a:lnTo>
                        <a:pt x="3103" y="145"/>
                      </a:lnTo>
                      <a:lnTo>
                        <a:pt x="3086" y="153"/>
                      </a:lnTo>
                      <a:lnTo>
                        <a:pt x="3071" y="161"/>
                      </a:lnTo>
                      <a:lnTo>
                        <a:pt x="3056" y="172"/>
                      </a:lnTo>
                      <a:lnTo>
                        <a:pt x="3043" y="182"/>
                      </a:lnTo>
                      <a:lnTo>
                        <a:pt x="3033" y="193"/>
                      </a:lnTo>
                      <a:lnTo>
                        <a:pt x="3022" y="204"/>
                      </a:lnTo>
                      <a:lnTo>
                        <a:pt x="3014" y="216"/>
                      </a:lnTo>
                      <a:lnTo>
                        <a:pt x="3008" y="229"/>
                      </a:lnTo>
                      <a:lnTo>
                        <a:pt x="3002" y="242"/>
                      </a:lnTo>
                      <a:lnTo>
                        <a:pt x="2999" y="257"/>
                      </a:lnTo>
                      <a:lnTo>
                        <a:pt x="2997" y="271"/>
                      </a:lnTo>
                      <a:lnTo>
                        <a:pt x="2997" y="287"/>
                      </a:lnTo>
                      <a:lnTo>
                        <a:pt x="2999" y="304"/>
                      </a:lnTo>
                      <a:lnTo>
                        <a:pt x="3001" y="321"/>
                      </a:lnTo>
                      <a:lnTo>
                        <a:pt x="3006" y="338"/>
                      </a:lnTo>
                      <a:lnTo>
                        <a:pt x="3012" y="356"/>
                      </a:lnTo>
                      <a:lnTo>
                        <a:pt x="3019" y="375"/>
                      </a:lnTo>
                      <a:lnTo>
                        <a:pt x="3029" y="394"/>
                      </a:lnTo>
                      <a:lnTo>
                        <a:pt x="3039" y="413"/>
                      </a:lnTo>
                      <a:lnTo>
                        <a:pt x="3051" y="432"/>
                      </a:lnTo>
                      <a:lnTo>
                        <a:pt x="3064" y="453"/>
                      </a:lnTo>
                      <a:lnTo>
                        <a:pt x="3078" y="473"/>
                      </a:lnTo>
                      <a:lnTo>
                        <a:pt x="3095" y="493"/>
                      </a:lnTo>
                      <a:lnTo>
                        <a:pt x="3112" y="514"/>
                      </a:lnTo>
                      <a:lnTo>
                        <a:pt x="3132" y="534"/>
                      </a:lnTo>
                      <a:lnTo>
                        <a:pt x="3153" y="555"/>
                      </a:lnTo>
                      <a:lnTo>
                        <a:pt x="3174" y="576"/>
                      </a:lnTo>
                      <a:lnTo>
                        <a:pt x="3198" y="596"/>
                      </a:lnTo>
                      <a:lnTo>
                        <a:pt x="3222" y="617"/>
                      </a:lnTo>
                      <a:lnTo>
                        <a:pt x="3249" y="638"/>
                      </a:lnTo>
                      <a:lnTo>
                        <a:pt x="3276" y="658"/>
                      </a:lnTo>
                      <a:lnTo>
                        <a:pt x="3305" y="679"/>
                      </a:lnTo>
                      <a:lnTo>
                        <a:pt x="3335" y="698"/>
                      </a:lnTo>
                      <a:lnTo>
                        <a:pt x="3367" y="718"/>
                      </a:lnTo>
                      <a:lnTo>
                        <a:pt x="3399" y="738"/>
                      </a:lnTo>
                      <a:lnTo>
                        <a:pt x="3433" y="757"/>
                      </a:lnTo>
                      <a:lnTo>
                        <a:pt x="3469" y="775"/>
                      </a:lnTo>
                      <a:lnTo>
                        <a:pt x="3505" y="794"/>
                      </a:lnTo>
                      <a:lnTo>
                        <a:pt x="3543" y="811"/>
                      </a:lnTo>
                      <a:lnTo>
                        <a:pt x="3583" y="828"/>
                      </a:lnTo>
                      <a:lnTo>
                        <a:pt x="3632" y="849"/>
                      </a:lnTo>
                      <a:lnTo>
                        <a:pt x="3681" y="867"/>
                      </a:lnTo>
                      <a:lnTo>
                        <a:pt x="3729" y="883"/>
                      </a:lnTo>
                      <a:lnTo>
                        <a:pt x="3777" y="897"/>
                      </a:lnTo>
                      <a:lnTo>
                        <a:pt x="3737" y="992"/>
                      </a:lnTo>
                      <a:lnTo>
                        <a:pt x="3670" y="969"/>
                      </a:lnTo>
                      <a:lnTo>
                        <a:pt x="3605" y="946"/>
                      </a:lnTo>
                      <a:lnTo>
                        <a:pt x="3541" y="920"/>
                      </a:lnTo>
                      <a:lnTo>
                        <a:pt x="3477" y="891"/>
                      </a:lnTo>
                      <a:lnTo>
                        <a:pt x="3414" y="861"/>
                      </a:lnTo>
                      <a:lnTo>
                        <a:pt x="3353" y="828"/>
                      </a:lnTo>
                      <a:lnTo>
                        <a:pt x="3295" y="794"/>
                      </a:lnTo>
                      <a:lnTo>
                        <a:pt x="3238" y="757"/>
                      </a:lnTo>
                      <a:lnTo>
                        <a:pt x="3184" y="719"/>
                      </a:lnTo>
                      <a:lnTo>
                        <a:pt x="3135" y="681"/>
                      </a:lnTo>
                      <a:lnTo>
                        <a:pt x="3111" y="662"/>
                      </a:lnTo>
                      <a:lnTo>
                        <a:pt x="3089" y="641"/>
                      </a:lnTo>
                      <a:lnTo>
                        <a:pt x="3067" y="621"/>
                      </a:lnTo>
                      <a:lnTo>
                        <a:pt x="3046" y="600"/>
                      </a:lnTo>
                      <a:lnTo>
                        <a:pt x="3026" y="579"/>
                      </a:lnTo>
                      <a:lnTo>
                        <a:pt x="3008" y="558"/>
                      </a:lnTo>
                      <a:lnTo>
                        <a:pt x="2989" y="537"/>
                      </a:lnTo>
                      <a:lnTo>
                        <a:pt x="2974" y="515"/>
                      </a:lnTo>
                      <a:lnTo>
                        <a:pt x="2959" y="494"/>
                      </a:lnTo>
                      <a:lnTo>
                        <a:pt x="2945" y="472"/>
                      </a:lnTo>
                      <a:lnTo>
                        <a:pt x="2933" y="451"/>
                      </a:lnTo>
                      <a:lnTo>
                        <a:pt x="2923" y="428"/>
                      </a:lnTo>
                      <a:lnTo>
                        <a:pt x="2541" y="1327"/>
                      </a:lnTo>
                      <a:lnTo>
                        <a:pt x="2488" y="1317"/>
                      </a:lnTo>
                      <a:lnTo>
                        <a:pt x="2435" y="1309"/>
                      </a:lnTo>
                      <a:lnTo>
                        <a:pt x="2911" y="187"/>
                      </a:lnTo>
                      <a:lnTo>
                        <a:pt x="2920" y="169"/>
                      </a:lnTo>
                      <a:lnTo>
                        <a:pt x="2930" y="151"/>
                      </a:lnTo>
                      <a:lnTo>
                        <a:pt x="2942" y="134"/>
                      </a:lnTo>
                      <a:lnTo>
                        <a:pt x="2957" y="118"/>
                      </a:lnTo>
                      <a:lnTo>
                        <a:pt x="2974" y="100"/>
                      </a:lnTo>
                      <a:lnTo>
                        <a:pt x="2993" y="83"/>
                      </a:lnTo>
                      <a:lnTo>
                        <a:pt x="3016" y="68"/>
                      </a:lnTo>
                      <a:lnTo>
                        <a:pt x="3038" y="55"/>
                      </a:lnTo>
                      <a:lnTo>
                        <a:pt x="3063" y="43"/>
                      </a:lnTo>
                      <a:lnTo>
                        <a:pt x="3088" y="33"/>
                      </a:lnTo>
                      <a:lnTo>
                        <a:pt x="3115" y="24"/>
                      </a:lnTo>
                      <a:lnTo>
                        <a:pt x="3143" y="16"/>
                      </a:lnTo>
                      <a:lnTo>
                        <a:pt x="3173" y="10"/>
                      </a:lnTo>
                      <a:lnTo>
                        <a:pt x="3203" y="5"/>
                      </a:lnTo>
                      <a:lnTo>
                        <a:pt x="3234" y="3"/>
                      </a:lnTo>
                      <a:lnTo>
                        <a:pt x="3267" y="1"/>
                      </a:lnTo>
                      <a:lnTo>
                        <a:pt x="3301" y="0"/>
                      </a:lnTo>
                      <a:lnTo>
                        <a:pt x="3335" y="1"/>
                      </a:lnTo>
                      <a:lnTo>
                        <a:pt x="3370" y="3"/>
                      </a:lnTo>
                      <a:lnTo>
                        <a:pt x="3406" y="7"/>
                      </a:lnTo>
                      <a:lnTo>
                        <a:pt x="3462" y="12"/>
                      </a:lnTo>
                      <a:lnTo>
                        <a:pt x="3521" y="21"/>
                      </a:lnTo>
                      <a:lnTo>
                        <a:pt x="3580" y="33"/>
                      </a:lnTo>
                      <a:lnTo>
                        <a:pt x="3639" y="47"/>
                      </a:lnTo>
                      <a:lnTo>
                        <a:pt x="3699" y="64"/>
                      </a:lnTo>
                      <a:lnTo>
                        <a:pt x="3760" y="84"/>
                      </a:lnTo>
                      <a:lnTo>
                        <a:pt x="3820" y="105"/>
                      </a:lnTo>
                      <a:lnTo>
                        <a:pt x="3879" y="130"/>
                      </a:lnTo>
                      <a:lnTo>
                        <a:pt x="3928" y="151"/>
                      </a:lnTo>
                      <a:lnTo>
                        <a:pt x="3977" y="174"/>
                      </a:lnTo>
                      <a:lnTo>
                        <a:pt x="4024" y="199"/>
                      </a:lnTo>
                      <a:lnTo>
                        <a:pt x="4070" y="224"/>
                      </a:lnTo>
                      <a:lnTo>
                        <a:pt x="4114" y="252"/>
                      </a:lnTo>
                      <a:lnTo>
                        <a:pt x="4158" y="279"/>
                      </a:lnTo>
                      <a:lnTo>
                        <a:pt x="4200" y="308"/>
                      </a:lnTo>
                      <a:lnTo>
                        <a:pt x="4239" y="337"/>
                      </a:lnTo>
                      <a:lnTo>
                        <a:pt x="4278" y="367"/>
                      </a:lnTo>
                      <a:lnTo>
                        <a:pt x="4315" y="398"/>
                      </a:lnTo>
                      <a:lnTo>
                        <a:pt x="4349" y="430"/>
                      </a:lnTo>
                      <a:lnTo>
                        <a:pt x="4382" y="461"/>
                      </a:lnTo>
                      <a:lnTo>
                        <a:pt x="4410" y="494"/>
                      </a:lnTo>
                      <a:lnTo>
                        <a:pt x="4438" y="527"/>
                      </a:lnTo>
                      <a:lnTo>
                        <a:pt x="4462" y="559"/>
                      </a:lnTo>
                      <a:lnTo>
                        <a:pt x="4481" y="593"/>
                      </a:lnTo>
                      <a:lnTo>
                        <a:pt x="4498" y="627"/>
                      </a:lnTo>
                      <a:lnTo>
                        <a:pt x="4506" y="644"/>
                      </a:lnTo>
                      <a:lnTo>
                        <a:pt x="4513" y="662"/>
                      </a:lnTo>
                      <a:lnTo>
                        <a:pt x="4518" y="679"/>
                      </a:lnTo>
                      <a:lnTo>
                        <a:pt x="4522" y="696"/>
                      </a:lnTo>
                      <a:lnTo>
                        <a:pt x="4526" y="713"/>
                      </a:lnTo>
                      <a:lnTo>
                        <a:pt x="4528" y="728"/>
                      </a:lnTo>
                      <a:lnTo>
                        <a:pt x="4530" y="745"/>
                      </a:lnTo>
                      <a:lnTo>
                        <a:pt x="4531" y="762"/>
                      </a:lnTo>
                      <a:lnTo>
                        <a:pt x="4530" y="779"/>
                      </a:lnTo>
                      <a:lnTo>
                        <a:pt x="4528" y="796"/>
                      </a:lnTo>
                      <a:lnTo>
                        <a:pt x="4526" y="813"/>
                      </a:lnTo>
                      <a:lnTo>
                        <a:pt x="4522" y="831"/>
                      </a:lnTo>
                      <a:lnTo>
                        <a:pt x="4517" y="846"/>
                      </a:lnTo>
                      <a:lnTo>
                        <a:pt x="4511" y="863"/>
                      </a:lnTo>
                      <a:lnTo>
                        <a:pt x="4510" y="865"/>
                      </a:lnTo>
                      <a:lnTo>
                        <a:pt x="4510" y="866"/>
                      </a:lnTo>
                      <a:lnTo>
                        <a:pt x="4509" y="867"/>
                      </a:lnTo>
                      <a:lnTo>
                        <a:pt x="4418" y="1085"/>
                      </a:lnTo>
                      <a:lnTo>
                        <a:pt x="4344" y="1269"/>
                      </a:lnTo>
                      <a:lnTo>
                        <a:pt x="4281" y="1428"/>
                      </a:lnTo>
                      <a:lnTo>
                        <a:pt x="4230" y="1560"/>
                      </a:lnTo>
                      <a:close/>
                    </a:path>
                  </a:pathLst>
                </a:custGeom>
                <a:solidFill>
                  <a:schemeClr val="accent1"/>
                </a:solidFill>
                <a:ln w="9525">
                  <a:noFill/>
                  <a:round/>
                  <a:headEnd/>
                  <a:tailEnd/>
                </a:ln>
              </p:spPr>
              <p:txBody>
                <a:bodyPr/>
                <a:lstStyle/>
                <a:p>
                  <a:pPr defTabSz="791108">
                    <a:defRPr/>
                  </a:pPr>
                  <a:endParaRPr lang="de-DE" sz="1557" kern="0" dirty="0">
                    <a:solidFill>
                      <a:srgbClr val="646464"/>
                    </a:solidFill>
                    <a:latin typeface="+mj-lt"/>
                  </a:endParaRPr>
                </a:p>
              </p:txBody>
            </p:sp>
          </p:grpSp>
          <p:grpSp>
            <p:nvGrpSpPr>
              <p:cNvPr id="175" name="Group 174"/>
              <p:cNvGrpSpPr/>
              <p:nvPr/>
            </p:nvGrpSpPr>
            <p:grpSpPr>
              <a:xfrm>
                <a:off x="6490250" y="3497826"/>
                <a:ext cx="646887" cy="646887"/>
                <a:chOff x="6463354" y="3585238"/>
                <a:chExt cx="646887" cy="646887"/>
              </a:xfrm>
            </p:grpSpPr>
            <p:sp>
              <p:nvSpPr>
                <p:cNvPr id="181" name="Oval 180"/>
                <p:cNvSpPr/>
                <p:nvPr/>
              </p:nvSpPr>
              <p:spPr>
                <a:xfrm>
                  <a:off x="6463354" y="3585238"/>
                  <a:ext cx="646887" cy="646887"/>
                </a:xfrm>
                <a:prstGeom prst="ellipse">
                  <a:avLst/>
                </a:prstGeom>
                <a:solidFill>
                  <a:srgbClr val="999999"/>
                </a:solidFill>
                <a:ln w="12700">
                  <a:noFill/>
                  <a:prstDash val="solid"/>
                  <a:round/>
                  <a:headEnd/>
                  <a:tailEnd/>
                </a:ln>
              </p:spPr>
              <p:txBody>
                <a:bodyPr wrap="none" lIns="0" tIns="0" rIns="0" bIns="400518" anchor="t"/>
                <a:lstStyle/>
                <a:p>
                  <a:pPr algn="ctr" defTabSz="558057">
                    <a:lnSpc>
                      <a:spcPct val="90000"/>
                    </a:lnSpc>
                    <a:defRPr/>
                  </a:pPr>
                  <a:r>
                    <a:rPr lang="de-DE" sz="716" b="1" kern="0" dirty="0">
                      <a:solidFill>
                        <a:srgbClr val="F0F0F0"/>
                      </a:solidFill>
                      <a:latin typeface="+mj-lt"/>
                    </a:rPr>
                    <a:t>Contract</a:t>
                  </a:r>
                  <a:br>
                    <a:rPr lang="de-DE" sz="716" b="1" kern="0" dirty="0">
                      <a:solidFill>
                        <a:srgbClr val="F0F0F0"/>
                      </a:solidFill>
                      <a:latin typeface="+mj-lt"/>
                    </a:rPr>
                  </a:br>
                  <a:r>
                    <a:rPr lang="de-DE" sz="716" b="1" kern="0" dirty="0" smtClean="0">
                      <a:solidFill>
                        <a:srgbClr val="F0F0F0"/>
                      </a:solidFill>
                      <a:latin typeface="+mj-lt"/>
                    </a:rPr>
                    <a:t>manufact</a:t>
                  </a:r>
                  <a:r>
                    <a:rPr lang="de-DE" sz="716" b="1" kern="0" dirty="0">
                      <a:solidFill>
                        <a:srgbClr val="F0F0F0"/>
                      </a:solidFill>
                      <a:latin typeface="+mj-lt"/>
                    </a:rPr>
                    <a:t>.</a:t>
                  </a:r>
                </a:p>
              </p:txBody>
            </p:sp>
            <p:sp>
              <p:nvSpPr>
                <p:cNvPr id="182" name="Freeform 55"/>
                <p:cNvSpPr>
                  <a:spLocks noChangeAspect="1" noEditPoints="1"/>
                </p:cNvSpPr>
                <p:nvPr/>
              </p:nvSpPr>
              <p:spPr bwMode="auto">
                <a:xfrm>
                  <a:off x="6563628" y="3928055"/>
                  <a:ext cx="433303" cy="245326"/>
                </a:xfrm>
                <a:custGeom>
                  <a:avLst/>
                  <a:gdLst>
                    <a:gd name="T0" fmla="*/ 2147483647 w 6736"/>
                    <a:gd name="T1" fmla="*/ 2147483647 h 3805"/>
                    <a:gd name="T2" fmla="*/ 2147483647 w 6736"/>
                    <a:gd name="T3" fmla="*/ 2147483647 h 3805"/>
                    <a:gd name="T4" fmla="*/ 2147483647 w 6736"/>
                    <a:gd name="T5" fmla="*/ 2147483647 h 3805"/>
                    <a:gd name="T6" fmla="*/ 2147483647 w 6736"/>
                    <a:gd name="T7" fmla="*/ 2147483647 h 3805"/>
                    <a:gd name="T8" fmla="*/ 2147483647 w 6736"/>
                    <a:gd name="T9" fmla="*/ 2147483647 h 3805"/>
                    <a:gd name="T10" fmla="*/ 2147483647 w 6736"/>
                    <a:gd name="T11" fmla="*/ 2147483647 h 3805"/>
                    <a:gd name="T12" fmla="*/ 2147483647 w 6736"/>
                    <a:gd name="T13" fmla="*/ 2147483647 h 3805"/>
                    <a:gd name="T14" fmla="*/ 2147483647 w 6736"/>
                    <a:gd name="T15" fmla="*/ 2147483647 h 3805"/>
                    <a:gd name="T16" fmla="*/ 2147483647 w 6736"/>
                    <a:gd name="T17" fmla="*/ 2147483647 h 3805"/>
                    <a:gd name="T18" fmla="*/ 2147483647 w 6736"/>
                    <a:gd name="T19" fmla="*/ 2147483647 h 3805"/>
                    <a:gd name="T20" fmla="*/ 2147483647 w 6736"/>
                    <a:gd name="T21" fmla="*/ 2147483647 h 3805"/>
                    <a:gd name="T22" fmla="*/ 2147483647 w 6736"/>
                    <a:gd name="T23" fmla="*/ 2147483647 h 3805"/>
                    <a:gd name="T24" fmla="*/ 2147483647 w 6736"/>
                    <a:gd name="T25" fmla="*/ 2147483647 h 3805"/>
                    <a:gd name="T26" fmla="*/ 2147483647 w 6736"/>
                    <a:gd name="T27" fmla="*/ 2147483647 h 3805"/>
                    <a:gd name="T28" fmla="*/ 2147483647 w 6736"/>
                    <a:gd name="T29" fmla="*/ 2147483647 h 3805"/>
                    <a:gd name="T30" fmla="*/ 2147483647 w 6736"/>
                    <a:gd name="T31" fmla="*/ 2147483647 h 3805"/>
                    <a:gd name="T32" fmla="*/ 2147483647 w 6736"/>
                    <a:gd name="T33" fmla="*/ 2147483647 h 3805"/>
                    <a:gd name="T34" fmla="*/ 2147483647 w 6736"/>
                    <a:gd name="T35" fmla="*/ 2147483647 h 3805"/>
                    <a:gd name="T36" fmla="*/ 2147483647 w 6736"/>
                    <a:gd name="T37" fmla="*/ 2147483647 h 3805"/>
                    <a:gd name="T38" fmla="*/ 2147483647 w 6736"/>
                    <a:gd name="T39" fmla="*/ 2147483647 h 3805"/>
                    <a:gd name="T40" fmla="*/ 2147483647 w 6736"/>
                    <a:gd name="T41" fmla="*/ 2147483647 h 3805"/>
                    <a:gd name="T42" fmla="*/ 2147483647 w 6736"/>
                    <a:gd name="T43" fmla="*/ 2147483647 h 3805"/>
                    <a:gd name="T44" fmla="*/ 2147483647 w 6736"/>
                    <a:gd name="T45" fmla="*/ 2147483647 h 3805"/>
                    <a:gd name="T46" fmla="*/ 2147483647 w 6736"/>
                    <a:gd name="T47" fmla="*/ 2147483647 h 3805"/>
                    <a:gd name="T48" fmla="*/ 2147483647 w 6736"/>
                    <a:gd name="T49" fmla="*/ 2147483647 h 3805"/>
                    <a:gd name="T50" fmla="*/ 2147483647 w 6736"/>
                    <a:gd name="T51" fmla="*/ 2147483647 h 3805"/>
                    <a:gd name="T52" fmla="*/ 2147483647 w 6736"/>
                    <a:gd name="T53" fmla="*/ 2147483647 h 3805"/>
                    <a:gd name="T54" fmla="*/ 2147483647 w 6736"/>
                    <a:gd name="T55" fmla="*/ 2147483647 h 3805"/>
                    <a:gd name="T56" fmla="*/ 2147483647 w 6736"/>
                    <a:gd name="T57" fmla="*/ 2147483647 h 3805"/>
                    <a:gd name="T58" fmla="*/ 2147483647 w 6736"/>
                    <a:gd name="T59" fmla="*/ 2147483647 h 3805"/>
                    <a:gd name="T60" fmla="*/ 2147483647 w 6736"/>
                    <a:gd name="T61" fmla="*/ 2147483647 h 3805"/>
                    <a:gd name="T62" fmla="*/ 2147483647 w 6736"/>
                    <a:gd name="T63" fmla="*/ 2147483647 h 3805"/>
                    <a:gd name="T64" fmla="*/ 2147483647 w 6736"/>
                    <a:gd name="T65" fmla="*/ 2147483647 h 3805"/>
                    <a:gd name="T66" fmla="*/ 2147483647 w 6736"/>
                    <a:gd name="T67" fmla="*/ 2147483647 h 3805"/>
                    <a:gd name="T68" fmla="*/ 2147483647 w 6736"/>
                    <a:gd name="T69" fmla="*/ 2147483647 h 3805"/>
                    <a:gd name="T70" fmla="*/ 2147483647 w 6736"/>
                    <a:gd name="T71" fmla="*/ 2147483647 h 3805"/>
                    <a:gd name="T72" fmla="*/ 2147483647 w 6736"/>
                    <a:gd name="T73" fmla="*/ 2147483647 h 3805"/>
                    <a:gd name="T74" fmla="*/ 2147483647 w 6736"/>
                    <a:gd name="T75" fmla="*/ 2147483647 h 3805"/>
                    <a:gd name="T76" fmla="*/ 2147483647 w 6736"/>
                    <a:gd name="T77" fmla="*/ 2147483647 h 3805"/>
                    <a:gd name="T78" fmla="*/ 2147483647 w 6736"/>
                    <a:gd name="T79" fmla="*/ 2147483647 h 3805"/>
                    <a:gd name="T80" fmla="*/ 2147483647 w 6736"/>
                    <a:gd name="T81" fmla="*/ 2147483647 h 3805"/>
                    <a:gd name="T82" fmla="*/ 2147483647 w 6736"/>
                    <a:gd name="T83" fmla="*/ 2147483647 h 3805"/>
                    <a:gd name="T84" fmla="*/ 2147483647 w 6736"/>
                    <a:gd name="T85" fmla="*/ 2147483647 h 3805"/>
                    <a:gd name="T86" fmla="*/ 2147483647 w 6736"/>
                    <a:gd name="T87" fmla="*/ 2147483647 h 3805"/>
                    <a:gd name="T88" fmla="*/ 2147483647 w 6736"/>
                    <a:gd name="T89" fmla="*/ 2147483647 h 3805"/>
                    <a:gd name="T90" fmla="*/ 2147483647 w 6736"/>
                    <a:gd name="T91" fmla="*/ 2147483647 h 3805"/>
                    <a:gd name="T92" fmla="*/ 2147483647 w 6736"/>
                    <a:gd name="T93" fmla="*/ 2147483647 h 3805"/>
                    <a:gd name="T94" fmla="*/ 2147483647 w 6736"/>
                    <a:gd name="T95" fmla="*/ 2147483647 h 3805"/>
                    <a:gd name="T96" fmla="*/ 2147483647 w 6736"/>
                    <a:gd name="T97" fmla="*/ 2147483647 h 3805"/>
                    <a:gd name="T98" fmla="*/ 2147483647 w 6736"/>
                    <a:gd name="T99" fmla="*/ 2147483647 h 3805"/>
                    <a:gd name="T100" fmla="*/ 2147483647 w 6736"/>
                    <a:gd name="T101" fmla="*/ 2147483647 h 3805"/>
                    <a:gd name="T102" fmla="*/ 2147483647 w 6736"/>
                    <a:gd name="T103" fmla="*/ 2147483647 h 3805"/>
                    <a:gd name="T104" fmla="*/ 2147483647 w 6736"/>
                    <a:gd name="T105" fmla="*/ 2147483647 h 3805"/>
                    <a:gd name="T106" fmla="*/ 2147483647 w 6736"/>
                    <a:gd name="T107" fmla="*/ 2147483647 h 3805"/>
                    <a:gd name="T108" fmla="*/ 2147483647 w 6736"/>
                    <a:gd name="T109" fmla="*/ 2147483647 h 3805"/>
                    <a:gd name="T110" fmla="*/ 2147483647 w 6736"/>
                    <a:gd name="T111" fmla="*/ 2147483647 h 3805"/>
                    <a:gd name="T112" fmla="*/ 2147483647 w 6736"/>
                    <a:gd name="T113" fmla="*/ 2147483647 h 3805"/>
                    <a:gd name="T114" fmla="*/ 2147483647 w 6736"/>
                    <a:gd name="T115" fmla="*/ 2147483647 h 3805"/>
                    <a:gd name="T116" fmla="*/ 2147483647 w 6736"/>
                    <a:gd name="T117" fmla="*/ 2147483647 h 3805"/>
                    <a:gd name="T118" fmla="*/ 2147483647 w 6736"/>
                    <a:gd name="T119" fmla="*/ 2147483647 h 3805"/>
                    <a:gd name="T120" fmla="*/ 2147483647 w 6736"/>
                    <a:gd name="T121" fmla="*/ 2147483647 h 38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736"/>
                    <a:gd name="T184" fmla="*/ 0 h 3805"/>
                    <a:gd name="T185" fmla="*/ 6736 w 6736"/>
                    <a:gd name="T186" fmla="*/ 3805 h 38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736" h="3805">
                      <a:moveTo>
                        <a:pt x="1869" y="521"/>
                      </a:moveTo>
                      <a:lnTo>
                        <a:pt x="1869" y="550"/>
                      </a:lnTo>
                      <a:lnTo>
                        <a:pt x="1871" y="578"/>
                      </a:lnTo>
                      <a:lnTo>
                        <a:pt x="1874" y="605"/>
                      </a:lnTo>
                      <a:lnTo>
                        <a:pt x="1880" y="632"/>
                      </a:lnTo>
                      <a:lnTo>
                        <a:pt x="1889" y="657"/>
                      </a:lnTo>
                      <a:lnTo>
                        <a:pt x="1898" y="680"/>
                      </a:lnTo>
                      <a:lnTo>
                        <a:pt x="1910" y="701"/>
                      </a:lnTo>
                      <a:lnTo>
                        <a:pt x="1924" y="723"/>
                      </a:lnTo>
                      <a:lnTo>
                        <a:pt x="1939" y="742"/>
                      </a:lnTo>
                      <a:lnTo>
                        <a:pt x="1956" y="758"/>
                      </a:lnTo>
                      <a:lnTo>
                        <a:pt x="1974" y="774"/>
                      </a:lnTo>
                      <a:lnTo>
                        <a:pt x="1994" y="787"/>
                      </a:lnTo>
                      <a:lnTo>
                        <a:pt x="2013" y="799"/>
                      </a:lnTo>
                      <a:lnTo>
                        <a:pt x="2035" y="806"/>
                      </a:lnTo>
                      <a:lnTo>
                        <a:pt x="2058" y="813"/>
                      </a:lnTo>
                      <a:lnTo>
                        <a:pt x="2081" y="817"/>
                      </a:lnTo>
                      <a:lnTo>
                        <a:pt x="2104" y="819"/>
                      </a:lnTo>
                      <a:lnTo>
                        <a:pt x="2127" y="817"/>
                      </a:lnTo>
                      <a:lnTo>
                        <a:pt x="2149" y="813"/>
                      </a:lnTo>
                      <a:lnTo>
                        <a:pt x="2170" y="808"/>
                      </a:lnTo>
                      <a:lnTo>
                        <a:pt x="2191" y="799"/>
                      </a:lnTo>
                      <a:lnTo>
                        <a:pt x="2213" y="788"/>
                      </a:lnTo>
                      <a:lnTo>
                        <a:pt x="2230" y="776"/>
                      </a:lnTo>
                      <a:lnTo>
                        <a:pt x="2248" y="762"/>
                      </a:lnTo>
                      <a:lnTo>
                        <a:pt x="2266" y="746"/>
                      </a:lnTo>
                      <a:lnTo>
                        <a:pt x="2166" y="521"/>
                      </a:lnTo>
                      <a:lnTo>
                        <a:pt x="2410" y="521"/>
                      </a:lnTo>
                      <a:lnTo>
                        <a:pt x="2410" y="550"/>
                      </a:lnTo>
                      <a:lnTo>
                        <a:pt x="2409" y="584"/>
                      </a:lnTo>
                      <a:lnTo>
                        <a:pt x="2403" y="618"/>
                      </a:lnTo>
                      <a:lnTo>
                        <a:pt x="2396" y="650"/>
                      </a:lnTo>
                      <a:lnTo>
                        <a:pt x="2387" y="680"/>
                      </a:lnTo>
                      <a:lnTo>
                        <a:pt x="2375" y="710"/>
                      </a:lnTo>
                      <a:lnTo>
                        <a:pt x="2359" y="739"/>
                      </a:lnTo>
                      <a:lnTo>
                        <a:pt x="2341" y="765"/>
                      </a:lnTo>
                      <a:lnTo>
                        <a:pt x="2321" y="788"/>
                      </a:lnTo>
                      <a:lnTo>
                        <a:pt x="2300" y="812"/>
                      </a:lnTo>
                      <a:lnTo>
                        <a:pt x="2277" y="831"/>
                      </a:lnTo>
                      <a:lnTo>
                        <a:pt x="2252" y="849"/>
                      </a:lnTo>
                      <a:lnTo>
                        <a:pt x="2225" y="863"/>
                      </a:lnTo>
                      <a:lnTo>
                        <a:pt x="2197" y="874"/>
                      </a:lnTo>
                      <a:lnTo>
                        <a:pt x="2166" y="883"/>
                      </a:lnTo>
                      <a:lnTo>
                        <a:pt x="2136" y="888"/>
                      </a:lnTo>
                      <a:lnTo>
                        <a:pt x="2104" y="890"/>
                      </a:lnTo>
                      <a:lnTo>
                        <a:pt x="2072" y="888"/>
                      </a:lnTo>
                      <a:lnTo>
                        <a:pt x="2042" y="883"/>
                      </a:lnTo>
                      <a:lnTo>
                        <a:pt x="2012" y="874"/>
                      </a:lnTo>
                      <a:lnTo>
                        <a:pt x="1983" y="863"/>
                      </a:lnTo>
                      <a:lnTo>
                        <a:pt x="1956" y="849"/>
                      </a:lnTo>
                      <a:lnTo>
                        <a:pt x="1931" y="831"/>
                      </a:lnTo>
                      <a:lnTo>
                        <a:pt x="1908" y="812"/>
                      </a:lnTo>
                      <a:lnTo>
                        <a:pt x="1887" y="788"/>
                      </a:lnTo>
                      <a:lnTo>
                        <a:pt x="1867" y="765"/>
                      </a:lnTo>
                      <a:lnTo>
                        <a:pt x="1850" y="739"/>
                      </a:lnTo>
                      <a:lnTo>
                        <a:pt x="1834" y="710"/>
                      </a:lnTo>
                      <a:lnTo>
                        <a:pt x="1821" y="680"/>
                      </a:lnTo>
                      <a:lnTo>
                        <a:pt x="1812" y="650"/>
                      </a:lnTo>
                      <a:lnTo>
                        <a:pt x="1803" y="618"/>
                      </a:lnTo>
                      <a:lnTo>
                        <a:pt x="1800" y="584"/>
                      </a:lnTo>
                      <a:lnTo>
                        <a:pt x="1798" y="550"/>
                      </a:lnTo>
                      <a:lnTo>
                        <a:pt x="1798" y="521"/>
                      </a:lnTo>
                      <a:lnTo>
                        <a:pt x="1869" y="521"/>
                      </a:lnTo>
                      <a:close/>
                      <a:moveTo>
                        <a:pt x="2732" y="1420"/>
                      </a:moveTo>
                      <a:lnTo>
                        <a:pt x="2732" y="1420"/>
                      </a:lnTo>
                      <a:lnTo>
                        <a:pt x="2731" y="1410"/>
                      </a:lnTo>
                      <a:lnTo>
                        <a:pt x="2729" y="1399"/>
                      </a:lnTo>
                      <a:lnTo>
                        <a:pt x="2725" y="1388"/>
                      </a:lnTo>
                      <a:lnTo>
                        <a:pt x="2720" y="1377"/>
                      </a:lnTo>
                      <a:lnTo>
                        <a:pt x="2704" y="1354"/>
                      </a:lnTo>
                      <a:lnTo>
                        <a:pt x="2684" y="1329"/>
                      </a:lnTo>
                      <a:lnTo>
                        <a:pt x="2660" y="1306"/>
                      </a:lnTo>
                      <a:lnTo>
                        <a:pt x="2631" y="1283"/>
                      </a:lnTo>
                      <a:lnTo>
                        <a:pt x="2601" y="1262"/>
                      </a:lnTo>
                      <a:lnTo>
                        <a:pt x="2565" y="1240"/>
                      </a:lnTo>
                      <a:lnTo>
                        <a:pt x="2465" y="1185"/>
                      </a:lnTo>
                      <a:lnTo>
                        <a:pt x="2465" y="1310"/>
                      </a:lnTo>
                      <a:lnTo>
                        <a:pt x="2465" y="1853"/>
                      </a:lnTo>
                      <a:lnTo>
                        <a:pt x="1905" y="1694"/>
                      </a:lnTo>
                      <a:lnTo>
                        <a:pt x="1905" y="2093"/>
                      </a:lnTo>
                      <a:lnTo>
                        <a:pt x="2261" y="2283"/>
                      </a:lnTo>
                      <a:lnTo>
                        <a:pt x="2303" y="2305"/>
                      </a:lnTo>
                      <a:lnTo>
                        <a:pt x="2346" y="2323"/>
                      </a:lnTo>
                      <a:lnTo>
                        <a:pt x="2389" y="2339"/>
                      </a:lnTo>
                      <a:lnTo>
                        <a:pt x="2430" y="2351"/>
                      </a:lnTo>
                      <a:lnTo>
                        <a:pt x="2471" y="2360"/>
                      </a:lnTo>
                      <a:lnTo>
                        <a:pt x="2490" y="2363"/>
                      </a:lnTo>
                      <a:lnTo>
                        <a:pt x="2510" y="2365"/>
                      </a:lnTo>
                      <a:lnTo>
                        <a:pt x="2528" y="2365"/>
                      </a:lnTo>
                      <a:lnTo>
                        <a:pt x="2547" y="2363"/>
                      </a:lnTo>
                      <a:lnTo>
                        <a:pt x="2563" y="2362"/>
                      </a:lnTo>
                      <a:lnTo>
                        <a:pt x="2581" y="2358"/>
                      </a:lnTo>
                      <a:lnTo>
                        <a:pt x="2597" y="2353"/>
                      </a:lnTo>
                      <a:lnTo>
                        <a:pt x="2613" y="2346"/>
                      </a:lnTo>
                      <a:lnTo>
                        <a:pt x="2629" y="2339"/>
                      </a:lnTo>
                      <a:lnTo>
                        <a:pt x="2643" y="2328"/>
                      </a:lnTo>
                      <a:lnTo>
                        <a:pt x="2656" y="2317"/>
                      </a:lnTo>
                      <a:lnTo>
                        <a:pt x="2668" y="2303"/>
                      </a:lnTo>
                      <a:lnTo>
                        <a:pt x="2681" y="2289"/>
                      </a:lnTo>
                      <a:lnTo>
                        <a:pt x="2690" y="2273"/>
                      </a:lnTo>
                      <a:lnTo>
                        <a:pt x="2700" y="2253"/>
                      </a:lnTo>
                      <a:lnTo>
                        <a:pt x="2708" y="2232"/>
                      </a:lnTo>
                      <a:lnTo>
                        <a:pt x="2715" y="2210"/>
                      </a:lnTo>
                      <a:lnTo>
                        <a:pt x="2722" y="2185"/>
                      </a:lnTo>
                      <a:lnTo>
                        <a:pt x="2725" y="2159"/>
                      </a:lnTo>
                      <a:lnTo>
                        <a:pt x="2729" y="2129"/>
                      </a:lnTo>
                      <a:lnTo>
                        <a:pt x="2732" y="2098"/>
                      </a:lnTo>
                      <a:lnTo>
                        <a:pt x="2732" y="2064"/>
                      </a:lnTo>
                      <a:lnTo>
                        <a:pt x="2732" y="1420"/>
                      </a:lnTo>
                      <a:close/>
                      <a:moveTo>
                        <a:pt x="867" y="1652"/>
                      </a:moveTo>
                      <a:lnTo>
                        <a:pt x="1121" y="1652"/>
                      </a:lnTo>
                      <a:lnTo>
                        <a:pt x="1121" y="1639"/>
                      </a:lnTo>
                      <a:lnTo>
                        <a:pt x="1118" y="1627"/>
                      </a:lnTo>
                      <a:lnTo>
                        <a:pt x="1114" y="1614"/>
                      </a:lnTo>
                      <a:lnTo>
                        <a:pt x="1111" y="1604"/>
                      </a:lnTo>
                      <a:lnTo>
                        <a:pt x="1105" y="1593"/>
                      </a:lnTo>
                      <a:lnTo>
                        <a:pt x="1098" y="1582"/>
                      </a:lnTo>
                      <a:lnTo>
                        <a:pt x="1091" y="1571"/>
                      </a:lnTo>
                      <a:lnTo>
                        <a:pt x="1082" y="1563"/>
                      </a:lnTo>
                      <a:lnTo>
                        <a:pt x="1073" y="1555"/>
                      </a:lnTo>
                      <a:lnTo>
                        <a:pt x="1065" y="1548"/>
                      </a:lnTo>
                      <a:lnTo>
                        <a:pt x="1054" y="1541"/>
                      </a:lnTo>
                      <a:lnTo>
                        <a:pt x="1043" y="1536"/>
                      </a:lnTo>
                      <a:lnTo>
                        <a:pt x="1031" y="1532"/>
                      </a:lnTo>
                      <a:lnTo>
                        <a:pt x="1020" y="1529"/>
                      </a:lnTo>
                      <a:lnTo>
                        <a:pt x="1008" y="1527"/>
                      </a:lnTo>
                      <a:lnTo>
                        <a:pt x="993" y="1527"/>
                      </a:lnTo>
                      <a:lnTo>
                        <a:pt x="981" y="1527"/>
                      </a:lnTo>
                      <a:lnTo>
                        <a:pt x="968" y="1529"/>
                      </a:lnTo>
                      <a:lnTo>
                        <a:pt x="956" y="1532"/>
                      </a:lnTo>
                      <a:lnTo>
                        <a:pt x="945" y="1536"/>
                      </a:lnTo>
                      <a:lnTo>
                        <a:pt x="935" y="1541"/>
                      </a:lnTo>
                      <a:lnTo>
                        <a:pt x="924" y="1548"/>
                      </a:lnTo>
                      <a:lnTo>
                        <a:pt x="913" y="1555"/>
                      </a:lnTo>
                      <a:lnTo>
                        <a:pt x="904" y="1563"/>
                      </a:lnTo>
                      <a:lnTo>
                        <a:pt x="897" y="1571"/>
                      </a:lnTo>
                      <a:lnTo>
                        <a:pt x="888" y="1582"/>
                      </a:lnTo>
                      <a:lnTo>
                        <a:pt x="883" y="1593"/>
                      </a:lnTo>
                      <a:lnTo>
                        <a:pt x="878" y="1604"/>
                      </a:lnTo>
                      <a:lnTo>
                        <a:pt x="872" y="1614"/>
                      </a:lnTo>
                      <a:lnTo>
                        <a:pt x="869" y="1627"/>
                      </a:lnTo>
                      <a:lnTo>
                        <a:pt x="867" y="1639"/>
                      </a:lnTo>
                      <a:lnTo>
                        <a:pt x="867" y="1652"/>
                      </a:lnTo>
                      <a:close/>
                      <a:moveTo>
                        <a:pt x="725" y="2500"/>
                      </a:moveTo>
                      <a:lnTo>
                        <a:pt x="725" y="1655"/>
                      </a:lnTo>
                      <a:lnTo>
                        <a:pt x="725" y="1652"/>
                      </a:lnTo>
                      <a:lnTo>
                        <a:pt x="725" y="1625"/>
                      </a:lnTo>
                      <a:lnTo>
                        <a:pt x="730" y="1598"/>
                      </a:lnTo>
                      <a:lnTo>
                        <a:pt x="737" y="1571"/>
                      </a:lnTo>
                      <a:lnTo>
                        <a:pt x="746" y="1548"/>
                      </a:lnTo>
                      <a:lnTo>
                        <a:pt x="757" y="1523"/>
                      </a:lnTo>
                      <a:lnTo>
                        <a:pt x="771" y="1502"/>
                      </a:lnTo>
                      <a:lnTo>
                        <a:pt x="787" y="1481"/>
                      </a:lnTo>
                      <a:lnTo>
                        <a:pt x="805" y="1463"/>
                      </a:lnTo>
                      <a:lnTo>
                        <a:pt x="822" y="1445"/>
                      </a:lnTo>
                      <a:lnTo>
                        <a:pt x="844" y="1429"/>
                      </a:lnTo>
                      <a:lnTo>
                        <a:pt x="865" y="1417"/>
                      </a:lnTo>
                      <a:lnTo>
                        <a:pt x="890" y="1406"/>
                      </a:lnTo>
                      <a:lnTo>
                        <a:pt x="913" y="1397"/>
                      </a:lnTo>
                      <a:lnTo>
                        <a:pt x="940" y="1390"/>
                      </a:lnTo>
                      <a:lnTo>
                        <a:pt x="967" y="1386"/>
                      </a:lnTo>
                      <a:lnTo>
                        <a:pt x="993" y="1385"/>
                      </a:lnTo>
                      <a:lnTo>
                        <a:pt x="1022" y="1386"/>
                      </a:lnTo>
                      <a:lnTo>
                        <a:pt x="1048" y="1390"/>
                      </a:lnTo>
                      <a:lnTo>
                        <a:pt x="1073" y="1397"/>
                      </a:lnTo>
                      <a:lnTo>
                        <a:pt x="1098" y="1406"/>
                      </a:lnTo>
                      <a:lnTo>
                        <a:pt x="1121" y="1417"/>
                      </a:lnTo>
                      <a:lnTo>
                        <a:pt x="1145" y="1429"/>
                      </a:lnTo>
                      <a:lnTo>
                        <a:pt x="1164" y="1445"/>
                      </a:lnTo>
                      <a:lnTo>
                        <a:pt x="1184" y="1463"/>
                      </a:lnTo>
                      <a:lnTo>
                        <a:pt x="1202" y="1481"/>
                      </a:lnTo>
                      <a:lnTo>
                        <a:pt x="1218" y="1502"/>
                      </a:lnTo>
                      <a:lnTo>
                        <a:pt x="1230" y="1523"/>
                      </a:lnTo>
                      <a:lnTo>
                        <a:pt x="1243" y="1548"/>
                      </a:lnTo>
                      <a:lnTo>
                        <a:pt x="1251" y="1571"/>
                      </a:lnTo>
                      <a:lnTo>
                        <a:pt x="1259" y="1598"/>
                      </a:lnTo>
                      <a:lnTo>
                        <a:pt x="1262" y="1625"/>
                      </a:lnTo>
                      <a:lnTo>
                        <a:pt x="1264" y="1652"/>
                      </a:lnTo>
                      <a:lnTo>
                        <a:pt x="1513" y="1652"/>
                      </a:lnTo>
                      <a:lnTo>
                        <a:pt x="1712" y="1310"/>
                      </a:lnTo>
                      <a:lnTo>
                        <a:pt x="1712" y="1167"/>
                      </a:lnTo>
                      <a:lnTo>
                        <a:pt x="1565" y="1255"/>
                      </a:lnTo>
                      <a:lnTo>
                        <a:pt x="1536" y="1274"/>
                      </a:lnTo>
                      <a:lnTo>
                        <a:pt x="1508" y="1296"/>
                      </a:lnTo>
                      <a:lnTo>
                        <a:pt x="1485" y="1317"/>
                      </a:lnTo>
                      <a:lnTo>
                        <a:pt x="1463" y="1340"/>
                      </a:lnTo>
                      <a:lnTo>
                        <a:pt x="1445" y="1361"/>
                      </a:lnTo>
                      <a:lnTo>
                        <a:pt x="1431" y="1383"/>
                      </a:lnTo>
                      <a:lnTo>
                        <a:pt x="1426" y="1394"/>
                      </a:lnTo>
                      <a:lnTo>
                        <a:pt x="1422" y="1402"/>
                      </a:lnTo>
                      <a:lnTo>
                        <a:pt x="1419" y="1413"/>
                      </a:lnTo>
                      <a:lnTo>
                        <a:pt x="1419" y="1424"/>
                      </a:lnTo>
                      <a:lnTo>
                        <a:pt x="1413" y="1500"/>
                      </a:lnTo>
                      <a:lnTo>
                        <a:pt x="1271" y="1500"/>
                      </a:lnTo>
                      <a:lnTo>
                        <a:pt x="1276" y="1415"/>
                      </a:lnTo>
                      <a:lnTo>
                        <a:pt x="1278" y="1395"/>
                      </a:lnTo>
                      <a:lnTo>
                        <a:pt x="1282" y="1374"/>
                      </a:lnTo>
                      <a:lnTo>
                        <a:pt x="1289" y="1354"/>
                      </a:lnTo>
                      <a:lnTo>
                        <a:pt x="1296" y="1335"/>
                      </a:lnTo>
                      <a:lnTo>
                        <a:pt x="1305" y="1317"/>
                      </a:lnTo>
                      <a:lnTo>
                        <a:pt x="1316" y="1299"/>
                      </a:lnTo>
                      <a:lnTo>
                        <a:pt x="1328" y="1280"/>
                      </a:lnTo>
                      <a:lnTo>
                        <a:pt x="1342" y="1262"/>
                      </a:lnTo>
                      <a:lnTo>
                        <a:pt x="1356" y="1246"/>
                      </a:lnTo>
                      <a:lnTo>
                        <a:pt x="1372" y="1228"/>
                      </a:lnTo>
                      <a:lnTo>
                        <a:pt x="1406" y="1196"/>
                      </a:lnTo>
                      <a:lnTo>
                        <a:pt x="1444" y="1166"/>
                      </a:lnTo>
                      <a:lnTo>
                        <a:pt x="1485" y="1137"/>
                      </a:lnTo>
                      <a:lnTo>
                        <a:pt x="1712" y="1004"/>
                      </a:lnTo>
                      <a:lnTo>
                        <a:pt x="1712" y="941"/>
                      </a:lnTo>
                      <a:lnTo>
                        <a:pt x="1887" y="906"/>
                      </a:lnTo>
                      <a:lnTo>
                        <a:pt x="1887" y="1310"/>
                      </a:lnTo>
                      <a:lnTo>
                        <a:pt x="2291" y="1310"/>
                      </a:lnTo>
                      <a:lnTo>
                        <a:pt x="2291" y="906"/>
                      </a:lnTo>
                      <a:lnTo>
                        <a:pt x="2465" y="941"/>
                      </a:lnTo>
                      <a:lnTo>
                        <a:pt x="2465" y="1018"/>
                      </a:lnTo>
                      <a:lnTo>
                        <a:pt x="2635" y="1114"/>
                      </a:lnTo>
                      <a:lnTo>
                        <a:pt x="2683" y="1144"/>
                      </a:lnTo>
                      <a:lnTo>
                        <a:pt x="2704" y="1160"/>
                      </a:lnTo>
                      <a:lnTo>
                        <a:pt x="2727" y="1176"/>
                      </a:lnTo>
                      <a:lnTo>
                        <a:pt x="2747" y="1194"/>
                      </a:lnTo>
                      <a:lnTo>
                        <a:pt x="2768" y="1212"/>
                      </a:lnTo>
                      <a:lnTo>
                        <a:pt x="2786" y="1230"/>
                      </a:lnTo>
                      <a:lnTo>
                        <a:pt x="2804" y="1249"/>
                      </a:lnTo>
                      <a:lnTo>
                        <a:pt x="2818" y="1269"/>
                      </a:lnTo>
                      <a:lnTo>
                        <a:pt x="2832" y="1290"/>
                      </a:lnTo>
                      <a:lnTo>
                        <a:pt x="2845" y="1310"/>
                      </a:lnTo>
                      <a:lnTo>
                        <a:pt x="2855" y="1331"/>
                      </a:lnTo>
                      <a:lnTo>
                        <a:pt x="2864" y="1353"/>
                      </a:lnTo>
                      <a:lnTo>
                        <a:pt x="2870" y="1376"/>
                      </a:lnTo>
                      <a:lnTo>
                        <a:pt x="2873" y="1397"/>
                      </a:lnTo>
                      <a:lnTo>
                        <a:pt x="2875" y="1420"/>
                      </a:lnTo>
                      <a:lnTo>
                        <a:pt x="2875" y="2064"/>
                      </a:lnTo>
                      <a:lnTo>
                        <a:pt x="2875" y="2100"/>
                      </a:lnTo>
                      <a:lnTo>
                        <a:pt x="2873" y="2132"/>
                      </a:lnTo>
                      <a:lnTo>
                        <a:pt x="2870" y="2164"/>
                      </a:lnTo>
                      <a:lnTo>
                        <a:pt x="2866" y="2193"/>
                      </a:lnTo>
                      <a:lnTo>
                        <a:pt x="2862" y="2221"/>
                      </a:lnTo>
                      <a:lnTo>
                        <a:pt x="2857" y="2246"/>
                      </a:lnTo>
                      <a:lnTo>
                        <a:pt x="2850" y="2271"/>
                      </a:lnTo>
                      <a:lnTo>
                        <a:pt x="2843" y="2294"/>
                      </a:lnTo>
                      <a:lnTo>
                        <a:pt x="2834" y="2315"/>
                      </a:lnTo>
                      <a:lnTo>
                        <a:pt x="2825" y="2335"/>
                      </a:lnTo>
                      <a:lnTo>
                        <a:pt x="2816" y="2353"/>
                      </a:lnTo>
                      <a:lnTo>
                        <a:pt x="2805" y="2371"/>
                      </a:lnTo>
                      <a:lnTo>
                        <a:pt x="2795" y="2385"/>
                      </a:lnTo>
                      <a:lnTo>
                        <a:pt x="2782" y="2399"/>
                      </a:lnTo>
                      <a:lnTo>
                        <a:pt x="2770" y="2413"/>
                      </a:lnTo>
                      <a:lnTo>
                        <a:pt x="2756" y="2424"/>
                      </a:lnTo>
                      <a:lnTo>
                        <a:pt x="2741" y="2436"/>
                      </a:lnTo>
                      <a:lnTo>
                        <a:pt x="2727" y="2445"/>
                      </a:lnTo>
                      <a:lnTo>
                        <a:pt x="2711" y="2454"/>
                      </a:lnTo>
                      <a:lnTo>
                        <a:pt x="2695" y="2461"/>
                      </a:lnTo>
                      <a:lnTo>
                        <a:pt x="2661" y="2476"/>
                      </a:lnTo>
                      <a:lnTo>
                        <a:pt x="2626" y="2484"/>
                      </a:lnTo>
                      <a:lnTo>
                        <a:pt x="2588" y="2492"/>
                      </a:lnTo>
                      <a:lnTo>
                        <a:pt x="2549" y="2497"/>
                      </a:lnTo>
                      <a:lnTo>
                        <a:pt x="2508" y="2499"/>
                      </a:lnTo>
                      <a:lnTo>
                        <a:pt x="2465" y="2500"/>
                      </a:lnTo>
                      <a:lnTo>
                        <a:pt x="725" y="2500"/>
                      </a:lnTo>
                      <a:close/>
                      <a:moveTo>
                        <a:pt x="1572" y="1725"/>
                      </a:moveTo>
                      <a:lnTo>
                        <a:pt x="1572" y="2123"/>
                      </a:lnTo>
                      <a:lnTo>
                        <a:pt x="1593" y="2121"/>
                      </a:lnTo>
                      <a:lnTo>
                        <a:pt x="1613" y="2118"/>
                      </a:lnTo>
                      <a:lnTo>
                        <a:pt x="1631" y="2113"/>
                      </a:lnTo>
                      <a:lnTo>
                        <a:pt x="1648" y="2105"/>
                      </a:lnTo>
                      <a:lnTo>
                        <a:pt x="1666" y="2098"/>
                      </a:lnTo>
                      <a:lnTo>
                        <a:pt x="1682" y="2088"/>
                      </a:lnTo>
                      <a:lnTo>
                        <a:pt x="1696" y="2077"/>
                      </a:lnTo>
                      <a:lnTo>
                        <a:pt x="1711" y="2063"/>
                      </a:lnTo>
                      <a:lnTo>
                        <a:pt x="1723" y="2048"/>
                      </a:lnTo>
                      <a:lnTo>
                        <a:pt x="1734" y="2034"/>
                      </a:lnTo>
                      <a:lnTo>
                        <a:pt x="1745" y="2018"/>
                      </a:lnTo>
                      <a:lnTo>
                        <a:pt x="1752" y="2000"/>
                      </a:lnTo>
                      <a:lnTo>
                        <a:pt x="1759" y="1983"/>
                      </a:lnTo>
                      <a:lnTo>
                        <a:pt x="1764" y="1963"/>
                      </a:lnTo>
                      <a:lnTo>
                        <a:pt x="1766" y="1943"/>
                      </a:lnTo>
                      <a:lnTo>
                        <a:pt x="1768" y="1924"/>
                      </a:lnTo>
                      <a:lnTo>
                        <a:pt x="1766" y="1904"/>
                      </a:lnTo>
                      <a:lnTo>
                        <a:pt x="1764" y="1885"/>
                      </a:lnTo>
                      <a:lnTo>
                        <a:pt x="1759" y="1865"/>
                      </a:lnTo>
                      <a:lnTo>
                        <a:pt x="1752" y="1847"/>
                      </a:lnTo>
                      <a:lnTo>
                        <a:pt x="1745" y="1831"/>
                      </a:lnTo>
                      <a:lnTo>
                        <a:pt x="1734" y="1814"/>
                      </a:lnTo>
                      <a:lnTo>
                        <a:pt x="1723" y="1799"/>
                      </a:lnTo>
                      <a:lnTo>
                        <a:pt x="1711" y="1785"/>
                      </a:lnTo>
                      <a:lnTo>
                        <a:pt x="1696" y="1773"/>
                      </a:lnTo>
                      <a:lnTo>
                        <a:pt x="1682" y="1760"/>
                      </a:lnTo>
                      <a:lnTo>
                        <a:pt x="1666" y="1751"/>
                      </a:lnTo>
                      <a:lnTo>
                        <a:pt x="1648" y="1742"/>
                      </a:lnTo>
                      <a:lnTo>
                        <a:pt x="1631" y="1735"/>
                      </a:lnTo>
                      <a:lnTo>
                        <a:pt x="1613" y="1730"/>
                      </a:lnTo>
                      <a:lnTo>
                        <a:pt x="1593" y="1726"/>
                      </a:lnTo>
                      <a:lnTo>
                        <a:pt x="1572" y="1725"/>
                      </a:lnTo>
                      <a:close/>
                      <a:moveTo>
                        <a:pt x="1429" y="1794"/>
                      </a:moveTo>
                      <a:lnTo>
                        <a:pt x="867" y="1794"/>
                      </a:lnTo>
                      <a:lnTo>
                        <a:pt x="867" y="2358"/>
                      </a:lnTo>
                      <a:lnTo>
                        <a:pt x="1429" y="2358"/>
                      </a:lnTo>
                      <a:lnTo>
                        <a:pt x="1429" y="1794"/>
                      </a:lnTo>
                      <a:close/>
                      <a:moveTo>
                        <a:pt x="3987" y="520"/>
                      </a:moveTo>
                      <a:lnTo>
                        <a:pt x="3987" y="548"/>
                      </a:lnTo>
                      <a:lnTo>
                        <a:pt x="3989" y="577"/>
                      </a:lnTo>
                      <a:lnTo>
                        <a:pt x="3993" y="603"/>
                      </a:lnTo>
                      <a:lnTo>
                        <a:pt x="3998" y="630"/>
                      </a:lnTo>
                      <a:lnTo>
                        <a:pt x="4007" y="655"/>
                      </a:lnTo>
                      <a:lnTo>
                        <a:pt x="4016" y="678"/>
                      </a:lnTo>
                      <a:lnTo>
                        <a:pt x="4028" y="701"/>
                      </a:lnTo>
                      <a:lnTo>
                        <a:pt x="4043" y="721"/>
                      </a:lnTo>
                      <a:lnTo>
                        <a:pt x="4057" y="740"/>
                      </a:lnTo>
                      <a:lnTo>
                        <a:pt x="4075" y="756"/>
                      </a:lnTo>
                      <a:lnTo>
                        <a:pt x="4093" y="772"/>
                      </a:lnTo>
                      <a:lnTo>
                        <a:pt x="4112" y="785"/>
                      </a:lnTo>
                      <a:lnTo>
                        <a:pt x="4132" y="797"/>
                      </a:lnTo>
                      <a:lnTo>
                        <a:pt x="4153" y="806"/>
                      </a:lnTo>
                      <a:lnTo>
                        <a:pt x="4176" y="812"/>
                      </a:lnTo>
                      <a:lnTo>
                        <a:pt x="4199" y="817"/>
                      </a:lnTo>
                      <a:lnTo>
                        <a:pt x="4222" y="817"/>
                      </a:lnTo>
                      <a:lnTo>
                        <a:pt x="4246" y="817"/>
                      </a:lnTo>
                      <a:lnTo>
                        <a:pt x="4269" y="812"/>
                      </a:lnTo>
                      <a:lnTo>
                        <a:pt x="4290" y="806"/>
                      </a:lnTo>
                      <a:lnTo>
                        <a:pt x="4311" y="797"/>
                      </a:lnTo>
                      <a:lnTo>
                        <a:pt x="4333" y="785"/>
                      </a:lnTo>
                      <a:lnTo>
                        <a:pt x="4352" y="772"/>
                      </a:lnTo>
                      <a:lnTo>
                        <a:pt x="4370" y="756"/>
                      </a:lnTo>
                      <a:lnTo>
                        <a:pt x="4386" y="740"/>
                      </a:lnTo>
                      <a:lnTo>
                        <a:pt x="4402" y="721"/>
                      </a:lnTo>
                      <a:lnTo>
                        <a:pt x="4416" y="701"/>
                      </a:lnTo>
                      <a:lnTo>
                        <a:pt x="4427" y="678"/>
                      </a:lnTo>
                      <a:lnTo>
                        <a:pt x="4438" y="655"/>
                      </a:lnTo>
                      <a:lnTo>
                        <a:pt x="4447" y="630"/>
                      </a:lnTo>
                      <a:lnTo>
                        <a:pt x="4452" y="603"/>
                      </a:lnTo>
                      <a:lnTo>
                        <a:pt x="4456" y="577"/>
                      </a:lnTo>
                      <a:lnTo>
                        <a:pt x="4457" y="548"/>
                      </a:lnTo>
                      <a:lnTo>
                        <a:pt x="4457" y="520"/>
                      </a:lnTo>
                      <a:lnTo>
                        <a:pt x="4529" y="520"/>
                      </a:lnTo>
                      <a:lnTo>
                        <a:pt x="4529" y="548"/>
                      </a:lnTo>
                      <a:lnTo>
                        <a:pt x="4527" y="582"/>
                      </a:lnTo>
                      <a:lnTo>
                        <a:pt x="4522" y="616"/>
                      </a:lnTo>
                      <a:lnTo>
                        <a:pt x="4514" y="648"/>
                      </a:lnTo>
                      <a:lnTo>
                        <a:pt x="4506" y="678"/>
                      </a:lnTo>
                      <a:lnTo>
                        <a:pt x="4491" y="708"/>
                      </a:lnTo>
                      <a:lnTo>
                        <a:pt x="4477" y="737"/>
                      </a:lnTo>
                      <a:lnTo>
                        <a:pt x="4459" y="763"/>
                      </a:lnTo>
                      <a:lnTo>
                        <a:pt x="4440" y="787"/>
                      </a:lnTo>
                      <a:lnTo>
                        <a:pt x="4418" y="810"/>
                      </a:lnTo>
                      <a:lnTo>
                        <a:pt x="4395" y="829"/>
                      </a:lnTo>
                      <a:lnTo>
                        <a:pt x="4370" y="847"/>
                      </a:lnTo>
                      <a:lnTo>
                        <a:pt x="4344" y="861"/>
                      </a:lnTo>
                      <a:lnTo>
                        <a:pt x="4315" y="872"/>
                      </a:lnTo>
                      <a:lnTo>
                        <a:pt x="4285" y="881"/>
                      </a:lnTo>
                      <a:lnTo>
                        <a:pt x="4255" y="886"/>
                      </a:lnTo>
                      <a:lnTo>
                        <a:pt x="4222" y="888"/>
                      </a:lnTo>
                      <a:lnTo>
                        <a:pt x="4190" y="886"/>
                      </a:lnTo>
                      <a:lnTo>
                        <a:pt x="4160" y="881"/>
                      </a:lnTo>
                      <a:lnTo>
                        <a:pt x="4130" y="872"/>
                      </a:lnTo>
                      <a:lnTo>
                        <a:pt x="4101" y="861"/>
                      </a:lnTo>
                      <a:lnTo>
                        <a:pt x="4075" y="847"/>
                      </a:lnTo>
                      <a:lnTo>
                        <a:pt x="4050" y="829"/>
                      </a:lnTo>
                      <a:lnTo>
                        <a:pt x="4027" y="810"/>
                      </a:lnTo>
                      <a:lnTo>
                        <a:pt x="4004" y="787"/>
                      </a:lnTo>
                      <a:lnTo>
                        <a:pt x="3984" y="763"/>
                      </a:lnTo>
                      <a:lnTo>
                        <a:pt x="3968" y="737"/>
                      </a:lnTo>
                      <a:lnTo>
                        <a:pt x="3952" y="708"/>
                      </a:lnTo>
                      <a:lnTo>
                        <a:pt x="3939" y="678"/>
                      </a:lnTo>
                      <a:lnTo>
                        <a:pt x="3929" y="648"/>
                      </a:lnTo>
                      <a:lnTo>
                        <a:pt x="3922" y="616"/>
                      </a:lnTo>
                      <a:lnTo>
                        <a:pt x="3918" y="582"/>
                      </a:lnTo>
                      <a:lnTo>
                        <a:pt x="3916" y="548"/>
                      </a:lnTo>
                      <a:lnTo>
                        <a:pt x="3916" y="520"/>
                      </a:lnTo>
                      <a:lnTo>
                        <a:pt x="3987" y="520"/>
                      </a:lnTo>
                      <a:close/>
                      <a:moveTo>
                        <a:pt x="3900" y="450"/>
                      </a:moveTo>
                      <a:lnTo>
                        <a:pt x="3900" y="244"/>
                      </a:lnTo>
                      <a:lnTo>
                        <a:pt x="3902" y="205"/>
                      </a:lnTo>
                      <a:lnTo>
                        <a:pt x="3909" y="169"/>
                      </a:lnTo>
                      <a:lnTo>
                        <a:pt x="3913" y="153"/>
                      </a:lnTo>
                      <a:lnTo>
                        <a:pt x="3918" y="139"/>
                      </a:lnTo>
                      <a:lnTo>
                        <a:pt x="3923" y="125"/>
                      </a:lnTo>
                      <a:lnTo>
                        <a:pt x="3929" y="110"/>
                      </a:lnTo>
                      <a:lnTo>
                        <a:pt x="3936" y="100"/>
                      </a:lnTo>
                      <a:lnTo>
                        <a:pt x="3945" y="87"/>
                      </a:lnTo>
                      <a:lnTo>
                        <a:pt x="3963" y="68"/>
                      </a:lnTo>
                      <a:lnTo>
                        <a:pt x="3982" y="52"/>
                      </a:lnTo>
                      <a:lnTo>
                        <a:pt x="4005" y="37"/>
                      </a:lnTo>
                      <a:lnTo>
                        <a:pt x="4028" y="27"/>
                      </a:lnTo>
                      <a:lnTo>
                        <a:pt x="4055" y="18"/>
                      </a:lnTo>
                      <a:lnTo>
                        <a:pt x="4082" y="11"/>
                      </a:lnTo>
                      <a:lnTo>
                        <a:pt x="4109" y="5"/>
                      </a:lnTo>
                      <a:lnTo>
                        <a:pt x="4139" y="4"/>
                      </a:lnTo>
                      <a:lnTo>
                        <a:pt x="4167" y="0"/>
                      </a:lnTo>
                      <a:lnTo>
                        <a:pt x="4228" y="0"/>
                      </a:lnTo>
                      <a:lnTo>
                        <a:pt x="4287" y="0"/>
                      </a:lnTo>
                      <a:lnTo>
                        <a:pt x="4317" y="4"/>
                      </a:lnTo>
                      <a:lnTo>
                        <a:pt x="4345" y="5"/>
                      </a:lnTo>
                      <a:lnTo>
                        <a:pt x="4374" y="11"/>
                      </a:lnTo>
                      <a:lnTo>
                        <a:pt x="4400" y="18"/>
                      </a:lnTo>
                      <a:lnTo>
                        <a:pt x="4425" y="27"/>
                      </a:lnTo>
                      <a:lnTo>
                        <a:pt x="4450" y="37"/>
                      </a:lnTo>
                      <a:lnTo>
                        <a:pt x="4472" y="52"/>
                      </a:lnTo>
                      <a:lnTo>
                        <a:pt x="4491" y="68"/>
                      </a:lnTo>
                      <a:lnTo>
                        <a:pt x="4509" y="87"/>
                      </a:lnTo>
                      <a:lnTo>
                        <a:pt x="4518" y="100"/>
                      </a:lnTo>
                      <a:lnTo>
                        <a:pt x="4525" y="110"/>
                      </a:lnTo>
                      <a:lnTo>
                        <a:pt x="4532" y="125"/>
                      </a:lnTo>
                      <a:lnTo>
                        <a:pt x="4538" y="139"/>
                      </a:lnTo>
                      <a:lnTo>
                        <a:pt x="4541" y="153"/>
                      </a:lnTo>
                      <a:lnTo>
                        <a:pt x="4546" y="169"/>
                      </a:lnTo>
                      <a:lnTo>
                        <a:pt x="4552" y="205"/>
                      </a:lnTo>
                      <a:lnTo>
                        <a:pt x="4554" y="244"/>
                      </a:lnTo>
                      <a:lnTo>
                        <a:pt x="4554" y="450"/>
                      </a:lnTo>
                      <a:lnTo>
                        <a:pt x="3900" y="450"/>
                      </a:lnTo>
                      <a:close/>
                      <a:moveTo>
                        <a:pt x="3971" y="379"/>
                      </a:moveTo>
                      <a:lnTo>
                        <a:pt x="4482" y="379"/>
                      </a:lnTo>
                      <a:lnTo>
                        <a:pt x="4482" y="244"/>
                      </a:lnTo>
                      <a:lnTo>
                        <a:pt x="4481" y="217"/>
                      </a:lnTo>
                      <a:lnTo>
                        <a:pt x="4479" y="192"/>
                      </a:lnTo>
                      <a:lnTo>
                        <a:pt x="4473" y="171"/>
                      </a:lnTo>
                      <a:lnTo>
                        <a:pt x="4465" y="153"/>
                      </a:lnTo>
                      <a:lnTo>
                        <a:pt x="4456" y="137"/>
                      </a:lnTo>
                      <a:lnTo>
                        <a:pt x="4445" y="123"/>
                      </a:lnTo>
                      <a:lnTo>
                        <a:pt x="4431" y="110"/>
                      </a:lnTo>
                      <a:lnTo>
                        <a:pt x="4416" y="100"/>
                      </a:lnTo>
                      <a:lnTo>
                        <a:pt x="4399" y="93"/>
                      </a:lnTo>
                      <a:lnTo>
                        <a:pt x="4379" y="85"/>
                      </a:lnTo>
                      <a:lnTo>
                        <a:pt x="4358" y="80"/>
                      </a:lnTo>
                      <a:lnTo>
                        <a:pt x="4336" y="77"/>
                      </a:lnTo>
                      <a:lnTo>
                        <a:pt x="4311" y="73"/>
                      </a:lnTo>
                      <a:lnTo>
                        <a:pt x="4285" y="71"/>
                      </a:lnTo>
                      <a:lnTo>
                        <a:pt x="4228" y="71"/>
                      </a:lnTo>
                      <a:lnTo>
                        <a:pt x="4169" y="71"/>
                      </a:lnTo>
                      <a:lnTo>
                        <a:pt x="4144" y="73"/>
                      </a:lnTo>
                      <a:lnTo>
                        <a:pt x="4119" y="77"/>
                      </a:lnTo>
                      <a:lnTo>
                        <a:pt x="4096" y="80"/>
                      </a:lnTo>
                      <a:lnTo>
                        <a:pt x="4075" y="85"/>
                      </a:lnTo>
                      <a:lnTo>
                        <a:pt x="4055" y="93"/>
                      </a:lnTo>
                      <a:lnTo>
                        <a:pt x="4039" y="100"/>
                      </a:lnTo>
                      <a:lnTo>
                        <a:pt x="4023" y="110"/>
                      </a:lnTo>
                      <a:lnTo>
                        <a:pt x="4011" y="123"/>
                      </a:lnTo>
                      <a:lnTo>
                        <a:pt x="3998" y="137"/>
                      </a:lnTo>
                      <a:lnTo>
                        <a:pt x="3989" y="153"/>
                      </a:lnTo>
                      <a:lnTo>
                        <a:pt x="3982" y="171"/>
                      </a:lnTo>
                      <a:lnTo>
                        <a:pt x="3977" y="192"/>
                      </a:lnTo>
                      <a:lnTo>
                        <a:pt x="3973" y="217"/>
                      </a:lnTo>
                      <a:lnTo>
                        <a:pt x="3971" y="244"/>
                      </a:lnTo>
                      <a:lnTo>
                        <a:pt x="3971" y="379"/>
                      </a:lnTo>
                      <a:close/>
                      <a:moveTo>
                        <a:pt x="4219" y="3276"/>
                      </a:moveTo>
                      <a:lnTo>
                        <a:pt x="5864" y="3276"/>
                      </a:lnTo>
                      <a:lnTo>
                        <a:pt x="5358" y="3805"/>
                      </a:lnTo>
                      <a:lnTo>
                        <a:pt x="5255" y="3707"/>
                      </a:lnTo>
                      <a:lnTo>
                        <a:pt x="5531" y="3419"/>
                      </a:lnTo>
                      <a:lnTo>
                        <a:pt x="4219" y="3419"/>
                      </a:lnTo>
                      <a:lnTo>
                        <a:pt x="4219" y="3276"/>
                      </a:lnTo>
                      <a:close/>
                      <a:moveTo>
                        <a:pt x="2280" y="3276"/>
                      </a:moveTo>
                      <a:lnTo>
                        <a:pt x="3758" y="3276"/>
                      </a:lnTo>
                      <a:lnTo>
                        <a:pt x="3758" y="3419"/>
                      </a:lnTo>
                      <a:lnTo>
                        <a:pt x="2280" y="3419"/>
                      </a:lnTo>
                      <a:lnTo>
                        <a:pt x="2280" y="3276"/>
                      </a:lnTo>
                      <a:close/>
                      <a:moveTo>
                        <a:pt x="0" y="2162"/>
                      </a:moveTo>
                      <a:lnTo>
                        <a:pt x="1105" y="3276"/>
                      </a:lnTo>
                      <a:lnTo>
                        <a:pt x="1818" y="3276"/>
                      </a:lnTo>
                      <a:lnTo>
                        <a:pt x="1818" y="3419"/>
                      </a:lnTo>
                      <a:lnTo>
                        <a:pt x="1045" y="3419"/>
                      </a:lnTo>
                      <a:lnTo>
                        <a:pt x="0" y="2365"/>
                      </a:lnTo>
                      <a:lnTo>
                        <a:pt x="0" y="2162"/>
                      </a:lnTo>
                      <a:close/>
                      <a:moveTo>
                        <a:pt x="2353" y="379"/>
                      </a:moveTo>
                      <a:lnTo>
                        <a:pt x="2353" y="246"/>
                      </a:lnTo>
                      <a:lnTo>
                        <a:pt x="2353" y="217"/>
                      </a:lnTo>
                      <a:lnTo>
                        <a:pt x="2350" y="194"/>
                      </a:lnTo>
                      <a:lnTo>
                        <a:pt x="2344" y="173"/>
                      </a:lnTo>
                      <a:lnTo>
                        <a:pt x="2337" y="153"/>
                      </a:lnTo>
                      <a:lnTo>
                        <a:pt x="2328" y="137"/>
                      </a:lnTo>
                      <a:lnTo>
                        <a:pt x="2316" y="123"/>
                      </a:lnTo>
                      <a:lnTo>
                        <a:pt x="2303" y="112"/>
                      </a:lnTo>
                      <a:lnTo>
                        <a:pt x="2287" y="101"/>
                      </a:lnTo>
                      <a:lnTo>
                        <a:pt x="2270" y="93"/>
                      </a:lnTo>
                      <a:lnTo>
                        <a:pt x="2252" y="87"/>
                      </a:lnTo>
                      <a:lnTo>
                        <a:pt x="2230" y="82"/>
                      </a:lnTo>
                      <a:lnTo>
                        <a:pt x="2207" y="78"/>
                      </a:lnTo>
                      <a:lnTo>
                        <a:pt x="2182" y="75"/>
                      </a:lnTo>
                      <a:lnTo>
                        <a:pt x="2156" y="73"/>
                      </a:lnTo>
                      <a:lnTo>
                        <a:pt x="2099" y="71"/>
                      </a:lnTo>
                      <a:lnTo>
                        <a:pt x="2042" y="73"/>
                      </a:lnTo>
                      <a:lnTo>
                        <a:pt x="2015" y="75"/>
                      </a:lnTo>
                      <a:lnTo>
                        <a:pt x="1990" y="78"/>
                      </a:lnTo>
                      <a:lnTo>
                        <a:pt x="1967" y="82"/>
                      </a:lnTo>
                      <a:lnTo>
                        <a:pt x="1947" y="87"/>
                      </a:lnTo>
                      <a:lnTo>
                        <a:pt x="1928" y="93"/>
                      </a:lnTo>
                      <a:lnTo>
                        <a:pt x="1910" y="101"/>
                      </a:lnTo>
                      <a:lnTo>
                        <a:pt x="1896" y="112"/>
                      </a:lnTo>
                      <a:lnTo>
                        <a:pt x="1882" y="123"/>
                      </a:lnTo>
                      <a:lnTo>
                        <a:pt x="1871" y="137"/>
                      </a:lnTo>
                      <a:lnTo>
                        <a:pt x="1860" y="153"/>
                      </a:lnTo>
                      <a:lnTo>
                        <a:pt x="1853" y="173"/>
                      </a:lnTo>
                      <a:lnTo>
                        <a:pt x="1848" y="194"/>
                      </a:lnTo>
                      <a:lnTo>
                        <a:pt x="1844" y="217"/>
                      </a:lnTo>
                      <a:lnTo>
                        <a:pt x="1844" y="246"/>
                      </a:lnTo>
                      <a:lnTo>
                        <a:pt x="1844" y="379"/>
                      </a:lnTo>
                      <a:lnTo>
                        <a:pt x="2353" y="379"/>
                      </a:lnTo>
                      <a:close/>
                      <a:moveTo>
                        <a:pt x="2425" y="450"/>
                      </a:moveTo>
                      <a:lnTo>
                        <a:pt x="2245" y="450"/>
                      </a:lnTo>
                      <a:lnTo>
                        <a:pt x="1773" y="450"/>
                      </a:lnTo>
                      <a:lnTo>
                        <a:pt x="1629" y="450"/>
                      </a:lnTo>
                      <a:lnTo>
                        <a:pt x="1629" y="379"/>
                      </a:lnTo>
                      <a:lnTo>
                        <a:pt x="1773" y="379"/>
                      </a:lnTo>
                      <a:lnTo>
                        <a:pt x="1773" y="246"/>
                      </a:lnTo>
                      <a:lnTo>
                        <a:pt x="1775" y="205"/>
                      </a:lnTo>
                      <a:lnTo>
                        <a:pt x="1780" y="171"/>
                      </a:lnTo>
                      <a:lnTo>
                        <a:pt x="1784" y="155"/>
                      </a:lnTo>
                      <a:lnTo>
                        <a:pt x="1789" y="139"/>
                      </a:lnTo>
                      <a:lnTo>
                        <a:pt x="1794" y="125"/>
                      </a:lnTo>
                      <a:lnTo>
                        <a:pt x="1801" y="112"/>
                      </a:lnTo>
                      <a:lnTo>
                        <a:pt x="1809" y="100"/>
                      </a:lnTo>
                      <a:lnTo>
                        <a:pt x="1816" y="89"/>
                      </a:lnTo>
                      <a:lnTo>
                        <a:pt x="1834" y="69"/>
                      </a:lnTo>
                      <a:lnTo>
                        <a:pt x="1855" y="53"/>
                      </a:lnTo>
                      <a:lnTo>
                        <a:pt x="1876" y="39"/>
                      </a:lnTo>
                      <a:lnTo>
                        <a:pt x="1899" y="28"/>
                      </a:lnTo>
                      <a:lnTo>
                        <a:pt x="1926" y="20"/>
                      </a:lnTo>
                      <a:lnTo>
                        <a:pt x="1953" y="12"/>
                      </a:lnTo>
                      <a:lnTo>
                        <a:pt x="1981" y="7"/>
                      </a:lnTo>
                      <a:lnTo>
                        <a:pt x="2010" y="4"/>
                      </a:lnTo>
                      <a:lnTo>
                        <a:pt x="2040" y="2"/>
                      </a:lnTo>
                      <a:lnTo>
                        <a:pt x="2099" y="0"/>
                      </a:lnTo>
                      <a:lnTo>
                        <a:pt x="2159" y="2"/>
                      </a:lnTo>
                      <a:lnTo>
                        <a:pt x="2188" y="4"/>
                      </a:lnTo>
                      <a:lnTo>
                        <a:pt x="2216" y="7"/>
                      </a:lnTo>
                      <a:lnTo>
                        <a:pt x="2245" y="12"/>
                      </a:lnTo>
                      <a:lnTo>
                        <a:pt x="2271" y="20"/>
                      </a:lnTo>
                      <a:lnTo>
                        <a:pt x="2298" y="28"/>
                      </a:lnTo>
                      <a:lnTo>
                        <a:pt x="2321" y="39"/>
                      </a:lnTo>
                      <a:lnTo>
                        <a:pt x="2344" y="53"/>
                      </a:lnTo>
                      <a:lnTo>
                        <a:pt x="2364" y="69"/>
                      </a:lnTo>
                      <a:lnTo>
                        <a:pt x="2382" y="89"/>
                      </a:lnTo>
                      <a:lnTo>
                        <a:pt x="2389" y="100"/>
                      </a:lnTo>
                      <a:lnTo>
                        <a:pt x="2396" y="112"/>
                      </a:lnTo>
                      <a:lnTo>
                        <a:pt x="2403" y="126"/>
                      </a:lnTo>
                      <a:lnTo>
                        <a:pt x="2409" y="139"/>
                      </a:lnTo>
                      <a:lnTo>
                        <a:pt x="2414" y="155"/>
                      </a:lnTo>
                      <a:lnTo>
                        <a:pt x="2417" y="171"/>
                      </a:lnTo>
                      <a:lnTo>
                        <a:pt x="2423" y="205"/>
                      </a:lnTo>
                      <a:lnTo>
                        <a:pt x="2425" y="246"/>
                      </a:lnTo>
                      <a:lnTo>
                        <a:pt x="2425" y="450"/>
                      </a:lnTo>
                      <a:close/>
                      <a:moveTo>
                        <a:pt x="5615" y="1634"/>
                      </a:moveTo>
                      <a:lnTo>
                        <a:pt x="5622" y="1445"/>
                      </a:lnTo>
                      <a:lnTo>
                        <a:pt x="5606" y="1440"/>
                      </a:lnTo>
                      <a:lnTo>
                        <a:pt x="5590" y="1429"/>
                      </a:lnTo>
                      <a:lnTo>
                        <a:pt x="5575" y="1418"/>
                      </a:lnTo>
                      <a:lnTo>
                        <a:pt x="5563" y="1406"/>
                      </a:lnTo>
                      <a:lnTo>
                        <a:pt x="5554" y="1390"/>
                      </a:lnTo>
                      <a:lnTo>
                        <a:pt x="5547" y="1374"/>
                      </a:lnTo>
                      <a:lnTo>
                        <a:pt x="5542" y="1356"/>
                      </a:lnTo>
                      <a:lnTo>
                        <a:pt x="5542" y="1337"/>
                      </a:lnTo>
                      <a:lnTo>
                        <a:pt x="5542" y="1324"/>
                      </a:lnTo>
                      <a:lnTo>
                        <a:pt x="5543" y="1313"/>
                      </a:lnTo>
                      <a:lnTo>
                        <a:pt x="5545" y="1303"/>
                      </a:lnTo>
                      <a:lnTo>
                        <a:pt x="5550" y="1292"/>
                      </a:lnTo>
                      <a:lnTo>
                        <a:pt x="5554" y="1281"/>
                      </a:lnTo>
                      <a:lnTo>
                        <a:pt x="5559" y="1272"/>
                      </a:lnTo>
                      <a:lnTo>
                        <a:pt x="5574" y="1256"/>
                      </a:lnTo>
                      <a:lnTo>
                        <a:pt x="5591" y="1242"/>
                      </a:lnTo>
                      <a:lnTo>
                        <a:pt x="5600" y="1237"/>
                      </a:lnTo>
                      <a:lnTo>
                        <a:pt x="5611" y="1232"/>
                      </a:lnTo>
                      <a:lnTo>
                        <a:pt x="5620" y="1228"/>
                      </a:lnTo>
                      <a:lnTo>
                        <a:pt x="5632" y="1224"/>
                      </a:lnTo>
                      <a:lnTo>
                        <a:pt x="5643" y="1223"/>
                      </a:lnTo>
                      <a:lnTo>
                        <a:pt x="5655" y="1223"/>
                      </a:lnTo>
                      <a:lnTo>
                        <a:pt x="5666" y="1223"/>
                      </a:lnTo>
                      <a:lnTo>
                        <a:pt x="5677" y="1224"/>
                      </a:lnTo>
                      <a:lnTo>
                        <a:pt x="5689" y="1228"/>
                      </a:lnTo>
                      <a:lnTo>
                        <a:pt x="5698" y="1232"/>
                      </a:lnTo>
                      <a:lnTo>
                        <a:pt x="5709" y="1237"/>
                      </a:lnTo>
                      <a:lnTo>
                        <a:pt x="5718" y="1242"/>
                      </a:lnTo>
                      <a:lnTo>
                        <a:pt x="5736" y="1256"/>
                      </a:lnTo>
                      <a:lnTo>
                        <a:pt x="5750" y="1272"/>
                      </a:lnTo>
                      <a:lnTo>
                        <a:pt x="5755" y="1281"/>
                      </a:lnTo>
                      <a:lnTo>
                        <a:pt x="5759" y="1292"/>
                      </a:lnTo>
                      <a:lnTo>
                        <a:pt x="5764" y="1303"/>
                      </a:lnTo>
                      <a:lnTo>
                        <a:pt x="5766" y="1313"/>
                      </a:lnTo>
                      <a:lnTo>
                        <a:pt x="5768" y="1324"/>
                      </a:lnTo>
                      <a:lnTo>
                        <a:pt x="5769" y="1337"/>
                      </a:lnTo>
                      <a:lnTo>
                        <a:pt x="5768" y="1354"/>
                      </a:lnTo>
                      <a:lnTo>
                        <a:pt x="5764" y="1370"/>
                      </a:lnTo>
                      <a:lnTo>
                        <a:pt x="5757" y="1386"/>
                      </a:lnTo>
                      <a:lnTo>
                        <a:pt x="5748" y="1401"/>
                      </a:lnTo>
                      <a:lnTo>
                        <a:pt x="5737" y="1415"/>
                      </a:lnTo>
                      <a:lnTo>
                        <a:pt x="5725" y="1426"/>
                      </a:lnTo>
                      <a:lnTo>
                        <a:pt x="5712" y="1434"/>
                      </a:lnTo>
                      <a:lnTo>
                        <a:pt x="5696" y="1442"/>
                      </a:lnTo>
                      <a:lnTo>
                        <a:pt x="5709" y="1634"/>
                      </a:lnTo>
                      <a:lnTo>
                        <a:pt x="5901" y="1634"/>
                      </a:lnTo>
                      <a:lnTo>
                        <a:pt x="5842" y="1940"/>
                      </a:lnTo>
                      <a:lnTo>
                        <a:pt x="5835" y="1967"/>
                      </a:lnTo>
                      <a:lnTo>
                        <a:pt x="5826" y="1993"/>
                      </a:lnTo>
                      <a:lnTo>
                        <a:pt x="5814" y="2018"/>
                      </a:lnTo>
                      <a:lnTo>
                        <a:pt x="5798" y="2043"/>
                      </a:lnTo>
                      <a:lnTo>
                        <a:pt x="5780" y="2064"/>
                      </a:lnTo>
                      <a:lnTo>
                        <a:pt x="5760" y="2086"/>
                      </a:lnTo>
                      <a:lnTo>
                        <a:pt x="5741" y="2104"/>
                      </a:lnTo>
                      <a:lnTo>
                        <a:pt x="5718" y="2118"/>
                      </a:lnTo>
                      <a:lnTo>
                        <a:pt x="5718" y="2500"/>
                      </a:lnTo>
                      <a:lnTo>
                        <a:pt x="5609" y="2500"/>
                      </a:lnTo>
                      <a:lnTo>
                        <a:pt x="5609" y="2139"/>
                      </a:lnTo>
                      <a:lnTo>
                        <a:pt x="5485" y="2145"/>
                      </a:lnTo>
                      <a:lnTo>
                        <a:pt x="5485" y="2210"/>
                      </a:lnTo>
                      <a:lnTo>
                        <a:pt x="5191" y="2210"/>
                      </a:lnTo>
                      <a:lnTo>
                        <a:pt x="5173" y="2210"/>
                      </a:lnTo>
                      <a:lnTo>
                        <a:pt x="5153" y="2207"/>
                      </a:lnTo>
                      <a:lnTo>
                        <a:pt x="5111" y="2200"/>
                      </a:lnTo>
                      <a:lnTo>
                        <a:pt x="5068" y="2187"/>
                      </a:lnTo>
                      <a:lnTo>
                        <a:pt x="5022" y="2171"/>
                      </a:lnTo>
                      <a:lnTo>
                        <a:pt x="4977" y="2153"/>
                      </a:lnTo>
                      <a:lnTo>
                        <a:pt x="4935" y="2134"/>
                      </a:lnTo>
                      <a:lnTo>
                        <a:pt x="4858" y="2098"/>
                      </a:lnTo>
                      <a:lnTo>
                        <a:pt x="4858" y="2500"/>
                      </a:lnTo>
                      <a:lnTo>
                        <a:pt x="4361" y="2500"/>
                      </a:lnTo>
                      <a:lnTo>
                        <a:pt x="4361" y="1660"/>
                      </a:lnTo>
                      <a:lnTo>
                        <a:pt x="3747" y="1660"/>
                      </a:lnTo>
                      <a:lnTo>
                        <a:pt x="3858" y="1370"/>
                      </a:lnTo>
                      <a:lnTo>
                        <a:pt x="3858" y="1167"/>
                      </a:lnTo>
                      <a:lnTo>
                        <a:pt x="3751" y="1224"/>
                      </a:lnTo>
                      <a:lnTo>
                        <a:pt x="3719" y="1242"/>
                      </a:lnTo>
                      <a:lnTo>
                        <a:pt x="3692" y="1258"/>
                      </a:lnTo>
                      <a:lnTo>
                        <a:pt x="3669" y="1276"/>
                      </a:lnTo>
                      <a:lnTo>
                        <a:pt x="3649" y="1294"/>
                      </a:lnTo>
                      <a:lnTo>
                        <a:pt x="3635" y="1312"/>
                      </a:lnTo>
                      <a:lnTo>
                        <a:pt x="3623" y="1331"/>
                      </a:lnTo>
                      <a:lnTo>
                        <a:pt x="3619" y="1342"/>
                      </a:lnTo>
                      <a:lnTo>
                        <a:pt x="3615" y="1354"/>
                      </a:lnTo>
                      <a:lnTo>
                        <a:pt x="3614" y="1365"/>
                      </a:lnTo>
                      <a:lnTo>
                        <a:pt x="3612" y="1377"/>
                      </a:lnTo>
                      <a:lnTo>
                        <a:pt x="3594" y="1660"/>
                      </a:lnTo>
                      <a:lnTo>
                        <a:pt x="3452" y="1660"/>
                      </a:lnTo>
                      <a:lnTo>
                        <a:pt x="3469" y="1369"/>
                      </a:lnTo>
                      <a:lnTo>
                        <a:pt x="3473" y="1344"/>
                      </a:lnTo>
                      <a:lnTo>
                        <a:pt x="3477" y="1319"/>
                      </a:lnTo>
                      <a:lnTo>
                        <a:pt x="3484" y="1296"/>
                      </a:lnTo>
                      <a:lnTo>
                        <a:pt x="3491" y="1276"/>
                      </a:lnTo>
                      <a:lnTo>
                        <a:pt x="3502" y="1255"/>
                      </a:lnTo>
                      <a:lnTo>
                        <a:pt x="3512" y="1237"/>
                      </a:lnTo>
                      <a:lnTo>
                        <a:pt x="3525" y="1219"/>
                      </a:lnTo>
                      <a:lnTo>
                        <a:pt x="3539" y="1203"/>
                      </a:lnTo>
                      <a:lnTo>
                        <a:pt x="3555" y="1187"/>
                      </a:lnTo>
                      <a:lnTo>
                        <a:pt x="3573" y="1173"/>
                      </a:lnTo>
                      <a:lnTo>
                        <a:pt x="3591" y="1159"/>
                      </a:lnTo>
                      <a:lnTo>
                        <a:pt x="3610" y="1146"/>
                      </a:lnTo>
                      <a:lnTo>
                        <a:pt x="3653" y="1119"/>
                      </a:lnTo>
                      <a:lnTo>
                        <a:pt x="3699" y="1095"/>
                      </a:lnTo>
                      <a:lnTo>
                        <a:pt x="3858" y="1014"/>
                      </a:lnTo>
                      <a:lnTo>
                        <a:pt x="3858" y="941"/>
                      </a:lnTo>
                      <a:lnTo>
                        <a:pt x="4032" y="906"/>
                      </a:lnTo>
                      <a:lnTo>
                        <a:pt x="4032" y="1310"/>
                      </a:lnTo>
                      <a:lnTo>
                        <a:pt x="4436" y="1310"/>
                      </a:lnTo>
                      <a:lnTo>
                        <a:pt x="4436" y="906"/>
                      </a:lnTo>
                      <a:lnTo>
                        <a:pt x="4611" y="941"/>
                      </a:lnTo>
                      <a:lnTo>
                        <a:pt x="4611" y="1002"/>
                      </a:lnTo>
                      <a:lnTo>
                        <a:pt x="4792" y="1071"/>
                      </a:lnTo>
                      <a:lnTo>
                        <a:pt x="4835" y="1089"/>
                      </a:lnTo>
                      <a:lnTo>
                        <a:pt x="4876" y="1109"/>
                      </a:lnTo>
                      <a:lnTo>
                        <a:pt x="4915" y="1132"/>
                      </a:lnTo>
                      <a:lnTo>
                        <a:pt x="4951" y="1155"/>
                      </a:lnTo>
                      <a:lnTo>
                        <a:pt x="4984" y="1182"/>
                      </a:lnTo>
                      <a:lnTo>
                        <a:pt x="5015" y="1210"/>
                      </a:lnTo>
                      <a:lnTo>
                        <a:pt x="5040" y="1239"/>
                      </a:lnTo>
                      <a:lnTo>
                        <a:pt x="5052" y="1255"/>
                      </a:lnTo>
                      <a:lnTo>
                        <a:pt x="5061" y="1271"/>
                      </a:lnTo>
                      <a:lnTo>
                        <a:pt x="5258" y="1596"/>
                      </a:lnTo>
                      <a:lnTo>
                        <a:pt x="5267" y="1609"/>
                      </a:lnTo>
                      <a:lnTo>
                        <a:pt x="5276" y="1618"/>
                      </a:lnTo>
                      <a:lnTo>
                        <a:pt x="5285" y="1625"/>
                      </a:lnTo>
                      <a:lnTo>
                        <a:pt x="5294" y="1630"/>
                      </a:lnTo>
                      <a:lnTo>
                        <a:pt x="5307" y="1632"/>
                      </a:lnTo>
                      <a:lnTo>
                        <a:pt x="5319" y="1634"/>
                      </a:lnTo>
                      <a:lnTo>
                        <a:pt x="5349" y="1634"/>
                      </a:lnTo>
                      <a:lnTo>
                        <a:pt x="5615" y="1634"/>
                      </a:lnTo>
                      <a:close/>
                      <a:moveTo>
                        <a:pt x="5609" y="1765"/>
                      </a:moveTo>
                      <a:lnTo>
                        <a:pt x="5611" y="1705"/>
                      </a:lnTo>
                      <a:lnTo>
                        <a:pt x="5485" y="1705"/>
                      </a:lnTo>
                      <a:lnTo>
                        <a:pt x="5485" y="1776"/>
                      </a:lnTo>
                      <a:lnTo>
                        <a:pt x="5349" y="1776"/>
                      </a:lnTo>
                      <a:lnTo>
                        <a:pt x="5323" y="1776"/>
                      </a:lnTo>
                      <a:lnTo>
                        <a:pt x="5299" y="1774"/>
                      </a:lnTo>
                      <a:lnTo>
                        <a:pt x="5278" y="1771"/>
                      </a:lnTo>
                      <a:lnTo>
                        <a:pt x="5258" y="1767"/>
                      </a:lnTo>
                      <a:lnTo>
                        <a:pt x="5241" y="1762"/>
                      </a:lnTo>
                      <a:lnTo>
                        <a:pt x="5225" y="1755"/>
                      </a:lnTo>
                      <a:lnTo>
                        <a:pt x="5210" y="1746"/>
                      </a:lnTo>
                      <a:lnTo>
                        <a:pt x="5196" y="1737"/>
                      </a:lnTo>
                      <a:lnTo>
                        <a:pt x="5184" y="1726"/>
                      </a:lnTo>
                      <a:lnTo>
                        <a:pt x="5171" y="1716"/>
                      </a:lnTo>
                      <a:lnTo>
                        <a:pt x="5161" y="1701"/>
                      </a:lnTo>
                      <a:lnTo>
                        <a:pt x="5150" y="1687"/>
                      </a:lnTo>
                      <a:lnTo>
                        <a:pt x="5129" y="1655"/>
                      </a:lnTo>
                      <a:lnTo>
                        <a:pt x="5105" y="1618"/>
                      </a:lnTo>
                      <a:lnTo>
                        <a:pt x="4972" y="1401"/>
                      </a:lnTo>
                      <a:lnTo>
                        <a:pt x="4947" y="1361"/>
                      </a:lnTo>
                      <a:lnTo>
                        <a:pt x="4924" y="1329"/>
                      </a:lnTo>
                      <a:lnTo>
                        <a:pt x="4901" y="1303"/>
                      </a:lnTo>
                      <a:lnTo>
                        <a:pt x="4878" y="1280"/>
                      </a:lnTo>
                      <a:lnTo>
                        <a:pt x="4853" y="1260"/>
                      </a:lnTo>
                      <a:lnTo>
                        <a:pt x="4824" y="1242"/>
                      </a:lnTo>
                      <a:lnTo>
                        <a:pt x="4794" y="1226"/>
                      </a:lnTo>
                      <a:lnTo>
                        <a:pt x="4758" y="1210"/>
                      </a:lnTo>
                      <a:lnTo>
                        <a:pt x="4611" y="1153"/>
                      </a:lnTo>
                      <a:lnTo>
                        <a:pt x="4611" y="1377"/>
                      </a:lnTo>
                      <a:lnTo>
                        <a:pt x="4796" y="1903"/>
                      </a:lnTo>
                      <a:lnTo>
                        <a:pt x="4888" y="1952"/>
                      </a:lnTo>
                      <a:lnTo>
                        <a:pt x="4933" y="1975"/>
                      </a:lnTo>
                      <a:lnTo>
                        <a:pt x="4970" y="1993"/>
                      </a:lnTo>
                      <a:lnTo>
                        <a:pt x="5038" y="2024"/>
                      </a:lnTo>
                      <a:lnTo>
                        <a:pt x="5098" y="2047"/>
                      </a:lnTo>
                      <a:lnTo>
                        <a:pt x="5127" y="2056"/>
                      </a:lnTo>
                      <a:lnTo>
                        <a:pt x="5152" y="2063"/>
                      </a:lnTo>
                      <a:lnTo>
                        <a:pt x="5173" y="2066"/>
                      </a:lnTo>
                      <a:lnTo>
                        <a:pt x="5191" y="2068"/>
                      </a:lnTo>
                      <a:lnTo>
                        <a:pt x="5565" y="2066"/>
                      </a:lnTo>
                      <a:lnTo>
                        <a:pt x="5588" y="2066"/>
                      </a:lnTo>
                      <a:lnTo>
                        <a:pt x="5609" y="2063"/>
                      </a:lnTo>
                      <a:lnTo>
                        <a:pt x="5631" y="2059"/>
                      </a:lnTo>
                      <a:lnTo>
                        <a:pt x="5648" y="2054"/>
                      </a:lnTo>
                      <a:lnTo>
                        <a:pt x="5666" y="2047"/>
                      </a:lnTo>
                      <a:lnTo>
                        <a:pt x="5682" y="2038"/>
                      </a:lnTo>
                      <a:lnTo>
                        <a:pt x="5696" y="2029"/>
                      </a:lnTo>
                      <a:lnTo>
                        <a:pt x="5709" y="2018"/>
                      </a:lnTo>
                      <a:lnTo>
                        <a:pt x="5721" y="2006"/>
                      </a:lnTo>
                      <a:lnTo>
                        <a:pt x="5732" y="1993"/>
                      </a:lnTo>
                      <a:lnTo>
                        <a:pt x="5741" y="1979"/>
                      </a:lnTo>
                      <a:lnTo>
                        <a:pt x="5748" y="1965"/>
                      </a:lnTo>
                      <a:lnTo>
                        <a:pt x="5755" y="1951"/>
                      </a:lnTo>
                      <a:lnTo>
                        <a:pt x="5760" y="1935"/>
                      </a:lnTo>
                      <a:lnTo>
                        <a:pt x="5764" y="1920"/>
                      </a:lnTo>
                      <a:lnTo>
                        <a:pt x="5768" y="1904"/>
                      </a:lnTo>
                      <a:lnTo>
                        <a:pt x="5803" y="1705"/>
                      </a:lnTo>
                      <a:lnTo>
                        <a:pt x="5714" y="1705"/>
                      </a:lnTo>
                      <a:lnTo>
                        <a:pt x="5718" y="1769"/>
                      </a:lnTo>
                      <a:lnTo>
                        <a:pt x="5718" y="1778"/>
                      </a:lnTo>
                      <a:lnTo>
                        <a:pt x="5714" y="1783"/>
                      </a:lnTo>
                      <a:lnTo>
                        <a:pt x="5709" y="1789"/>
                      </a:lnTo>
                      <a:lnTo>
                        <a:pt x="5702" y="1794"/>
                      </a:lnTo>
                      <a:lnTo>
                        <a:pt x="5695" y="1796"/>
                      </a:lnTo>
                      <a:lnTo>
                        <a:pt x="5684" y="1797"/>
                      </a:lnTo>
                      <a:lnTo>
                        <a:pt x="5664" y="1799"/>
                      </a:lnTo>
                      <a:lnTo>
                        <a:pt x="5643" y="1796"/>
                      </a:lnTo>
                      <a:lnTo>
                        <a:pt x="5634" y="1792"/>
                      </a:lnTo>
                      <a:lnTo>
                        <a:pt x="5625" y="1789"/>
                      </a:lnTo>
                      <a:lnTo>
                        <a:pt x="5618" y="1783"/>
                      </a:lnTo>
                      <a:lnTo>
                        <a:pt x="5613" y="1778"/>
                      </a:lnTo>
                      <a:lnTo>
                        <a:pt x="5609" y="1773"/>
                      </a:lnTo>
                      <a:lnTo>
                        <a:pt x="5609" y="1765"/>
                      </a:lnTo>
                      <a:close/>
                      <a:moveTo>
                        <a:pt x="4069" y="1943"/>
                      </a:moveTo>
                      <a:lnTo>
                        <a:pt x="3505" y="1943"/>
                      </a:lnTo>
                      <a:lnTo>
                        <a:pt x="3505" y="2508"/>
                      </a:lnTo>
                      <a:lnTo>
                        <a:pt x="4069" y="2508"/>
                      </a:lnTo>
                      <a:lnTo>
                        <a:pt x="4069" y="1943"/>
                      </a:lnTo>
                      <a:close/>
                      <a:moveTo>
                        <a:pt x="3363" y="1943"/>
                      </a:moveTo>
                      <a:lnTo>
                        <a:pt x="3363" y="1943"/>
                      </a:lnTo>
                      <a:lnTo>
                        <a:pt x="3350" y="1943"/>
                      </a:lnTo>
                      <a:lnTo>
                        <a:pt x="3338" y="1945"/>
                      </a:lnTo>
                      <a:lnTo>
                        <a:pt x="3325" y="1949"/>
                      </a:lnTo>
                      <a:lnTo>
                        <a:pt x="3313" y="1954"/>
                      </a:lnTo>
                      <a:lnTo>
                        <a:pt x="3302" y="1959"/>
                      </a:lnTo>
                      <a:lnTo>
                        <a:pt x="3291" y="1965"/>
                      </a:lnTo>
                      <a:lnTo>
                        <a:pt x="3283" y="1974"/>
                      </a:lnTo>
                      <a:lnTo>
                        <a:pt x="3274" y="1981"/>
                      </a:lnTo>
                      <a:lnTo>
                        <a:pt x="3267" y="1990"/>
                      </a:lnTo>
                      <a:lnTo>
                        <a:pt x="3258" y="2000"/>
                      </a:lnTo>
                      <a:lnTo>
                        <a:pt x="3252" y="2011"/>
                      </a:lnTo>
                      <a:lnTo>
                        <a:pt x="3247" y="2022"/>
                      </a:lnTo>
                      <a:lnTo>
                        <a:pt x="3243" y="2032"/>
                      </a:lnTo>
                      <a:lnTo>
                        <a:pt x="3240" y="2045"/>
                      </a:lnTo>
                      <a:lnTo>
                        <a:pt x="3238" y="2057"/>
                      </a:lnTo>
                      <a:lnTo>
                        <a:pt x="3238" y="2072"/>
                      </a:lnTo>
                      <a:lnTo>
                        <a:pt x="3238" y="2084"/>
                      </a:lnTo>
                      <a:lnTo>
                        <a:pt x="3240" y="2096"/>
                      </a:lnTo>
                      <a:lnTo>
                        <a:pt x="3243" y="2109"/>
                      </a:lnTo>
                      <a:lnTo>
                        <a:pt x="3247" y="2120"/>
                      </a:lnTo>
                      <a:lnTo>
                        <a:pt x="3252" y="2130"/>
                      </a:lnTo>
                      <a:lnTo>
                        <a:pt x="3259" y="2141"/>
                      </a:lnTo>
                      <a:lnTo>
                        <a:pt x="3267" y="2152"/>
                      </a:lnTo>
                      <a:lnTo>
                        <a:pt x="3274" y="2161"/>
                      </a:lnTo>
                      <a:lnTo>
                        <a:pt x="3283" y="2168"/>
                      </a:lnTo>
                      <a:lnTo>
                        <a:pt x="3293" y="2177"/>
                      </a:lnTo>
                      <a:lnTo>
                        <a:pt x="3302" y="2182"/>
                      </a:lnTo>
                      <a:lnTo>
                        <a:pt x="3313" y="2187"/>
                      </a:lnTo>
                      <a:lnTo>
                        <a:pt x="3325" y="2193"/>
                      </a:lnTo>
                      <a:lnTo>
                        <a:pt x="3338" y="2196"/>
                      </a:lnTo>
                      <a:lnTo>
                        <a:pt x="3350" y="2198"/>
                      </a:lnTo>
                      <a:lnTo>
                        <a:pt x="3363" y="2198"/>
                      </a:lnTo>
                      <a:lnTo>
                        <a:pt x="3363" y="1943"/>
                      </a:lnTo>
                      <a:close/>
                      <a:moveTo>
                        <a:pt x="3363" y="2340"/>
                      </a:moveTo>
                      <a:lnTo>
                        <a:pt x="3363" y="2340"/>
                      </a:lnTo>
                      <a:lnTo>
                        <a:pt x="3336" y="2339"/>
                      </a:lnTo>
                      <a:lnTo>
                        <a:pt x="3309" y="2335"/>
                      </a:lnTo>
                      <a:lnTo>
                        <a:pt x="3283" y="2328"/>
                      </a:lnTo>
                      <a:lnTo>
                        <a:pt x="3258" y="2319"/>
                      </a:lnTo>
                      <a:lnTo>
                        <a:pt x="3234" y="2308"/>
                      </a:lnTo>
                      <a:lnTo>
                        <a:pt x="3213" y="2294"/>
                      </a:lnTo>
                      <a:lnTo>
                        <a:pt x="3192" y="2278"/>
                      </a:lnTo>
                      <a:lnTo>
                        <a:pt x="3174" y="2260"/>
                      </a:lnTo>
                      <a:lnTo>
                        <a:pt x="3156" y="2242"/>
                      </a:lnTo>
                      <a:lnTo>
                        <a:pt x="3140" y="2221"/>
                      </a:lnTo>
                      <a:lnTo>
                        <a:pt x="3128" y="2200"/>
                      </a:lnTo>
                      <a:lnTo>
                        <a:pt x="3115" y="2175"/>
                      </a:lnTo>
                      <a:lnTo>
                        <a:pt x="3106" y="2150"/>
                      </a:lnTo>
                      <a:lnTo>
                        <a:pt x="3101" y="2125"/>
                      </a:lnTo>
                      <a:lnTo>
                        <a:pt x="3096" y="2098"/>
                      </a:lnTo>
                      <a:lnTo>
                        <a:pt x="3096" y="2072"/>
                      </a:lnTo>
                      <a:lnTo>
                        <a:pt x="3096" y="2043"/>
                      </a:lnTo>
                      <a:lnTo>
                        <a:pt x="3101" y="2016"/>
                      </a:lnTo>
                      <a:lnTo>
                        <a:pt x="3106" y="1991"/>
                      </a:lnTo>
                      <a:lnTo>
                        <a:pt x="3115" y="1967"/>
                      </a:lnTo>
                      <a:lnTo>
                        <a:pt x="3128" y="1943"/>
                      </a:lnTo>
                      <a:lnTo>
                        <a:pt x="3140" y="1920"/>
                      </a:lnTo>
                      <a:lnTo>
                        <a:pt x="3156" y="1899"/>
                      </a:lnTo>
                      <a:lnTo>
                        <a:pt x="3174" y="1881"/>
                      </a:lnTo>
                      <a:lnTo>
                        <a:pt x="3192" y="1863"/>
                      </a:lnTo>
                      <a:lnTo>
                        <a:pt x="3213" y="1847"/>
                      </a:lnTo>
                      <a:lnTo>
                        <a:pt x="3234" y="1835"/>
                      </a:lnTo>
                      <a:lnTo>
                        <a:pt x="3258" y="1822"/>
                      </a:lnTo>
                      <a:lnTo>
                        <a:pt x="3283" y="1814"/>
                      </a:lnTo>
                      <a:lnTo>
                        <a:pt x="3309" y="1806"/>
                      </a:lnTo>
                      <a:lnTo>
                        <a:pt x="3336" y="1803"/>
                      </a:lnTo>
                      <a:lnTo>
                        <a:pt x="3363" y="1801"/>
                      </a:lnTo>
                      <a:lnTo>
                        <a:pt x="3364" y="1801"/>
                      </a:lnTo>
                      <a:lnTo>
                        <a:pt x="4212" y="1801"/>
                      </a:lnTo>
                      <a:lnTo>
                        <a:pt x="4212" y="2643"/>
                      </a:lnTo>
                      <a:lnTo>
                        <a:pt x="5695" y="2643"/>
                      </a:lnTo>
                      <a:lnTo>
                        <a:pt x="5734" y="2643"/>
                      </a:lnTo>
                      <a:lnTo>
                        <a:pt x="5771" y="2645"/>
                      </a:lnTo>
                      <a:lnTo>
                        <a:pt x="5810" y="2646"/>
                      </a:lnTo>
                      <a:lnTo>
                        <a:pt x="5849" y="2652"/>
                      </a:lnTo>
                      <a:lnTo>
                        <a:pt x="5887" y="2655"/>
                      </a:lnTo>
                      <a:lnTo>
                        <a:pt x="5924" y="2662"/>
                      </a:lnTo>
                      <a:lnTo>
                        <a:pt x="5999" y="2677"/>
                      </a:lnTo>
                      <a:lnTo>
                        <a:pt x="6070" y="2696"/>
                      </a:lnTo>
                      <a:lnTo>
                        <a:pt x="6141" y="2718"/>
                      </a:lnTo>
                      <a:lnTo>
                        <a:pt x="6211" y="2744"/>
                      </a:lnTo>
                      <a:lnTo>
                        <a:pt x="6279" y="2775"/>
                      </a:lnTo>
                      <a:lnTo>
                        <a:pt x="6344" y="2808"/>
                      </a:lnTo>
                      <a:lnTo>
                        <a:pt x="6407" y="2846"/>
                      </a:lnTo>
                      <a:lnTo>
                        <a:pt x="6467" y="2885"/>
                      </a:lnTo>
                      <a:lnTo>
                        <a:pt x="6526" y="2929"/>
                      </a:lnTo>
                      <a:lnTo>
                        <a:pt x="6583" y="2976"/>
                      </a:lnTo>
                      <a:lnTo>
                        <a:pt x="6636" y="3024"/>
                      </a:lnTo>
                      <a:lnTo>
                        <a:pt x="6688" y="3075"/>
                      </a:lnTo>
                      <a:lnTo>
                        <a:pt x="6736" y="3130"/>
                      </a:lnTo>
                      <a:lnTo>
                        <a:pt x="6533" y="3333"/>
                      </a:lnTo>
                      <a:lnTo>
                        <a:pt x="6494" y="3287"/>
                      </a:lnTo>
                      <a:lnTo>
                        <a:pt x="6455" y="3244"/>
                      </a:lnTo>
                      <a:lnTo>
                        <a:pt x="6412" y="3203"/>
                      </a:lnTo>
                      <a:lnTo>
                        <a:pt x="6368" y="3166"/>
                      </a:lnTo>
                      <a:lnTo>
                        <a:pt x="6319" y="3129"/>
                      </a:lnTo>
                      <a:lnTo>
                        <a:pt x="6271" y="3097"/>
                      </a:lnTo>
                      <a:lnTo>
                        <a:pt x="6220" y="3065"/>
                      </a:lnTo>
                      <a:lnTo>
                        <a:pt x="6168" y="3038"/>
                      </a:lnTo>
                      <a:lnTo>
                        <a:pt x="6113" y="3013"/>
                      </a:lnTo>
                      <a:lnTo>
                        <a:pt x="6058" y="2990"/>
                      </a:lnTo>
                      <a:lnTo>
                        <a:pt x="5999" y="2972"/>
                      </a:lnTo>
                      <a:lnTo>
                        <a:pt x="5940" y="2956"/>
                      </a:lnTo>
                      <a:lnTo>
                        <a:pt x="5882" y="2944"/>
                      </a:lnTo>
                      <a:lnTo>
                        <a:pt x="5819" y="2935"/>
                      </a:lnTo>
                      <a:lnTo>
                        <a:pt x="5757" y="2929"/>
                      </a:lnTo>
                      <a:lnTo>
                        <a:pt x="5695" y="2928"/>
                      </a:lnTo>
                      <a:lnTo>
                        <a:pt x="947" y="2928"/>
                      </a:lnTo>
                      <a:lnTo>
                        <a:pt x="662" y="2643"/>
                      </a:lnTo>
                      <a:lnTo>
                        <a:pt x="3363" y="2643"/>
                      </a:lnTo>
                      <a:lnTo>
                        <a:pt x="3363" y="2340"/>
                      </a:lnTo>
                      <a:close/>
                    </a:path>
                  </a:pathLst>
                </a:custGeom>
                <a:solidFill>
                  <a:srgbClr val="F0F0F0"/>
                </a:solidFill>
                <a:ln w="9525">
                  <a:noFill/>
                  <a:round/>
                  <a:headEnd/>
                  <a:tailEnd/>
                </a:ln>
              </p:spPr>
              <p:txBody>
                <a:bodyPr/>
                <a:lstStyle/>
                <a:p>
                  <a:pPr defTabSz="791108">
                    <a:defRPr/>
                  </a:pPr>
                  <a:endParaRPr lang="de-DE" sz="1557" kern="0" dirty="0">
                    <a:solidFill>
                      <a:srgbClr val="646464"/>
                    </a:solidFill>
                    <a:latin typeface="+mj-lt"/>
                  </a:endParaRPr>
                </a:p>
              </p:txBody>
            </p:sp>
          </p:grpSp>
          <p:cxnSp>
            <p:nvCxnSpPr>
              <p:cNvPr id="176" name="Straight Connector 175"/>
              <p:cNvCxnSpPr>
                <a:stCxn id="192" idx="5"/>
                <a:endCxn id="183" idx="1"/>
              </p:cNvCxnSpPr>
              <p:nvPr/>
            </p:nvCxnSpPr>
            <p:spPr>
              <a:xfrm>
                <a:off x="6988882" y="2309156"/>
                <a:ext cx="390665" cy="422907"/>
              </a:xfrm>
              <a:prstGeom prst="line">
                <a:avLst/>
              </a:prstGeom>
              <a:noFill/>
              <a:ln w="28575" cap="flat" cmpd="sng" algn="ctr">
                <a:solidFill>
                  <a:srgbClr val="C0C0C0"/>
                </a:solidFill>
                <a:prstDash val="solid"/>
              </a:ln>
              <a:effectLst/>
            </p:spPr>
          </p:cxnSp>
          <p:sp>
            <p:nvSpPr>
              <p:cNvPr id="177" name="TextBox 176"/>
              <p:cNvSpPr txBox="1"/>
              <p:nvPr/>
            </p:nvSpPr>
            <p:spPr>
              <a:xfrm>
                <a:off x="6476553" y="2398237"/>
                <a:ext cx="819119" cy="537665"/>
              </a:xfrm>
              <a:prstGeom prst="rect">
                <a:avLst/>
              </a:prstGeom>
              <a:noFill/>
            </p:spPr>
            <p:txBody>
              <a:bodyPr wrap="none" lIns="0" tIns="29067" rIns="0" bIns="0" rtlCol="0">
                <a:spAutoFit/>
              </a:bodyPr>
              <a:lstStyle/>
              <a:p>
                <a:pPr algn="ctr" defTabSz="791108">
                  <a:lnSpc>
                    <a:spcPct val="85000"/>
                  </a:lnSpc>
                  <a:spcAft>
                    <a:spcPts val="477"/>
                  </a:spcAft>
                  <a:buClr>
                    <a:srgbClr val="FFE600"/>
                  </a:buClr>
                  <a:buSzPct val="70000"/>
                  <a:defRPr/>
                </a:pPr>
                <a:r>
                  <a:rPr lang="de-DE" sz="716" kern="0" dirty="0">
                    <a:latin typeface="+mj-lt"/>
                  </a:rPr>
                  <a:t>Engineering</a:t>
                </a:r>
                <a:br>
                  <a:rPr lang="de-DE" sz="716" kern="0" dirty="0">
                    <a:latin typeface="+mj-lt"/>
                  </a:rPr>
                </a:br>
                <a:r>
                  <a:rPr lang="de-DE" sz="716" kern="0" dirty="0" smtClean="0">
                    <a:latin typeface="+mj-lt"/>
                  </a:rPr>
                  <a:t>collaboration</a:t>
                </a:r>
                <a:r>
                  <a:rPr lang="de-DE" sz="716" kern="0" dirty="0">
                    <a:latin typeface="+mj-lt"/>
                  </a:rPr>
                  <a:t/>
                </a:r>
                <a:br>
                  <a:rPr lang="de-DE" sz="716" kern="0" dirty="0">
                    <a:latin typeface="+mj-lt"/>
                  </a:rPr>
                </a:br>
                <a:r>
                  <a:rPr lang="de-DE" sz="716" kern="0" dirty="0">
                    <a:latin typeface="+mj-lt"/>
                  </a:rPr>
                  <a:t>PLM in the </a:t>
                </a:r>
                <a:r>
                  <a:rPr lang="de-DE" sz="716" kern="0" dirty="0" smtClean="0">
                    <a:latin typeface="+mj-lt"/>
                  </a:rPr>
                  <a:t>cloud</a:t>
                </a:r>
                <a:endParaRPr lang="de-DE" sz="716" kern="0" dirty="0">
                  <a:latin typeface="+mj-lt"/>
                </a:endParaRPr>
              </a:p>
              <a:p>
                <a:pPr algn="ctr" defTabSz="791108">
                  <a:lnSpc>
                    <a:spcPct val="85000"/>
                  </a:lnSpc>
                  <a:spcAft>
                    <a:spcPts val="477"/>
                  </a:spcAft>
                  <a:buClr>
                    <a:srgbClr val="FFE600"/>
                  </a:buClr>
                  <a:buSzPct val="70000"/>
                  <a:defRPr/>
                </a:pPr>
                <a:r>
                  <a:rPr lang="de-DE" sz="716" kern="0" dirty="0" smtClean="0">
                    <a:latin typeface="+mj-lt"/>
                  </a:rPr>
                  <a:t>Co-creation</a:t>
                </a:r>
                <a:endParaRPr lang="de-DE" sz="716" kern="0" dirty="0">
                  <a:latin typeface="+mj-lt"/>
                </a:endParaRPr>
              </a:p>
            </p:txBody>
          </p:sp>
          <p:grpSp>
            <p:nvGrpSpPr>
              <p:cNvPr id="178" name="Group 177"/>
              <p:cNvGrpSpPr/>
              <p:nvPr/>
            </p:nvGrpSpPr>
            <p:grpSpPr>
              <a:xfrm>
                <a:off x="6974841" y="1284497"/>
                <a:ext cx="646887" cy="646887"/>
                <a:chOff x="6974841" y="1284497"/>
                <a:chExt cx="646887" cy="646887"/>
              </a:xfrm>
            </p:grpSpPr>
            <p:sp>
              <p:nvSpPr>
                <p:cNvPr id="179" name="Oval 178"/>
                <p:cNvSpPr/>
                <p:nvPr/>
              </p:nvSpPr>
              <p:spPr>
                <a:xfrm>
                  <a:off x="6974841" y="1284497"/>
                  <a:ext cx="646887" cy="646887"/>
                </a:xfrm>
                <a:prstGeom prst="ellipse">
                  <a:avLst/>
                </a:prstGeom>
                <a:solidFill>
                  <a:srgbClr val="FFE600"/>
                </a:solidFill>
                <a:ln w="12700">
                  <a:noFill/>
                  <a:prstDash val="solid"/>
                  <a:round/>
                  <a:headEnd/>
                  <a:tailEnd/>
                </a:ln>
              </p:spPr>
              <p:txBody>
                <a:bodyPr wrap="none" lIns="0" tIns="0" rIns="0" bIns="486344" anchor="t"/>
                <a:lstStyle/>
                <a:p>
                  <a:pPr algn="ctr" defTabSz="558057">
                    <a:lnSpc>
                      <a:spcPct val="90000"/>
                    </a:lnSpc>
                    <a:defRPr/>
                  </a:pPr>
                  <a:r>
                    <a:rPr lang="de-DE" sz="716" b="1" kern="0" dirty="0" smtClean="0">
                      <a:solidFill>
                        <a:schemeClr val="accent1"/>
                      </a:solidFill>
                      <a:latin typeface="+mj-lt"/>
                    </a:rPr>
                    <a:t>Com-</a:t>
                  </a:r>
                  <a:br>
                    <a:rPr lang="de-DE" sz="716" b="1" kern="0" dirty="0" smtClean="0">
                      <a:solidFill>
                        <a:schemeClr val="accent1"/>
                      </a:solidFill>
                      <a:latin typeface="+mj-lt"/>
                    </a:rPr>
                  </a:br>
                  <a:r>
                    <a:rPr lang="de-DE" sz="716" b="1" kern="0" dirty="0" smtClean="0">
                      <a:solidFill>
                        <a:schemeClr val="accent1"/>
                      </a:solidFill>
                      <a:latin typeface="+mj-lt"/>
                    </a:rPr>
                    <a:t>petitor</a:t>
                  </a:r>
                  <a:endParaRPr lang="de-DE" sz="716" b="1" kern="0" dirty="0">
                    <a:solidFill>
                      <a:schemeClr val="accent1"/>
                    </a:solidFill>
                    <a:latin typeface="+mj-lt"/>
                  </a:endParaRPr>
                </a:p>
              </p:txBody>
            </p:sp>
            <p:sp>
              <p:nvSpPr>
                <p:cNvPr id="180" name="Freeform 59"/>
                <p:cNvSpPr>
                  <a:spLocks noChangeAspect="1" noEditPoints="1"/>
                </p:cNvSpPr>
                <p:nvPr/>
              </p:nvSpPr>
              <p:spPr bwMode="auto">
                <a:xfrm>
                  <a:off x="7163639" y="1570093"/>
                  <a:ext cx="284253" cy="299312"/>
                </a:xfrm>
                <a:custGeom>
                  <a:avLst/>
                  <a:gdLst>
                    <a:gd name="T0" fmla="*/ 2147483647 w 4531"/>
                    <a:gd name="T1" fmla="*/ 2147483647 h 4763"/>
                    <a:gd name="T2" fmla="*/ 2147483647 w 4531"/>
                    <a:gd name="T3" fmla="*/ 2147483647 h 4763"/>
                    <a:gd name="T4" fmla="*/ 2147483647 w 4531"/>
                    <a:gd name="T5" fmla="*/ 2147483647 h 4763"/>
                    <a:gd name="T6" fmla="*/ 2147483647 w 4531"/>
                    <a:gd name="T7" fmla="*/ 2147483647 h 4763"/>
                    <a:gd name="T8" fmla="*/ 2147483647 w 4531"/>
                    <a:gd name="T9" fmla="*/ 2147483647 h 4763"/>
                    <a:gd name="T10" fmla="*/ 2147483647 w 4531"/>
                    <a:gd name="T11" fmla="*/ 2147483647 h 4763"/>
                    <a:gd name="T12" fmla="*/ 2147483647 w 4531"/>
                    <a:gd name="T13" fmla="*/ 2147483647 h 4763"/>
                    <a:gd name="T14" fmla="*/ 2147483647 w 4531"/>
                    <a:gd name="T15" fmla="*/ 2147483647 h 4763"/>
                    <a:gd name="T16" fmla="*/ 2147483647 w 4531"/>
                    <a:gd name="T17" fmla="*/ 2147483647 h 4763"/>
                    <a:gd name="T18" fmla="*/ 2147483647 w 4531"/>
                    <a:gd name="T19" fmla="*/ 2147483647 h 4763"/>
                    <a:gd name="T20" fmla="*/ 2147483647 w 4531"/>
                    <a:gd name="T21" fmla="*/ 2147483647 h 4763"/>
                    <a:gd name="T22" fmla="*/ 2147483647 w 4531"/>
                    <a:gd name="T23" fmla="*/ 2147483647 h 4763"/>
                    <a:gd name="T24" fmla="*/ 2147483647 w 4531"/>
                    <a:gd name="T25" fmla="*/ 2147483647 h 4763"/>
                    <a:gd name="T26" fmla="*/ 2147483647 w 4531"/>
                    <a:gd name="T27" fmla="*/ 2147483647 h 4763"/>
                    <a:gd name="T28" fmla="*/ 2147483647 w 4531"/>
                    <a:gd name="T29" fmla="*/ 2147483647 h 4763"/>
                    <a:gd name="T30" fmla="*/ 2147483647 w 4531"/>
                    <a:gd name="T31" fmla="*/ 2147483647 h 4763"/>
                    <a:gd name="T32" fmla="*/ 2147483647 w 4531"/>
                    <a:gd name="T33" fmla="*/ 2147483647 h 4763"/>
                    <a:gd name="T34" fmla="*/ 2147483647 w 4531"/>
                    <a:gd name="T35" fmla="*/ 2147483647 h 4763"/>
                    <a:gd name="T36" fmla="*/ 2147483647 w 4531"/>
                    <a:gd name="T37" fmla="*/ 2147483647 h 4763"/>
                    <a:gd name="T38" fmla="*/ 2147483647 w 4531"/>
                    <a:gd name="T39" fmla="*/ 2147483647 h 4763"/>
                    <a:gd name="T40" fmla="*/ 2147483647 w 4531"/>
                    <a:gd name="T41" fmla="*/ 2147483647 h 4763"/>
                    <a:gd name="T42" fmla="*/ 2147483647 w 4531"/>
                    <a:gd name="T43" fmla="*/ 2147483647 h 4763"/>
                    <a:gd name="T44" fmla="*/ 2147483647 w 4531"/>
                    <a:gd name="T45" fmla="*/ 2147483647 h 4763"/>
                    <a:gd name="T46" fmla="*/ 2147483647 w 4531"/>
                    <a:gd name="T47" fmla="*/ 2147483647 h 4763"/>
                    <a:gd name="T48" fmla="*/ 2147483647 w 4531"/>
                    <a:gd name="T49" fmla="*/ 2147483647 h 4763"/>
                    <a:gd name="T50" fmla="*/ 2147483647 w 4531"/>
                    <a:gd name="T51" fmla="*/ 2147483647 h 4763"/>
                    <a:gd name="T52" fmla="*/ 2147483647 w 4531"/>
                    <a:gd name="T53" fmla="*/ 2147483647 h 4763"/>
                    <a:gd name="T54" fmla="*/ 2147483647 w 4531"/>
                    <a:gd name="T55" fmla="*/ 2147483647 h 4763"/>
                    <a:gd name="T56" fmla="*/ 2147483647 w 4531"/>
                    <a:gd name="T57" fmla="*/ 2147483647 h 4763"/>
                    <a:gd name="T58" fmla="*/ 2147483647 w 4531"/>
                    <a:gd name="T59" fmla="*/ 2147483647 h 4763"/>
                    <a:gd name="T60" fmla="*/ 2147483647 w 4531"/>
                    <a:gd name="T61" fmla="*/ 2147483647 h 4763"/>
                    <a:gd name="T62" fmla="*/ 2147483647 w 4531"/>
                    <a:gd name="T63" fmla="*/ 2147483647 h 4763"/>
                    <a:gd name="T64" fmla="*/ 2147483647 w 4531"/>
                    <a:gd name="T65" fmla="*/ 2147483647 h 4763"/>
                    <a:gd name="T66" fmla="*/ 2147483647 w 4531"/>
                    <a:gd name="T67" fmla="*/ 2147483647 h 4763"/>
                    <a:gd name="T68" fmla="*/ 2147483647 w 4531"/>
                    <a:gd name="T69" fmla="*/ 2147483647 h 4763"/>
                    <a:gd name="T70" fmla="*/ 2147483647 w 4531"/>
                    <a:gd name="T71" fmla="*/ 2147483647 h 4763"/>
                    <a:gd name="T72" fmla="*/ 2147483647 w 4531"/>
                    <a:gd name="T73" fmla="*/ 2147483647 h 4763"/>
                    <a:gd name="T74" fmla="*/ 2147483647 w 4531"/>
                    <a:gd name="T75" fmla="*/ 2147483647 h 4763"/>
                    <a:gd name="T76" fmla="*/ 2147483647 w 4531"/>
                    <a:gd name="T77" fmla="*/ 2147483647 h 4763"/>
                    <a:gd name="T78" fmla="*/ 2147483647 w 4531"/>
                    <a:gd name="T79" fmla="*/ 2147483647 h 4763"/>
                    <a:gd name="T80" fmla="*/ 2147483647 w 4531"/>
                    <a:gd name="T81" fmla="*/ 2147483647 h 4763"/>
                    <a:gd name="T82" fmla="*/ 2147483647 w 4531"/>
                    <a:gd name="T83" fmla="*/ 2147483647 h 4763"/>
                    <a:gd name="T84" fmla="*/ 2147483647 w 4531"/>
                    <a:gd name="T85" fmla="*/ 2147483647 h 4763"/>
                    <a:gd name="T86" fmla="*/ 2147483647 w 4531"/>
                    <a:gd name="T87" fmla="*/ 2147483647 h 4763"/>
                    <a:gd name="T88" fmla="*/ 2147483647 w 4531"/>
                    <a:gd name="T89" fmla="*/ 2147483647 h 4763"/>
                    <a:gd name="T90" fmla="*/ 2147483647 w 4531"/>
                    <a:gd name="T91" fmla="*/ 2147483647 h 4763"/>
                    <a:gd name="T92" fmla="*/ 2147483647 w 4531"/>
                    <a:gd name="T93" fmla="*/ 2147483647 h 4763"/>
                    <a:gd name="T94" fmla="*/ 2147483647 w 4531"/>
                    <a:gd name="T95" fmla="*/ 2147483647 h 4763"/>
                    <a:gd name="T96" fmla="*/ 2147483647 w 4531"/>
                    <a:gd name="T97" fmla="*/ 2147483647 h 4763"/>
                    <a:gd name="T98" fmla="*/ 2147483647 w 4531"/>
                    <a:gd name="T99" fmla="*/ 2147483647 h 4763"/>
                    <a:gd name="T100" fmla="*/ 2147483647 w 4531"/>
                    <a:gd name="T101" fmla="*/ 2147483647 h 4763"/>
                    <a:gd name="T102" fmla="*/ 2147483647 w 4531"/>
                    <a:gd name="T103" fmla="*/ 2147483647 h 4763"/>
                    <a:gd name="T104" fmla="*/ 2147483647 w 4531"/>
                    <a:gd name="T105" fmla="*/ 2147483647 h 4763"/>
                    <a:gd name="T106" fmla="*/ 2147483647 w 4531"/>
                    <a:gd name="T107" fmla="*/ 2147483647 h 4763"/>
                    <a:gd name="T108" fmla="*/ 2147483647 w 4531"/>
                    <a:gd name="T109" fmla="*/ 2147483647 h 4763"/>
                    <a:gd name="T110" fmla="*/ 2147483647 w 4531"/>
                    <a:gd name="T111" fmla="*/ 2147483647 h 4763"/>
                    <a:gd name="T112" fmla="*/ 2147483647 w 4531"/>
                    <a:gd name="T113" fmla="*/ 2147483647 h 4763"/>
                    <a:gd name="T114" fmla="*/ 2147483647 w 4531"/>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531"/>
                    <a:gd name="T175" fmla="*/ 0 h 4763"/>
                    <a:gd name="T176" fmla="*/ 4531 w 4531"/>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531" h="4763">
                      <a:moveTo>
                        <a:pt x="3199" y="2585"/>
                      </a:moveTo>
                      <a:lnTo>
                        <a:pt x="3199" y="2585"/>
                      </a:lnTo>
                      <a:lnTo>
                        <a:pt x="3205" y="2537"/>
                      </a:lnTo>
                      <a:lnTo>
                        <a:pt x="3211" y="2490"/>
                      </a:lnTo>
                      <a:lnTo>
                        <a:pt x="3213" y="2444"/>
                      </a:lnTo>
                      <a:lnTo>
                        <a:pt x="3213" y="2399"/>
                      </a:lnTo>
                      <a:lnTo>
                        <a:pt x="3211" y="2353"/>
                      </a:lnTo>
                      <a:lnTo>
                        <a:pt x="3205" y="2308"/>
                      </a:lnTo>
                      <a:lnTo>
                        <a:pt x="3199" y="2264"/>
                      </a:lnTo>
                      <a:lnTo>
                        <a:pt x="3190" y="2220"/>
                      </a:lnTo>
                      <a:lnTo>
                        <a:pt x="3179" y="2177"/>
                      </a:lnTo>
                      <a:lnTo>
                        <a:pt x="3166" y="2134"/>
                      </a:lnTo>
                      <a:lnTo>
                        <a:pt x="3150" y="2092"/>
                      </a:lnTo>
                      <a:lnTo>
                        <a:pt x="3133" y="2051"/>
                      </a:lnTo>
                      <a:lnTo>
                        <a:pt x="3115" y="2012"/>
                      </a:lnTo>
                      <a:lnTo>
                        <a:pt x="3094" y="1973"/>
                      </a:lnTo>
                      <a:lnTo>
                        <a:pt x="3072" y="1935"/>
                      </a:lnTo>
                      <a:lnTo>
                        <a:pt x="3047" y="1898"/>
                      </a:lnTo>
                      <a:lnTo>
                        <a:pt x="3021" y="1863"/>
                      </a:lnTo>
                      <a:lnTo>
                        <a:pt x="2993" y="1829"/>
                      </a:lnTo>
                      <a:lnTo>
                        <a:pt x="2964" y="1796"/>
                      </a:lnTo>
                      <a:lnTo>
                        <a:pt x="2933" y="1765"/>
                      </a:lnTo>
                      <a:lnTo>
                        <a:pt x="2900" y="1734"/>
                      </a:lnTo>
                      <a:lnTo>
                        <a:pt x="2866" y="1707"/>
                      </a:lnTo>
                      <a:lnTo>
                        <a:pt x="2831" y="1679"/>
                      </a:lnTo>
                      <a:lnTo>
                        <a:pt x="2794" y="1654"/>
                      </a:lnTo>
                      <a:lnTo>
                        <a:pt x="2756" y="1631"/>
                      </a:lnTo>
                      <a:lnTo>
                        <a:pt x="2717" y="1610"/>
                      </a:lnTo>
                      <a:lnTo>
                        <a:pt x="2676" y="1589"/>
                      </a:lnTo>
                      <a:lnTo>
                        <a:pt x="2634" y="1572"/>
                      </a:lnTo>
                      <a:lnTo>
                        <a:pt x="2591" y="1556"/>
                      </a:lnTo>
                      <a:lnTo>
                        <a:pt x="2547" y="1542"/>
                      </a:lnTo>
                      <a:lnTo>
                        <a:pt x="2501" y="1531"/>
                      </a:lnTo>
                      <a:lnTo>
                        <a:pt x="2455" y="1521"/>
                      </a:lnTo>
                      <a:lnTo>
                        <a:pt x="2423" y="1516"/>
                      </a:lnTo>
                      <a:lnTo>
                        <a:pt x="2391" y="1512"/>
                      </a:lnTo>
                      <a:lnTo>
                        <a:pt x="2359" y="1509"/>
                      </a:lnTo>
                      <a:lnTo>
                        <a:pt x="2328" y="1508"/>
                      </a:lnTo>
                      <a:lnTo>
                        <a:pt x="2296" y="1506"/>
                      </a:lnTo>
                      <a:lnTo>
                        <a:pt x="2266" y="1506"/>
                      </a:lnTo>
                      <a:lnTo>
                        <a:pt x="2235" y="1508"/>
                      </a:lnTo>
                      <a:lnTo>
                        <a:pt x="2205" y="1510"/>
                      </a:lnTo>
                      <a:lnTo>
                        <a:pt x="2175" y="1514"/>
                      </a:lnTo>
                      <a:lnTo>
                        <a:pt x="2146" y="1518"/>
                      </a:lnTo>
                      <a:lnTo>
                        <a:pt x="2117" y="1523"/>
                      </a:lnTo>
                      <a:lnTo>
                        <a:pt x="2088" y="1529"/>
                      </a:lnTo>
                      <a:lnTo>
                        <a:pt x="2059" y="1537"/>
                      </a:lnTo>
                      <a:lnTo>
                        <a:pt x="2032" y="1544"/>
                      </a:lnTo>
                      <a:lnTo>
                        <a:pt x="2004" y="1554"/>
                      </a:lnTo>
                      <a:lnTo>
                        <a:pt x="1977" y="1563"/>
                      </a:lnTo>
                      <a:lnTo>
                        <a:pt x="1949" y="1573"/>
                      </a:lnTo>
                      <a:lnTo>
                        <a:pt x="1923" y="1585"/>
                      </a:lnTo>
                      <a:lnTo>
                        <a:pt x="1898" y="1597"/>
                      </a:lnTo>
                      <a:lnTo>
                        <a:pt x="1872" y="1610"/>
                      </a:lnTo>
                      <a:lnTo>
                        <a:pt x="1847" y="1623"/>
                      </a:lnTo>
                      <a:lnTo>
                        <a:pt x="1824" y="1637"/>
                      </a:lnTo>
                      <a:lnTo>
                        <a:pt x="1799" y="1653"/>
                      </a:lnTo>
                      <a:lnTo>
                        <a:pt x="1776" y="1669"/>
                      </a:lnTo>
                      <a:lnTo>
                        <a:pt x="1753" y="1685"/>
                      </a:lnTo>
                      <a:lnTo>
                        <a:pt x="1731" y="1702"/>
                      </a:lnTo>
                      <a:lnTo>
                        <a:pt x="1710" y="1720"/>
                      </a:lnTo>
                      <a:lnTo>
                        <a:pt x="1689" y="1738"/>
                      </a:lnTo>
                      <a:lnTo>
                        <a:pt x="1668" y="1758"/>
                      </a:lnTo>
                      <a:lnTo>
                        <a:pt x="1648" y="1778"/>
                      </a:lnTo>
                      <a:lnTo>
                        <a:pt x="1628" y="1797"/>
                      </a:lnTo>
                      <a:lnTo>
                        <a:pt x="1610" y="1818"/>
                      </a:lnTo>
                      <a:lnTo>
                        <a:pt x="1592" y="1840"/>
                      </a:lnTo>
                      <a:lnTo>
                        <a:pt x="1573" y="1861"/>
                      </a:lnTo>
                      <a:lnTo>
                        <a:pt x="1558" y="1885"/>
                      </a:lnTo>
                      <a:lnTo>
                        <a:pt x="1541" y="1907"/>
                      </a:lnTo>
                      <a:lnTo>
                        <a:pt x="1526" y="1931"/>
                      </a:lnTo>
                      <a:lnTo>
                        <a:pt x="1511" y="1954"/>
                      </a:lnTo>
                      <a:lnTo>
                        <a:pt x="1497" y="1979"/>
                      </a:lnTo>
                      <a:lnTo>
                        <a:pt x="1484" y="2004"/>
                      </a:lnTo>
                      <a:lnTo>
                        <a:pt x="1471" y="2029"/>
                      </a:lnTo>
                      <a:lnTo>
                        <a:pt x="1459" y="2054"/>
                      </a:lnTo>
                      <a:lnTo>
                        <a:pt x="1448" y="2080"/>
                      </a:lnTo>
                      <a:lnTo>
                        <a:pt x="1438" y="2106"/>
                      </a:lnTo>
                      <a:lnTo>
                        <a:pt x="1428" y="2133"/>
                      </a:lnTo>
                      <a:lnTo>
                        <a:pt x="1420" y="2160"/>
                      </a:lnTo>
                      <a:lnTo>
                        <a:pt x="1412" y="2186"/>
                      </a:lnTo>
                      <a:lnTo>
                        <a:pt x="1404" y="2214"/>
                      </a:lnTo>
                      <a:lnTo>
                        <a:pt x="1398" y="2241"/>
                      </a:lnTo>
                      <a:lnTo>
                        <a:pt x="1393" y="2270"/>
                      </a:lnTo>
                      <a:lnTo>
                        <a:pt x="1389" y="2298"/>
                      </a:lnTo>
                      <a:lnTo>
                        <a:pt x="1385" y="2326"/>
                      </a:lnTo>
                      <a:lnTo>
                        <a:pt x="1382" y="2354"/>
                      </a:lnTo>
                      <a:lnTo>
                        <a:pt x="1380" y="2383"/>
                      </a:lnTo>
                      <a:lnTo>
                        <a:pt x="1380" y="2412"/>
                      </a:lnTo>
                      <a:lnTo>
                        <a:pt x="1380" y="2440"/>
                      </a:lnTo>
                      <a:lnTo>
                        <a:pt x="1380" y="2469"/>
                      </a:lnTo>
                      <a:lnTo>
                        <a:pt x="1382" y="2498"/>
                      </a:lnTo>
                      <a:lnTo>
                        <a:pt x="1385" y="2527"/>
                      </a:lnTo>
                      <a:lnTo>
                        <a:pt x="1389" y="2557"/>
                      </a:lnTo>
                      <a:lnTo>
                        <a:pt x="1393" y="2586"/>
                      </a:lnTo>
                      <a:lnTo>
                        <a:pt x="1399" y="2615"/>
                      </a:lnTo>
                      <a:lnTo>
                        <a:pt x="1406" y="2645"/>
                      </a:lnTo>
                      <a:lnTo>
                        <a:pt x="1414" y="2674"/>
                      </a:lnTo>
                      <a:lnTo>
                        <a:pt x="3178" y="2674"/>
                      </a:lnTo>
                      <a:lnTo>
                        <a:pt x="3190" y="2629"/>
                      </a:lnTo>
                      <a:lnTo>
                        <a:pt x="3199" y="2585"/>
                      </a:lnTo>
                      <a:close/>
                      <a:moveTo>
                        <a:pt x="1378" y="546"/>
                      </a:moveTo>
                      <a:lnTo>
                        <a:pt x="518" y="825"/>
                      </a:lnTo>
                      <a:lnTo>
                        <a:pt x="161" y="1331"/>
                      </a:lnTo>
                      <a:lnTo>
                        <a:pt x="1022" y="1060"/>
                      </a:lnTo>
                      <a:lnTo>
                        <a:pt x="1053" y="1161"/>
                      </a:lnTo>
                      <a:lnTo>
                        <a:pt x="126" y="1451"/>
                      </a:lnTo>
                      <a:lnTo>
                        <a:pt x="535" y="2674"/>
                      </a:lnTo>
                      <a:lnTo>
                        <a:pt x="1305" y="2674"/>
                      </a:lnTo>
                      <a:lnTo>
                        <a:pt x="1293" y="2623"/>
                      </a:lnTo>
                      <a:lnTo>
                        <a:pt x="1285" y="2573"/>
                      </a:lnTo>
                      <a:lnTo>
                        <a:pt x="1279" y="2522"/>
                      </a:lnTo>
                      <a:lnTo>
                        <a:pt x="1275" y="2472"/>
                      </a:lnTo>
                      <a:lnTo>
                        <a:pt x="1273" y="2421"/>
                      </a:lnTo>
                      <a:lnTo>
                        <a:pt x="1275" y="2371"/>
                      </a:lnTo>
                      <a:lnTo>
                        <a:pt x="1279" y="2321"/>
                      </a:lnTo>
                      <a:lnTo>
                        <a:pt x="1285" y="2271"/>
                      </a:lnTo>
                      <a:lnTo>
                        <a:pt x="1294" y="2223"/>
                      </a:lnTo>
                      <a:lnTo>
                        <a:pt x="1305" y="2175"/>
                      </a:lnTo>
                      <a:lnTo>
                        <a:pt x="1319" y="2126"/>
                      </a:lnTo>
                      <a:lnTo>
                        <a:pt x="1335" y="2079"/>
                      </a:lnTo>
                      <a:lnTo>
                        <a:pt x="1352" y="2033"/>
                      </a:lnTo>
                      <a:lnTo>
                        <a:pt x="1373" y="1987"/>
                      </a:lnTo>
                      <a:lnTo>
                        <a:pt x="1395" y="1943"/>
                      </a:lnTo>
                      <a:lnTo>
                        <a:pt x="1420" y="1899"/>
                      </a:lnTo>
                      <a:lnTo>
                        <a:pt x="1133" y="1045"/>
                      </a:lnTo>
                      <a:lnTo>
                        <a:pt x="1144" y="1022"/>
                      </a:lnTo>
                      <a:lnTo>
                        <a:pt x="1171" y="964"/>
                      </a:lnTo>
                      <a:lnTo>
                        <a:pt x="1255" y="794"/>
                      </a:lnTo>
                      <a:lnTo>
                        <a:pt x="1378" y="546"/>
                      </a:lnTo>
                      <a:close/>
                      <a:moveTo>
                        <a:pt x="3306" y="4552"/>
                      </a:moveTo>
                      <a:lnTo>
                        <a:pt x="4260" y="3598"/>
                      </a:lnTo>
                      <a:lnTo>
                        <a:pt x="4260" y="1792"/>
                      </a:lnTo>
                      <a:lnTo>
                        <a:pt x="3306" y="2747"/>
                      </a:lnTo>
                      <a:lnTo>
                        <a:pt x="3306" y="4552"/>
                      </a:lnTo>
                      <a:close/>
                      <a:moveTo>
                        <a:pt x="507" y="2778"/>
                      </a:moveTo>
                      <a:lnTo>
                        <a:pt x="507" y="4606"/>
                      </a:lnTo>
                      <a:lnTo>
                        <a:pt x="3202" y="4606"/>
                      </a:lnTo>
                      <a:lnTo>
                        <a:pt x="3202" y="2778"/>
                      </a:lnTo>
                      <a:lnTo>
                        <a:pt x="507" y="2778"/>
                      </a:lnTo>
                      <a:close/>
                      <a:moveTo>
                        <a:pt x="4230" y="1560"/>
                      </a:moveTo>
                      <a:lnTo>
                        <a:pt x="4417" y="1560"/>
                      </a:lnTo>
                      <a:lnTo>
                        <a:pt x="4417" y="3643"/>
                      </a:lnTo>
                      <a:lnTo>
                        <a:pt x="3297" y="4763"/>
                      </a:lnTo>
                      <a:lnTo>
                        <a:pt x="350" y="4763"/>
                      </a:lnTo>
                      <a:lnTo>
                        <a:pt x="350" y="2674"/>
                      </a:lnTo>
                      <a:lnTo>
                        <a:pt x="410" y="2629"/>
                      </a:lnTo>
                      <a:lnTo>
                        <a:pt x="2" y="1412"/>
                      </a:lnTo>
                      <a:lnTo>
                        <a:pt x="0" y="1402"/>
                      </a:lnTo>
                      <a:lnTo>
                        <a:pt x="0" y="1390"/>
                      </a:lnTo>
                      <a:lnTo>
                        <a:pt x="3" y="1379"/>
                      </a:lnTo>
                      <a:lnTo>
                        <a:pt x="7" y="1369"/>
                      </a:lnTo>
                      <a:lnTo>
                        <a:pt x="9" y="1366"/>
                      </a:lnTo>
                      <a:lnTo>
                        <a:pt x="442" y="751"/>
                      </a:lnTo>
                      <a:lnTo>
                        <a:pt x="455" y="740"/>
                      </a:lnTo>
                      <a:lnTo>
                        <a:pt x="468" y="731"/>
                      </a:lnTo>
                      <a:lnTo>
                        <a:pt x="1456" y="411"/>
                      </a:lnTo>
                      <a:lnTo>
                        <a:pt x="1465" y="409"/>
                      </a:lnTo>
                      <a:lnTo>
                        <a:pt x="1475" y="409"/>
                      </a:lnTo>
                      <a:lnTo>
                        <a:pt x="1486" y="410"/>
                      </a:lnTo>
                      <a:lnTo>
                        <a:pt x="1495" y="414"/>
                      </a:lnTo>
                      <a:lnTo>
                        <a:pt x="1504" y="419"/>
                      </a:lnTo>
                      <a:lnTo>
                        <a:pt x="1511" y="427"/>
                      </a:lnTo>
                      <a:lnTo>
                        <a:pt x="1517" y="435"/>
                      </a:lnTo>
                      <a:lnTo>
                        <a:pt x="1521" y="444"/>
                      </a:lnTo>
                      <a:lnTo>
                        <a:pt x="1873" y="1495"/>
                      </a:lnTo>
                      <a:lnTo>
                        <a:pt x="1907" y="1479"/>
                      </a:lnTo>
                      <a:lnTo>
                        <a:pt x="1943" y="1466"/>
                      </a:lnTo>
                      <a:lnTo>
                        <a:pt x="1978" y="1453"/>
                      </a:lnTo>
                      <a:lnTo>
                        <a:pt x="2014" y="1442"/>
                      </a:lnTo>
                      <a:lnTo>
                        <a:pt x="2050" y="1432"/>
                      </a:lnTo>
                      <a:lnTo>
                        <a:pt x="2087" y="1424"/>
                      </a:lnTo>
                      <a:lnTo>
                        <a:pt x="2125" y="1417"/>
                      </a:lnTo>
                      <a:lnTo>
                        <a:pt x="2162" y="1411"/>
                      </a:lnTo>
                      <a:lnTo>
                        <a:pt x="2200" y="1407"/>
                      </a:lnTo>
                      <a:lnTo>
                        <a:pt x="2239" y="1404"/>
                      </a:lnTo>
                      <a:lnTo>
                        <a:pt x="2277" y="1403"/>
                      </a:lnTo>
                      <a:lnTo>
                        <a:pt x="2316" y="1403"/>
                      </a:lnTo>
                      <a:lnTo>
                        <a:pt x="2355" y="1404"/>
                      </a:lnTo>
                      <a:lnTo>
                        <a:pt x="2395" y="1407"/>
                      </a:lnTo>
                      <a:lnTo>
                        <a:pt x="2434" y="1412"/>
                      </a:lnTo>
                      <a:lnTo>
                        <a:pt x="2473" y="1419"/>
                      </a:lnTo>
                      <a:lnTo>
                        <a:pt x="2503" y="1424"/>
                      </a:lnTo>
                      <a:lnTo>
                        <a:pt x="2534" y="1430"/>
                      </a:lnTo>
                      <a:lnTo>
                        <a:pt x="2562" y="1438"/>
                      </a:lnTo>
                      <a:lnTo>
                        <a:pt x="2591" y="1446"/>
                      </a:lnTo>
                      <a:lnTo>
                        <a:pt x="2620" y="1455"/>
                      </a:lnTo>
                      <a:lnTo>
                        <a:pt x="2649" y="1466"/>
                      </a:lnTo>
                      <a:lnTo>
                        <a:pt x="2676" y="1476"/>
                      </a:lnTo>
                      <a:lnTo>
                        <a:pt x="2704" y="1487"/>
                      </a:lnTo>
                      <a:lnTo>
                        <a:pt x="2734" y="1501"/>
                      </a:lnTo>
                      <a:lnTo>
                        <a:pt x="2763" y="1516"/>
                      </a:lnTo>
                      <a:lnTo>
                        <a:pt x="2792" y="1531"/>
                      </a:lnTo>
                      <a:lnTo>
                        <a:pt x="2820" y="1547"/>
                      </a:lnTo>
                      <a:lnTo>
                        <a:pt x="2848" y="1564"/>
                      </a:lnTo>
                      <a:lnTo>
                        <a:pt x="2874" y="1582"/>
                      </a:lnTo>
                      <a:lnTo>
                        <a:pt x="2902" y="1601"/>
                      </a:lnTo>
                      <a:lnTo>
                        <a:pt x="2926" y="1620"/>
                      </a:lnTo>
                      <a:lnTo>
                        <a:pt x="2951" y="1640"/>
                      </a:lnTo>
                      <a:lnTo>
                        <a:pt x="2976" y="1662"/>
                      </a:lnTo>
                      <a:lnTo>
                        <a:pt x="3000" y="1683"/>
                      </a:lnTo>
                      <a:lnTo>
                        <a:pt x="3022" y="1706"/>
                      </a:lnTo>
                      <a:lnTo>
                        <a:pt x="3044" y="1729"/>
                      </a:lnTo>
                      <a:lnTo>
                        <a:pt x="3067" y="1753"/>
                      </a:lnTo>
                      <a:lnTo>
                        <a:pt x="3086" y="1778"/>
                      </a:lnTo>
                      <a:lnTo>
                        <a:pt x="3106" y="1802"/>
                      </a:lnTo>
                      <a:lnTo>
                        <a:pt x="3126" y="1827"/>
                      </a:lnTo>
                      <a:lnTo>
                        <a:pt x="3144" y="1855"/>
                      </a:lnTo>
                      <a:lnTo>
                        <a:pt x="3161" y="1881"/>
                      </a:lnTo>
                      <a:lnTo>
                        <a:pt x="3178" y="1909"/>
                      </a:lnTo>
                      <a:lnTo>
                        <a:pt x="3194" y="1936"/>
                      </a:lnTo>
                      <a:lnTo>
                        <a:pt x="3208" y="1965"/>
                      </a:lnTo>
                      <a:lnTo>
                        <a:pt x="3222" y="1994"/>
                      </a:lnTo>
                      <a:lnTo>
                        <a:pt x="3236" y="2023"/>
                      </a:lnTo>
                      <a:lnTo>
                        <a:pt x="3247" y="2053"/>
                      </a:lnTo>
                      <a:lnTo>
                        <a:pt x="3259" y="2083"/>
                      </a:lnTo>
                      <a:lnTo>
                        <a:pt x="3270" y="2113"/>
                      </a:lnTo>
                      <a:lnTo>
                        <a:pt x="3279" y="2144"/>
                      </a:lnTo>
                      <a:lnTo>
                        <a:pt x="3287" y="2176"/>
                      </a:lnTo>
                      <a:lnTo>
                        <a:pt x="3295" y="2207"/>
                      </a:lnTo>
                      <a:lnTo>
                        <a:pt x="3301" y="2239"/>
                      </a:lnTo>
                      <a:lnTo>
                        <a:pt x="3306" y="2270"/>
                      </a:lnTo>
                      <a:lnTo>
                        <a:pt x="3879" y="924"/>
                      </a:lnTo>
                      <a:lnTo>
                        <a:pt x="3931" y="933"/>
                      </a:lnTo>
                      <a:lnTo>
                        <a:pt x="3981" y="941"/>
                      </a:lnTo>
                      <a:lnTo>
                        <a:pt x="4029" y="944"/>
                      </a:lnTo>
                      <a:lnTo>
                        <a:pt x="4075" y="947"/>
                      </a:lnTo>
                      <a:lnTo>
                        <a:pt x="4118" y="948"/>
                      </a:lnTo>
                      <a:lnTo>
                        <a:pt x="4160" y="946"/>
                      </a:lnTo>
                      <a:lnTo>
                        <a:pt x="4198" y="942"/>
                      </a:lnTo>
                      <a:lnTo>
                        <a:pt x="4235" y="937"/>
                      </a:lnTo>
                      <a:lnTo>
                        <a:pt x="4268" y="929"/>
                      </a:lnTo>
                      <a:lnTo>
                        <a:pt x="4299" y="918"/>
                      </a:lnTo>
                      <a:lnTo>
                        <a:pt x="4327" y="906"/>
                      </a:lnTo>
                      <a:lnTo>
                        <a:pt x="4350" y="893"/>
                      </a:lnTo>
                      <a:lnTo>
                        <a:pt x="4361" y="887"/>
                      </a:lnTo>
                      <a:lnTo>
                        <a:pt x="4371" y="879"/>
                      </a:lnTo>
                      <a:lnTo>
                        <a:pt x="4380" y="871"/>
                      </a:lnTo>
                      <a:lnTo>
                        <a:pt x="4390" y="862"/>
                      </a:lnTo>
                      <a:lnTo>
                        <a:pt x="4396" y="854"/>
                      </a:lnTo>
                      <a:lnTo>
                        <a:pt x="4403" y="845"/>
                      </a:lnTo>
                      <a:lnTo>
                        <a:pt x="4409" y="836"/>
                      </a:lnTo>
                      <a:lnTo>
                        <a:pt x="4413" y="825"/>
                      </a:lnTo>
                      <a:lnTo>
                        <a:pt x="4417" y="815"/>
                      </a:lnTo>
                      <a:lnTo>
                        <a:pt x="4421" y="803"/>
                      </a:lnTo>
                      <a:lnTo>
                        <a:pt x="4422" y="790"/>
                      </a:lnTo>
                      <a:lnTo>
                        <a:pt x="4424" y="778"/>
                      </a:lnTo>
                      <a:lnTo>
                        <a:pt x="4424" y="765"/>
                      </a:lnTo>
                      <a:lnTo>
                        <a:pt x="4422" y="751"/>
                      </a:lnTo>
                      <a:lnTo>
                        <a:pt x="4420" y="738"/>
                      </a:lnTo>
                      <a:lnTo>
                        <a:pt x="4416" y="723"/>
                      </a:lnTo>
                      <a:lnTo>
                        <a:pt x="4412" y="709"/>
                      </a:lnTo>
                      <a:lnTo>
                        <a:pt x="4407" y="693"/>
                      </a:lnTo>
                      <a:lnTo>
                        <a:pt x="4400" y="677"/>
                      </a:lnTo>
                      <a:lnTo>
                        <a:pt x="4393" y="663"/>
                      </a:lnTo>
                      <a:lnTo>
                        <a:pt x="4375" y="630"/>
                      </a:lnTo>
                      <a:lnTo>
                        <a:pt x="4353" y="597"/>
                      </a:lnTo>
                      <a:lnTo>
                        <a:pt x="4335" y="574"/>
                      </a:lnTo>
                      <a:lnTo>
                        <a:pt x="4316" y="550"/>
                      </a:lnTo>
                      <a:lnTo>
                        <a:pt x="4297" y="528"/>
                      </a:lnTo>
                      <a:lnTo>
                        <a:pt x="4277" y="507"/>
                      </a:lnTo>
                      <a:lnTo>
                        <a:pt x="4255" y="486"/>
                      </a:lnTo>
                      <a:lnTo>
                        <a:pt x="4232" y="464"/>
                      </a:lnTo>
                      <a:lnTo>
                        <a:pt x="4207" y="443"/>
                      </a:lnTo>
                      <a:lnTo>
                        <a:pt x="4180" y="422"/>
                      </a:lnTo>
                      <a:lnTo>
                        <a:pt x="4152" y="401"/>
                      </a:lnTo>
                      <a:lnTo>
                        <a:pt x="4124" y="380"/>
                      </a:lnTo>
                      <a:lnTo>
                        <a:pt x="4092" y="359"/>
                      </a:lnTo>
                      <a:lnTo>
                        <a:pt x="4061" y="339"/>
                      </a:lnTo>
                      <a:lnTo>
                        <a:pt x="4027" y="318"/>
                      </a:lnTo>
                      <a:lnTo>
                        <a:pt x="3991" y="300"/>
                      </a:lnTo>
                      <a:lnTo>
                        <a:pt x="3955" y="280"/>
                      </a:lnTo>
                      <a:lnTo>
                        <a:pt x="3918" y="262"/>
                      </a:lnTo>
                      <a:lnTo>
                        <a:pt x="3879" y="244"/>
                      </a:lnTo>
                      <a:lnTo>
                        <a:pt x="3838" y="225"/>
                      </a:lnTo>
                      <a:lnTo>
                        <a:pt x="3835" y="224"/>
                      </a:lnTo>
                      <a:lnTo>
                        <a:pt x="3833" y="224"/>
                      </a:lnTo>
                      <a:lnTo>
                        <a:pt x="3794" y="208"/>
                      </a:lnTo>
                      <a:lnTo>
                        <a:pt x="3756" y="193"/>
                      </a:lnTo>
                      <a:lnTo>
                        <a:pt x="3718" y="179"/>
                      </a:lnTo>
                      <a:lnTo>
                        <a:pt x="3680" y="168"/>
                      </a:lnTo>
                      <a:lnTo>
                        <a:pt x="3643" y="156"/>
                      </a:lnTo>
                      <a:lnTo>
                        <a:pt x="3606" y="147"/>
                      </a:lnTo>
                      <a:lnTo>
                        <a:pt x="3571" y="138"/>
                      </a:lnTo>
                      <a:lnTo>
                        <a:pt x="3536" y="131"/>
                      </a:lnTo>
                      <a:lnTo>
                        <a:pt x="3501" y="124"/>
                      </a:lnTo>
                      <a:lnTo>
                        <a:pt x="3469" y="119"/>
                      </a:lnTo>
                      <a:lnTo>
                        <a:pt x="3436" y="114"/>
                      </a:lnTo>
                      <a:lnTo>
                        <a:pt x="3405" y="111"/>
                      </a:lnTo>
                      <a:lnTo>
                        <a:pt x="3373" y="109"/>
                      </a:lnTo>
                      <a:lnTo>
                        <a:pt x="3343" y="107"/>
                      </a:lnTo>
                      <a:lnTo>
                        <a:pt x="3314" y="107"/>
                      </a:lnTo>
                      <a:lnTo>
                        <a:pt x="3287" y="109"/>
                      </a:lnTo>
                      <a:lnTo>
                        <a:pt x="3259" y="110"/>
                      </a:lnTo>
                      <a:lnTo>
                        <a:pt x="3234" y="113"/>
                      </a:lnTo>
                      <a:lnTo>
                        <a:pt x="3209" y="115"/>
                      </a:lnTo>
                      <a:lnTo>
                        <a:pt x="3186" y="119"/>
                      </a:lnTo>
                      <a:lnTo>
                        <a:pt x="3164" y="124"/>
                      </a:lnTo>
                      <a:lnTo>
                        <a:pt x="3143" y="131"/>
                      </a:lnTo>
                      <a:lnTo>
                        <a:pt x="3123" y="138"/>
                      </a:lnTo>
                      <a:lnTo>
                        <a:pt x="3103" y="145"/>
                      </a:lnTo>
                      <a:lnTo>
                        <a:pt x="3086" y="153"/>
                      </a:lnTo>
                      <a:lnTo>
                        <a:pt x="3071" y="161"/>
                      </a:lnTo>
                      <a:lnTo>
                        <a:pt x="3056" y="172"/>
                      </a:lnTo>
                      <a:lnTo>
                        <a:pt x="3043" y="182"/>
                      </a:lnTo>
                      <a:lnTo>
                        <a:pt x="3033" y="193"/>
                      </a:lnTo>
                      <a:lnTo>
                        <a:pt x="3022" y="204"/>
                      </a:lnTo>
                      <a:lnTo>
                        <a:pt x="3014" y="216"/>
                      </a:lnTo>
                      <a:lnTo>
                        <a:pt x="3008" y="229"/>
                      </a:lnTo>
                      <a:lnTo>
                        <a:pt x="3002" y="242"/>
                      </a:lnTo>
                      <a:lnTo>
                        <a:pt x="2999" y="257"/>
                      </a:lnTo>
                      <a:lnTo>
                        <a:pt x="2997" y="271"/>
                      </a:lnTo>
                      <a:lnTo>
                        <a:pt x="2997" y="287"/>
                      </a:lnTo>
                      <a:lnTo>
                        <a:pt x="2999" y="304"/>
                      </a:lnTo>
                      <a:lnTo>
                        <a:pt x="3001" y="321"/>
                      </a:lnTo>
                      <a:lnTo>
                        <a:pt x="3006" y="338"/>
                      </a:lnTo>
                      <a:lnTo>
                        <a:pt x="3012" y="356"/>
                      </a:lnTo>
                      <a:lnTo>
                        <a:pt x="3019" y="375"/>
                      </a:lnTo>
                      <a:lnTo>
                        <a:pt x="3029" y="394"/>
                      </a:lnTo>
                      <a:lnTo>
                        <a:pt x="3039" y="413"/>
                      </a:lnTo>
                      <a:lnTo>
                        <a:pt x="3051" y="432"/>
                      </a:lnTo>
                      <a:lnTo>
                        <a:pt x="3064" y="453"/>
                      </a:lnTo>
                      <a:lnTo>
                        <a:pt x="3078" y="473"/>
                      </a:lnTo>
                      <a:lnTo>
                        <a:pt x="3095" y="493"/>
                      </a:lnTo>
                      <a:lnTo>
                        <a:pt x="3112" y="514"/>
                      </a:lnTo>
                      <a:lnTo>
                        <a:pt x="3132" y="534"/>
                      </a:lnTo>
                      <a:lnTo>
                        <a:pt x="3153" y="555"/>
                      </a:lnTo>
                      <a:lnTo>
                        <a:pt x="3174" y="576"/>
                      </a:lnTo>
                      <a:lnTo>
                        <a:pt x="3198" y="596"/>
                      </a:lnTo>
                      <a:lnTo>
                        <a:pt x="3222" y="617"/>
                      </a:lnTo>
                      <a:lnTo>
                        <a:pt x="3249" y="638"/>
                      </a:lnTo>
                      <a:lnTo>
                        <a:pt x="3276" y="658"/>
                      </a:lnTo>
                      <a:lnTo>
                        <a:pt x="3305" y="679"/>
                      </a:lnTo>
                      <a:lnTo>
                        <a:pt x="3335" y="698"/>
                      </a:lnTo>
                      <a:lnTo>
                        <a:pt x="3367" y="718"/>
                      </a:lnTo>
                      <a:lnTo>
                        <a:pt x="3399" y="738"/>
                      </a:lnTo>
                      <a:lnTo>
                        <a:pt x="3433" y="757"/>
                      </a:lnTo>
                      <a:lnTo>
                        <a:pt x="3469" y="775"/>
                      </a:lnTo>
                      <a:lnTo>
                        <a:pt x="3505" y="794"/>
                      </a:lnTo>
                      <a:lnTo>
                        <a:pt x="3543" y="811"/>
                      </a:lnTo>
                      <a:lnTo>
                        <a:pt x="3583" y="828"/>
                      </a:lnTo>
                      <a:lnTo>
                        <a:pt x="3632" y="849"/>
                      </a:lnTo>
                      <a:lnTo>
                        <a:pt x="3681" y="867"/>
                      </a:lnTo>
                      <a:lnTo>
                        <a:pt x="3729" y="883"/>
                      </a:lnTo>
                      <a:lnTo>
                        <a:pt x="3777" y="897"/>
                      </a:lnTo>
                      <a:lnTo>
                        <a:pt x="3737" y="992"/>
                      </a:lnTo>
                      <a:lnTo>
                        <a:pt x="3670" y="969"/>
                      </a:lnTo>
                      <a:lnTo>
                        <a:pt x="3605" y="946"/>
                      </a:lnTo>
                      <a:lnTo>
                        <a:pt x="3541" y="920"/>
                      </a:lnTo>
                      <a:lnTo>
                        <a:pt x="3477" y="891"/>
                      </a:lnTo>
                      <a:lnTo>
                        <a:pt x="3414" y="861"/>
                      </a:lnTo>
                      <a:lnTo>
                        <a:pt x="3353" y="828"/>
                      </a:lnTo>
                      <a:lnTo>
                        <a:pt x="3295" y="794"/>
                      </a:lnTo>
                      <a:lnTo>
                        <a:pt x="3238" y="757"/>
                      </a:lnTo>
                      <a:lnTo>
                        <a:pt x="3184" y="719"/>
                      </a:lnTo>
                      <a:lnTo>
                        <a:pt x="3135" y="681"/>
                      </a:lnTo>
                      <a:lnTo>
                        <a:pt x="3111" y="662"/>
                      </a:lnTo>
                      <a:lnTo>
                        <a:pt x="3089" y="641"/>
                      </a:lnTo>
                      <a:lnTo>
                        <a:pt x="3067" y="621"/>
                      </a:lnTo>
                      <a:lnTo>
                        <a:pt x="3046" y="600"/>
                      </a:lnTo>
                      <a:lnTo>
                        <a:pt x="3026" y="579"/>
                      </a:lnTo>
                      <a:lnTo>
                        <a:pt x="3008" y="558"/>
                      </a:lnTo>
                      <a:lnTo>
                        <a:pt x="2989" y="537"/>
                      </a:lnTo>
                      <a:lnTo>
                        <a:pt x="2974" y="515"/>
                      </a:lnTo>
                      <a:lnTo>
                        <a:pt x="2959" y="494"/>
                      </a:lnTo>
                      <a:lnTo>
                        <a:pt x="2945" y="472"/>
                      </a:lnTo>
                      <a:lnTo>
                        <a:pt x="2933" y="451"/>
                      </a:lnTo>
                      <a:lnTo>
                        <a:pt x="2923" y="428"/>
                      </a:lnTo>
                      <a:lnTo>
                        <a:pt x="2541" y="1327"/>
                      </a:lnTo>
                      <a:lnTo>
                        <a:pt x="2488" y="1317"/>
                      </a:lnTo>
                      <a:lnTo>
                        <a:pt x="2435" y="1309"/>
                      </a:lnTo>
                      <a:lnTo>
                        <a:pt x="2911" y="187"/>
                      </a:lnTo>
                      <a:lnTo>
                        <a:pt x="2920" y="169"/>
                      </a:lnTo>
                      <a:lnTo>
                        <a:pt x="2930" y="151"/>
                      </a:lnTo>
                      <a:lnTo>
                        <a:pt x="2942" y="134"/>
                      </a:lnTo>
                      <a:lnTo>
                        <a:pt x="2957" y="118"/>
                      </a:lnTo>
                      <a:lnTo>
                        <a:pt x="2974" y="100"/>
                      </a:lnTo>
                      <a:lnTo>
                        <a:pt x="2993" y="83"/>
                      </a:lnTo>
                      <a:lnTo>
                        <a:pt x="3016" y="68"/>
                      </a:lnTo>
                      <a:lnTo>
                        <a:pt x="3038" y="55"/>
                      </a:lnTo>
                      <a:lnTo>
                        <a:pt x="3063" y="43"/>
                      </a:lnTo>
                      <a:lnTo>
                        <a:pt x="3088" y="33"/>
                      </a:lnTo>
                      <a:lnTo>
                        <a:pt x="3115" y="24"/>
                      </a:lnTo>
                      <a:lnTo>
                        <a:pt x="3143" y="16"/>
                      </a:lnTo>
                      <a:lnTo>
                        <a:pt x="3173" y="10"/>
                      </a:lnTo>
                      <a:lnTo>
                        <a:pt x="3203" y="5"/>
                      </a:lnTo>
                      <a:lnTo>
                        <a:pt x="3234" y="3"/>
                      </a:lnTo>
                      <a:lnTo>
                        <a:pt x="3267" y="1"/>
                      </a:lnTo>
                      <a:lnTo>
                        <a:pt x="3301" y="0"/>
                      </a:lnTo>
                      <a:lnTo>
                        <a:pt x="3335" y="1"/>
                      </a:lnTo>
                      <a:lnTo>
                        <a:pt x="3370" y="3"/>
                      </a:lnTo>
                      <a:lnTo>
                        <a:pt x="3406" y="7"/>
                      </a:lnTo>
                      <a:lnTo>
                        <a:pt x="3462" y="12"/>
                      </a:lnTo>
                      <a:lnTo>
                        <a:pt x="3521" y="21"/>
                      </a:lnTo>
                      <a:lnTo>
                        <a:pt x="3580" y="33"/>
                      </a:lnTo>
                      <a:lnTo>
                        <a:pt x="3639" y="47"/>
                      </a:lnTo>
                      <a:lnTo>
                        <a:pt x="3699" y="64"/>
                      </a:lnTo>
                      <a:lnTo>
                        <a:pt x="3760" y="84"/>
                      </a:lnTo>
                      <a:lnTo>
                        <a:pt x="3820" y="105"/>
                      </a:lnTo>
                      <a:lnTo>
                        <a:pt x="3879" y="130"/>
                      </a:lnTo>
                      <a:lnTo>
                        <a:pt x="3928" y="151"/>
                      </a:lnTo>
                      <a:lnTo>
                        <a:pt x="3977" y="174"/>
                      </a:lnTo>
                      <a:lnTo>
                        <a:pt x="4024" y="199"/>
                      </a:lnTo>
                      <a:lnTo>
                        <a:pt x="4070" y="224"/>
                      </a:lnTo>
                      <a:lnTo>
                        <a:pt x="4114" y="252"/>
                      </a:lnTo>
                      <a:lnTo>
                        <a:pt x="4158" y="279"/>
                      </a:lnTo>
                      <a:lnTo>
                        <a:pt x="4200" y="308"/>
                      </a:lnTo>
                      <a:lnTo>
                        <a:pt x="4239" y="337"/>
                      </a:lnTo>
                      <a:lnTo>
                        <a:pt x="4278" y="367"/>
                      </a:lnTo>
                      <a:lnTo>
                        <a:pt x="4315" y="398"/>
                      </a:lnTo>
                      <a:lnTo>
                        <a:pt x="4349" y="430"/>
                      </a:lnTo>
                      <a:lnTo>
                        <a:pt x="4382" y="461"/>
                      </a:lnTo>
                      <a:lnTo>
                        <a:pt x="4410" y="494"/>
                      </a:lnTo>
                      <a:lnTo>
                        <a:pt x="4438" y="527"/>
                      </a:lnTo>
                      <a:lnTo>
                        <a:pt x="4462" y="559"/>
                      </a:lnTo>
                      <a:lnTo>
                        <a:pt x="4481" y="593"/>
                      </a:lnTo>
                      <a:lnTo>
                        <a:pt x="4498" y="627"/>
                      </a:lnTo>
                      <a:lnTo>
                        <a:pt x="4506" y="644"/>
                      </a:lnTo>
                      <a:lnTo>
                        <a:pt x="4513" y="662"/>
                      </a:lnTo>
                      <a:lnTo>
                        <a:pt x="4518" y="679"/>
                      </a:lnTo>
                      <a:lnTo>
                        <a:pt x="4522" y="696"/>
                      </a:lnTo>
                      <a:lnTo>
                        <a:pt x="4526" y="713"/>
                      </a:lnTo>
                      <a:lnTo>
                        <a:pt x="4528" y="728"/>
                      </a:lnTo>
                      <a:lnTo>
                        <a:pt x="4530" y="745"/>
                      </a:lnTo>
                      <a:lnTo>
                        <a:pt x="4531" y="762"/>
                      </a:lnTo>
                      <a:lnTo>
                        <a:pt x="4530" y="779"/>
                      </a:lnTo>
                      <a:lnTo>
                        <a:pt x="4528" y="796"/>
                      </a:lnTo>
                      <a:lnTo>
                        <a:pt x="4526" y="813"/>
                      </a:lnTo>
                      <a:lnTo>
                        <a:pt x="4522" y="831"/>
                      </a:lnTo>
                      <a:lnTo>
                        <a:pt x="4517" y="846"/>
                      </a:lnTo>
                      <a:lnTo>
                        <a:pt x="4511" y="863"/>
                      </a:lnTo>
                      <a:lnTo>
                        <a:pt x="4510" y="865"/>
                      </a:lnTo>
                      <a:lnTo>
                        <a:pt x="4510" y="866"/>
                      </a:lnTo>
                      <a:lnTo>
                        <a:pt x="4509" y="867"/>
                      </a:lnTo>
                      <a:lnTo>
                        <a:pt x="4418" y="1085"/>
                      </a:lnTo>
                      <a:lnTo>
                        <a:pt x="4344" y="1269"/>
                      </a:lnTo>
                      <a:lnTo>
                        <a:pt x="4281" y="1428"/>
                      </a:lnTo>
                      <a:lnTo>
                        <a:pt x="4230" y="1560"/>
                      </a:lnTo>
                      <a:close/>
                    </a:path>
                  </a:pathLst>
                </a:custGeom>
                <a:solidFill>
                  <a:schemeClr val="accent1"/>
                </a:solidFill>
                <a:ln w="9525">
                  <a:noFill/>
                  <a:round/>
                  <a:headEnd/>
                  <a:tailEnd/>
                </a:ln>
              </p:spPr>
              <p:txBody>
                <a:bodyPr/>
                <a:lstStyle/>
                <a:p>
                  <a:pPr defTabSz="791108">
                    <a:defRPr/>
                  </a:pPr>
                  <a:endParaRPr lang="de-DE" sz="1557" kern="0" dirty="0">
                    <a:solidFill>
                      <a:srgbClr val="646464"/>
                    </a:solidFill>
                    <a:latin typeface="+mj-lt"/>
                  </a:endParaRPr>
                </a:p>
              </p:txBody>
            </p:sp>
          </p:grpSp>
        </p:grpSp>
      </p:grpSp>
      <p:sp>
        <p:nvSpPr>
          <p:cNvPr id="3" name="TextBox 2"/>
          <p:cNvSpPr txBox="1"/>
          <p:nvPr/>
        </p:nvSpPr>
        <p:spPr>
          <a:xfrm>
            <a:off x="609607" y="1106825"/>
            <a:ext cx="10977034" cy="444272"/>
          </a:xfrm>
          <a:prstGeom prst="rect">
            <a:avLst/>
          </a:prstGeom>
          <a:noFill/>
        </p:spPr>
        <p:txBody>
          <a:bodyPr wrap="square" lIns="0" tIns="0" rIns="0" bIns="0" rtlCol="0" anchor="ctr">
            <a:noAutofit/>
          </a:bodyPr>
          <a:lstStyle/>
          <a:p>
            <a:pPr algn="ctr">
              <a:lnSpc>
                <a:spcPct val="85000"/>
              </a:lnSpc>
              <a:spcAft>
                <a:spcPts val="600"/>
              </a:spcAft>
              <a:buClr>
                <a:schemeClr val="accent2"/>
              </a:buClr>
              <a:buSzPct val="70000"/>
            </a:pPr>
            <a:r>
              <a:rPr lang="en-US" sz="1400" dirty="0">
                <a:solidFill>
                  <a:schemeClr val="bg1"/>
                </a:solidFill>
                <a:latin typeface="+mj-lt"/>
                <a:cs typeface="Adobe Arabic" panose="02040503050201020203" pitchFamily="18" charset="-78"/>
              </a:rPr>
              <a:t>The supply chain </a:t>
            </a:r>
            <a:r>
              <a:rPr lang="en-US" sz="1400" dirty="0" smtClean="0">
                <a:solidFill>
                  <a:schemeClr val="bg1"/>
                </a:solidFill>
                <a:latin typeface="+mj-lt"/>
                <a:cs typeface="Adobe Arabic" panose="02040503050201020203" pitchFamily="18" charset="-78"/>
              </a:rPr>
              <a:t>must be positioned to </a:t>
            </a:r>
            <a:r>
              <a:rPr lang="en-US" sz="1400" dirty="0">
                <a:solidFill>
                  <a:schemeClr val="bg1"/>
                </a:solidFill>
                <a:latin typeface="+mj-lt"/>
                <a:cs typeface="Adobe Arabic" panose="02040503050201020203" pitchFamily="18" charset="-78"/>
              </a:rPr>
              <a:t>meet the needs of </a:t>
            </a:r>
            <a:r>
              <a:rPr lang="en-US" sz="1400" dirty="0" smtClean="0">
                <a:solidFill>
                  <a:schemeClr val="bg1"/>
                </a:solidFill>
                <a:latin typeface="+mj-lt"/>
                <a:cs typeface="Adobe Arabic" panose="02040503050201020203" pitchFamily="18" charset="-78"/>
              </a:rPr>
              <a:t>today’s </a:t>
            </a:r>
            <a:r>
              <a:rPr lang="en-US" sz="1400" dirty="0">
                <a:solidFill>
                  <a:schemeClr val="bg1"/>
                </a:solidFill>
                <a:latin typeface="+mj-lt"/>
                <a:cs typeface="Adobe Arabic" panose="02040503050201020203" pitchFamily="18" charset="-78"/>
              </a:rPr>
              <a:t>digitally savvy </a:t>
            </a:r>
            <a:r>
              <a:rPr lang="en-US" sz="1400" dirty="0" smtClean="0">
                <a:solidFill>
                  <a:schemeClr val="bg1"/>
                </a:solidFill>
                <a:latin typeface="+mj-lt"/>
                <a:cs typeface="Adobe Arabic" panose="02040503050201020203" pitchFamily="18" charset="-78"/>
              </a:rPr>
              <a:t>business consumer</a:t>
            </a:r>
            <a:r>
              <a:rPr lang="en-US" sz="1400" dirty="0">
                <a:solidFill>
                  <a:schemeClr val="bg1"/>
                </a:solidFill>
                <a:latin typeface="+mj-lt"/>
                <a:cs typeface="Adobe Arabic" panose="02040503050201020203" pitchFamily="18" charset="-78"/>
              </a:rPr>
              <a:t>, </a:t>
            </a:r>
            <a:r>
              <a:rPr lang="en-US" sz="1400" dirty="0" smtClean="0">
                <a:solidFill>
                  <a:schemeClr val="bg1"/>
                </a:solidFill>
                <a:latin typeface="+mj-lt"/>
                <a:cs typeface="Adobe Arabic" panose="02040503050201020203" pitchFamily="18" charset="-78"/>
              </a:rPr>
              <a:t>integrating  a complex </a:t>
            </a:r>
            <a:r>
              <a:rPr lang="en-US" sz="1400" dirty="0">
                <a:solidFill>
                  <a:schemeClr val="bg1"/>
                </a:solidFill>
                <a:latin typeface="+mj-lt"/>
                <a:cs typeface="Adobe Arabic" panose="02040503050201020203" pitchFamily="18" charset="-78"/>
              </a:rPr>
              <a:t>ecosystem </a:t>
            </a:r>
            <a:r>
              <a:rPr lang="en-US" sz="1400" dirty="0" smtClean="0">
                <a:solidFill>
                  <a:schemeClr val="bg1"/>
                </a:solidFill>
                <a:latin typeface="+mj-lt"/>
                <a:cs typeface="Adobe Arabic" panose="02040503050201020203" pitchFamily="18" charset="-78"/>
              </a:rPr>
              <a:t>suppliers and customers to deliver </a:t>
            </a:r>
            <a:r>
              <a:rPr lang="en-US" sz="1400" dirty="0">
                <a:solidFill>
                  <a:schemeClr val="bg1"/>
                </a:solidFill>
                <a:latin typeface="+mj-lt"/>
                <a:cs typeface="Adobe Arabic" panose="02040503050201020203" pitchFamily="18" charset="-78"/>
              </a:rPr>
              <a:t>on increasingly demanding cost and cash saving </a:t>
            </a:r>
            <a:r>
              <a:rPr lang="en-US" sz="1400" dirty="0" smtClean="0">
                <a:solidFill>
                  <a:schemeClr val="bg1"/>
                </a:solidFill>
                <a:latin typeface="+mj-lt"/>
                <a:cs typeface="Adobe Arabic" panose="02040503050201020203" pitchFamily="18" charset="-78"/>
              </a:rPr>
              <a:t>demands while still running efficiently</a:t>
            </a:r>
            <a:endParaRPr lang="en-IN" sz="1400" b="1" dirty="0" smtClean="0">
              <a:solidFill>
                <a:schemeClr val="bg1"/>
              </a:solidFill>
              <a:latin typeface="+mj-lt"/>
            </a:endParaRPr>
          </a:p>
        </p:txBody>
      </p:sp>
    </p:spTree>
    <p:extLst>
      <p:ext uri="{BB962C8B-B14F-4D97-AF65-F5344CB8AC3E}">
        <p14:creationId xmlns:p14="http://schemas.microsoft.com/office/powerpoint/2010/main" val="36856926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73" name="think-cell Slide" r:id="rId6" imgW="421" imgH="420" progId="TCLayout.ActiveDocument.1">
                  <p:embed/>
                </p:oleObj>
              </mc:Choice>
              <mc:Fallback>
                <p:oleObj name="think-cell Slide" r:id="rId6" imgW="421" imgH="42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en-IN" sz="24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609601" y="247524"/>
            <a:ext cx="10972800" cy="859952"/>
          </a:xfrm>
        </p:spPr>
        <p:txBody>
          <a:bodyPr/>
          <a:lstStyle/>
          <a:p>
            <a:r>
              <a:rPr lang="en-IN" sz="2400" dirty="0"/>
              <a:t>Talent &amp; culture </a:t>
            </a:r>
            <a:r>
              <a:rPr lang="en-IN" sz="2400" dirty="0" smtClean="0"/>
              <a:t>solution </a:t>
            </a:r>
            <a:r>
              <a:rPr lang="en-IN" sz="2400" dirty="0"/>
              <a:t>for Organization and Workforce Transformation</a:t>
            </a:r>
            <a:r>
              <a:rPr lang="en-IN" sz="1800" dirty="0"/>
              <a:t/>
            </a:r>
            <a:br>
              <a:rPr lang="en-IN" sz="1800" dirty="0"/>
            </a:br>
            <a:endParaRPr lang="en-IN" sz="1799" b="0" dirty="0"/>
          </a:p>
        </p:txBody>
      </p:sp>
      <p:sp>
        <p:nvSpPr>
          <p:cNvPr id="31" name="Freeform 368"/>
          <p:cNvSpPr/>
          <p:nvPr/>
        </p:nvSpPr>
        <p:spPr>
          <a:xfrm>
            <a:off x="996297" y="1141149"/>
            <a:ext cx="1537716" cy="1537716"/>
          </a:xfrm>
          <a:custGeom>
            <a:avLst/>
            <a:gdLst/>
            <a:ahLst/>
            <a:cxnLst/>
            <a:rect l="0" t="0" r="0" b="0"/>
            <a:pathLst>
              <a:path w="1537716" h="1537716">
                <a:moveTo>
                  <a:pt x="0" y="768858"/>
                </a:moveTo>
                <a:cubicBezTo>
                  <a:pt x="0" y="344234"/>
                  <a:pt x="344233" y="0"/>
                  <a:pt x="768858" y="0"/>
                </a:cubicBezTo>
                <a:cubicBezTo>
                  <a:pt x="1193482" y="0"/>
                  <a:pt x="1537716" y="344234"/>
                  <a:pt x="1537716" y="768858"/>
                </a:cubicBezTo>
                <a:cubicBezTo>
                  <a:pt x="1537716" y="1193482"/>
                  <a:pt x="1193482" y="1537716"/>
                  <a:pt x="768858" y="1537716"/>
                </a:cubicBezTo>
                <a:cubicBezTo>
                  <a:pt x="344233" y="1537716"/>
                  <a:pt x="0" y="1193482"/>
                  <a:pt x="0" y="768858"/>
                </a:cubicBezTo>
              </a:path>
            </a:pathLst>
          </a:custGeom>
          <a:solidFill>
            <a:srgbClr val="FFD2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32" name="Picture 36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a:xfrm>
            <a:off x="1381869" y="1403277"/>
            <a:ext cx="758952" cy="975359"/>
          </a:xfrm>
          <a:prstGeom prst="rect">
            <a:avLst/>
          </a:prstGeom>
          <a:noFill/>
          <a:extLst/>
        </p:spPr>
      </p:pic>
      <p:sp>
        <p:nvSpPr>
          <p:cNvPr id="33" name="Freeform 370"/>
          <p:cNvSpPr/>
          <p:nvPr/>
        </p:nvSpPr>
        <p:spPr>
          <a:xfrm>
            <a:off x="6937325" y="1141149"/>
            <a:ext cx="1537716" cy="1537716"/>
          </a:xfrm>
          <a:custGeom>
            <a:avLst/>
            <a:gdLst/>
            <a:ahLst/>
            <a:cxnLst/>
            <a:rect l="0" t="0" r="0" b="0"/>
            <a:pathLst>
              <a:path w="1537716" h="1537716">
                <a:moveTo>
                  <a:pt x="0" y="768858"/>
                </a:moveTo>
                <a:cubicBezTo>
                  <a:pt x="0" y="344234"/>
                  <a:pt x="344233" y="0"/>
                  <a:pt x="768858" y="0"/>
                </a:cubicBezTo>
                <a:cubicBezTo>
                  <a:pt x="1193482" y="0"/>
                  <a:pt x="1537716" y="344234"/>
                  <a:pt x="1537716" y="768858"/>
                </a:cubicBezTo>
                <a:cubicBezTo>
                  <a:pt x="1537716" y="1193482"/>
                  <a:pt x="1193482" y="1537716"/>
                  <a:pt x="768858" y="1537716"/>
                </a:cubicBezTo>
                <a:cubicBezTo>
                  <a:pt x="344233" y="1537716"/>
                  <a:pt x="0" y="1193482"/>
                  <a:pt x="0" y="768858"/>
                </a:cubicBezTo>
              </a:path>
            </a:pathLst>
          </a:custGeom>
          <a:solidFill>
            <a:srgbClr val="FFD2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34" name="Freeform 371"/>
          <p:cNvSpPr/>
          <p:nvPr/>
        </p:nvSpPr>
        <p:spPr>
          <a:xfrm>
            <a:off x="7258889" y="1502336"/>
            <a:ext cx="833628" cy="833628"/>
          </a:xfrm>
          <a:custGeom>
            <a:avLst/>
            <a:gdLst/>
            <a:ahLst/>
            <a:cxnLst/>
            <a:rect l="0" t="0" r="0" b="0"/>
            <a:pathLst>
              <a:path w="833628" h="833628">
                <a:moveTo>
                  <a:pt x="0" y="0"/>
                </a:moveTo>
                <a:lnTo>
                  <a:pt x="833628" y="0"/>
                </a:lnTo>
                <a:lnTo>
                  <a:pt x="833628" y="833628"/>
                </a:lnTo>
                <a:lnTo>
                  <a:pt x="0" y="833628"/>
                </a:lnTo>
                <a:lnTo>
                  <a:pt x="0" y="0"/>
                </a:lnTo>
                <a:close/>
              </a:path>
            </a:pathLst>
          </a:custGeom>
          <a:solidFill>
            <a:srgbClr val="FFD2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35" name="Picture 372"/>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a:xfrm>
            <a:off x="7258889" y="1502336"/>
            <a:ext cx="833627" cy="833627"/>
          </a:xfrm>
          <a:prstGeom prst="rect">
            <a:avLst/>
          </a:prstGeom>
          <a:noFill/>
          <a:extLst/>
        </p:spPr>
      </p:pic>
      <p:sp>
        <p:nvSpPr>
          <p:cNvPr id="36" name="Freeform 373"/>
          <p:cNvSpPr/>
          <p:nvPr/>
        </p:nvSpPr>
        <p:spPr>
          <a:xfrm>
            <a:off x="3988710" y="1141149"/>
            <a:ext cx="1536191" cy="1537716"/>
          </a:xfrm>
          <a:custGeom>
            <a:avLst/>
            <a:gdLst/>
            <a:ahLst/>
            <a:cxnLst/>
            <a:rect l="0" t="0" r="0" b="0"/>
            <a:pathLst>
              <a:path w="1536191" h="1537716">
                <a:moveTo>
                  <a:pt x="0" y="768858"/>
                </a:moveTo>
                <a:cubicBezTo>
                  <a:pt x="0" y="344234"/>
                  <a:pt x="343890" y="0"/>
                  <a:pt x="768095" y="0"/>
                </a:cubicBezTo>
                <a:cubicBezTo>
                  <a:pt x="1192301" y="0"/>
                  <a:pt x="1536191" y="344234"/>
                  <a:pt x="1536191" y="768858"/>
                </a:cubicBezTo>
                <a:cubicBezTo>
                  <a:pt x="1536191" y="1193482"/>
                  <a:pt x="1192301" y="1537716"/>
                  <a:pt x="768095" y="1537716"/>
                </a:cubicBezTo>
                <a:cubicBezTo>
                  <a:pt x="343890" y="1537716"/>
                  <a:pt x="0" y="1193482"/>
                  <a:pt x="0" y="768858"/>
                </a:cubicBezTo>
              </a:path>
            </a:pathLst>
          </a:custGeom>
          <a:solidFill>
            <a:srgbClr val="FFD2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37" name="Freeform 374"/>
          <p:cNvSpPr/>
          <p:nvPr/>
        </p:nvSpPr>
        <p:spPr>
          <a:xfrm>
            <a:off x="4225651" y="1453569"/>
            <a:ext cx="1005840" cy="854964"/>
          </a:xfrm>
          <a:custGeom>
            <a:avLst/>
            <a:gdLst/>
            <a:ahLst/>
            <a:cxnLst/>
            <a:rect l="0" t="0" r="0" b="0"/>
            <a:pathLst>
              <a:path w="1005840" h="854964">
                <a:moveTo>
                  <a:pt x="0" y="0"/>
                </a:moveTo>
                <a:lnTo>
                  <a:pt x="1005840" y="0"/>
                </a:lnTo>
                <a:lnTo>
                  <a:pt x="1005840" y="854964"/>
                </a:lnTo>
                <a:lnTo>
                  <a:pt x="0" y="854964"/>
                </a:lnTo>
                <a:lnTo>
                  <a:pt x="0" y="0"/>
                </a:lnTo>
                <a:close/>
              </a:path>
            </a:pathLst>
          </a:custGeom>
          <a:solidFill>
            <a:srgbClr val="FFD2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38" name="Picture 375"/>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a:xfrm>
            <a:off x="4225651" y="1453569"/>
            <a:ext cx="1005839" cy="854964"/>
          </a:xfrm>
          <a:prstGeom prst="rect">
            <a:avLst/>
          </a:prstGeom>
          <a:noFill/>
          <a:extLst/>
        </p:spPr>
      </p:pic>
      <p:sp>
        <p:nvSpPr>
          <p:cNvPr id="39" name="Freeform 376"/>
          <p:cNvSpPr/>
          <p:nvPr/>
        </p:nvSpPr>
        <p:spPr>
          <a:xfrm>
            <a:off x="9710603" y="1141149"/>
            <a:ext cx="1537716" cy="1537716"/>
          </a:xfrm>
          <a:custGeom>
            <a:avLst/>
            <a:gdLst/>
            <a:ahLst/>
            <a:cxnLst/>
            <a:rect l="0" t="0" r="0" b="0"/>
            <a:pathLst>
              <a:path w="1537716" h="1537716">
                <a:moveTo>
                  <a:pt x="0" y="768858"/>
                </a:moveTo>
                <a:cubicBezTo>
                  <a:pt x="0" y="344234"/>
                  <a:pt x="344233" y="0"/>
                  <a:pt x="768858" y="0"/>
                </a:cubicBezTo>
                <a:cubicBezTo>
                  <a:pt x="1193482" y="0"/>
                  <a:pt x="1537716" y="344234"/>
                  <a:pt x="1537716" y="768858"/>
                </a:cubicBezTo>
                <a:cubicBezTo>
                  <a:pt x="1537716" y="1193482"/>
                  <a:pt x="1193482" y="1537716"/>
                  <a:pt x="768858" y="1537716"/>
                </a:cubicBezTo>
                <a:cubicBezTo>
                  <a:pt x="344233" y="1537716"/>
                  <a:pt x="0" y="1193482"/>
                  <a:pt x="0" y="768858"/>
                </a:cubicBezTo>
              </a:path>
            </a:pathLst>
          </a:custGeom>
          <a:solidFill>
            <a:srgbClr val="FFD2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pic>
        <p:nvPicPr>
          <p:cNvPr id="40" name="Picture 377"/>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a:xfrm>
            <a:off x="9971207" y="1296596"/>
            <a:ext cx="1011936" cy="1133855"/>
          </a:xfrm>
          <a:prstGeom prst="rect">
            <a:avLst/>
          </a:prstGeom>
          <a:noFill/>
          <a:extLst/>
        </p:spPr>
      </p:pic>
      <p:sp>
        <p:nvSpPr>
          <p:cNvPr id="41" name="Freeform 378"/>
          <p:cNvSpPr/>
          <p:nvPr/>
        </p:nvSpPr>
        <p:spPr>
          <a:xfrm>
            <a:off x="886569" y="3032754"/>
            <a:ext cx="1705292" cy="0"/>
          </a:xfrm>
          <a:custGeom>
            <a:avLst/>
            <a:gdLst/>
            <a:ahLst/>
            <a:cxnLst/>
            <a:rect l="0" t="0" r="0" b="0"/>
            <a:pathLst>
              <a:path w="1705292">
                <a:moveTo>
                  <a:pt x="0" y="0"/>
                </a:moveTo>
                <a:lnTo>
                  <a:pt x="1705292" y="0"/>
                </a:lnTo>
              </a:path>
            </a:pathLst>
          </a:custGeom>
          <a:noFill/>
          <a:ln w="15240" cap="flat" cmpd="sng">
            <a:solidFill>
              <a:srgbClr val="FFD2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2" name="Freeform 379"/>
          <p:cNvSpPr/>
          <p:nvPr/>
        </p:nvSpPr>
        <p:spPr>
          <a:xfrm>
            <a:off x="3898793" y="3032754"/>
            <a:ext cx="1705292" cy="0"/>
          </a:xfrm>
          <a:custGeom>
            <a:avLst/>
            <a:gdLst/>
            <a:ahLst/>
            <a:cxnLst/>
            <a:rect l="0" t="0" r="0" b="0"/>
            <a:pathLst>
              <a:path w="1705292">
                <a:moveTo>
                  <a:pt x="0" y="0"/>
                </a:moveTo>
                <a:lnTo>
                  <a:pt x="1705292" y="0"/>
                </a:lnTo>
              </a:path>
            </a:pathLst>
          </a:custGeom>
          <a:noFill/>
          <a:ln w="15240" cap="flat" cmpd="sng">
            <a:solidFill>
              <a:srgbClr val="FFD2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3" name="Freeform 380"/>
          <p:cNvSpPr/>
          <p:nvPr/>
        </p:nvSpPr>
        <p:spPr>
          <a:xfrm>
            <a:off x="6789497" y="3032754"/>
            <a:ext cx="1705292" cy="0"/>
          </a:xfrm>
          <a:custGeom>
            <a:avLst/>
            <a:gdLst/>
            <a:ahLst/>
            <a:cxnLst/>
            <a:rect l="0" t="0" r="0" b="0"/>
            <a:pathLst>
              <a:path w="1705292">
                <a:moveTo>
                  <a:pt x="0" y="0"/>
                </a:moveTo>
                <a:lnTo>
                  <a:pt x="1705292" y="0"/>
                </a:lnTo>
              </a:path>
            </a:pathLst>
          </a:custGeom>
          <a:noFill/>
          <a:ln w="15240" cap="flat" cmpd="sng">
            <a:solidFill>
              <a:srgbClr val="FFD2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45" name="Freeform 381"/>
          <p:cNvSpPr/>
          <p:nvPr/>
        </p:nvSpPr>
        <p:spPr>
          <a:xfrm>
            <a:off x="9684695" y="3032754"/>
            <a:ext cx="1705292" cy="0"/>
          </a:xfrm>
          <a:custGeom>
            <a:avLst/>
            <a:gdLst/>
            <a:ahLst/>
            <a:cxnLst/>
            <a:rect l="0" t="0" r="0" b="0"/>
            <a:pathLst>
              <a:path w="1705292">
                <a:moveTo>
                  <a:pt x="0" y="0"/>
                </a:moveTo>
                <a:lnTo>
                  <a:pt x="1705292" y="0"/>
                </a:lnTo>
              </a:path>
            </a:pathLst>
          </a:custGeom>
          <a:noFill/>
          <a:ln w="15240" cap="flat" cmpd="sng">
            <a:solidFill>
              <a:srgbClr val="FFD200">
                <a:alpha val="100000"/>
              </a:srgbClr>
            </a:solidFill>
            <a:round/>
          </a:ln>
        </p:spPr>
        <p:style>
          <a:lnRef idx="2">
            <a:schemeClr val="accent1">
              <a:shade val="50000"/>
            </a:schemeClr>
          </a:lnRef>
          <a:fillRef idx="1">
            <a:schemeClr val="accent1"/>
          </a:fillRef>
          <a:effectRef idx="0">
            <a:schemeClr val="accent1"/>
          </a:effectRef>
          <a:fontRef idx="minor">
            <a:schemeClr val="lt1"/>
          </a:fontRef>
        </p:style>
      </p:sp>
      <p:sp>
        <p:nvSpPr>
          <p:cNvPr id="82" name="Rectangle 420"/>
          <p:cNvSpPr/>
          <p:nvPr/>
        </p:nvSpPr>
        <p:spPr>
          <a:xfrm>
            <a:off x="1147974" y="2684478"/>
            <a:ext cx="1151037" cy="401612"/>
          </a:xfrm>
          <a:prstGeom prst="rect">
            <a:avLst/>
          </a:prstGeom>
        </p:spPr>
        <p:txBody>
          <a:bodyPr wrap="none" lIns="0" tIns="0" rIns="0" bIns="0">
            <a:spAutoFit/>
          </a:bodyPr>
          <a:lstStyle/>
          <a:p>
            <a:pPr marL="0"/>
            <a:r>
              <a:rPr lang="en-US" sz="2004" b="1" i="0" spc="-82" baseline="0" dirty="0">
                <a:solidFill>
                  <a:srgbClr val="FFFFFF"/>
                </a:solidFill>
                <a:latin typeface="EYInterstate-Bold"/>
              </a:rPr>
              <a:t>C</a:t>
            </a:r>
            <a:r>
              <a:rPr lang="en-US" sz="2004" b="1" i="0" spc="-46" baseline="0" dirty="0">
                <a:solidFill>
                  <a:srgbClr val="FFFFFF"/>
                </a:solidFill>
                <a:latin typeface="EYInterstate-Bold"/>
              </a:rPr>
              <a:t>a</a:t>
            </a:r>
            <a:r>
              <a:rPr lang="en-US" sz="2004" b="1" i="0" spc="-58" baseline="0" dirty="0">
                <a:solidFill>
                  <a:srgbClr val="FFFFFF"/>
                </a:solidFill>
                <a:latin typeface="EYInterstate-Bold"/>
              </a:rPr>
              <a:t>p</a:t>
            </a:r>
            <a:r>
              <a:rPr lang="en-US" sz="2004" b="1" i="0" spc="-46" baseline="0" dirty="0">
                <a:solidFill>
                  <a:srgbClr val="FFFFFF"/>
                </a:solidFill>
                <a:latin typeface="EYInterstate-Bold"/>
              </a:rPr>
              <a:t>ab</a:t>
            </a:r>
            <a:r>
              <a:rPr lang="en-US" sz="2004" b="1" i="0" spc="-50" baseline="0" dirty="0">
                <a:solidFill>
                  <a:srgbClr val="FFFFFF"/>
                </a:solidFill>
                <a:latin typeface="EYInterstate-Bold"/>
              </a:rPr>
              <a:t>ili</a:t>
            </a:r>
            <a:r>
              <a:rPr lang="en-US" sz="2004" b="1" i="0" spc="-93" baseline="0" dirty="0">
                <a:solidFill>
                  <a:srgbClr val="FFFFFF"/>
                </a:solidFill>
                <a:latin typeface="EYInterstate-Bold"/>
              </a:rPr>
              <a:t>t</a:t>
            </a:r>
            <a:r>
              <a:rPr lang="en-US" sz="2004" b="1" i="0" spc="0" baseline="0" dirty="0">
                <a:solidFill>
                  <a:srgbClr val="FFFFFF"/>
                </a:solidFill>
                <a:latin typeface="EYInterstate-Bold"/>
              </a:rPr>
              <a:t>y</a:t>
            </a:r>
          </a:p>
        </p:txBody>
      </p:sp>
      <p:sp>
        <p:nvSpPr>
          <p:cNvPr id="83" name="Rectangle 421"/>
          <p:cNvSpPr/>
          <p:nvPr/>
        </p:nvSpPr>
        <p:spPr>
          <a:xfrm>
            <a:off x="553075" y="3122819"/>
            <a:ext cx="2367532" cy="986407"/>
          </a:xfrm>
          <a:prstGeom prst="rect">
            <a:avLst/>
          </a:prstGeom>
        </p:spPr>
        <p:txBody>
          <a:bodyPr wrap="none" lIns="0" tIns="0" rIns="0" bIns="0">
            <a:spAutoFit/>
          </a:bodyPr>
          <a:lstStyle/>
          <a:p>
            <a:pPr marL="295655"/>
            <a:r>
              <a:rPr lang="en-US" sz="1500" b="0" i="0" spc="-44" baseline="0" dirty="0">
                <a:solidFill>
                  <a:srgbClr val="FFFFFF"/>
                </a:solidFill>
                <a:latin typeface="EYInterstate-Light"/>
              </a:rPr>
              <a:t>A</a:t>
            </a:r>
            <a:r>
              <a:rPr lang="en-US" sz="1500" b="0" i="0" spc="-82" baseline="0" dirty="0">
                <a:solidFill>
                  <a:srgbClr val="FFFFFF"/>
                </a:solidFill>
                <a:latin typeface="EYInterstate-Light"/>
              </a:rPr>
              <a:t>r</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u</a:t>
            </a:r>
            <a:r>
              <a:rPr lang="en-US" sz="1500" b="0" i="0" spc="-66" baseline="0" dirty="0">
                <a:solidFill>
                  <a:srgbClr val="FFFFFF"/>
                </a:solidFill>
                <a:latin typeface="EYInterstate-Light"/>
              </a:rPr>
              <a:t> </a:t>
            </a:r>
            <a:r>
              <a:rPr lang="en-US" sz="1500" b="1" i="0" spc="-42" baseline="0" dirty="0">
                <a:solidFill>
                  <a:srgbClr val="FFD200"/>
                </a:solidFill>
                <a:latin typeface="EYInterstate-Bold"/>
              </a:rPr>
              <a:t>a</a:t>
            </a:r>
            <a:r>
              <a:rPr lang="en-US" sz="1500" b="1" i="0" spc="-50" baseline="0" dirty="0">
                <a:solidFill>
                  <a:srgbClr val="FFD200"/>
                </a:solidFill>
                <a:latin typeface="EYInterstate-Bold"/>
              </a:rPr>
              <a:t>li</a:t>
            </a:r>
            <a:r>
              <a:rPr lang="en-US" sz="1500" b="1" i="0" spc="-51" baseline="0" dirty="0">
                <a:solidFill>
                  <a:srgbClr val="FFD200"/>
                </a:solidFill>
                <a:latin typeface="EYInterstate-Bold"/>
              </a:rPr>
              <a:t>g</a:t>
            </a:r>
            <a:r>
              <a:rPr lang="en-US" sz="1500" b="1" i="0" spc="-47" baseline="0" dirty="0">
                <a:solidFill>
                  <a:srgbClr val="FFD200"/>
                </a:solidFill>
                <a:latin typeface="EYInterstate-Bold"/>
              </a:rPr>
              <a:t>n</a:t>
            </a:r>
            <a:r>
              <a:rPr lang="en-US" sz="1500" b="1" i="0" spc="-51" baseline="0" dirty="0">
                <a:solidFill>
                  <a:srgbClr val="FFD200"/>
                </a:solidFill>
                <a:latin typeface="EYInterstate-Bold"/>
              </a:rPr>
              <a:t>i</a:t>
            </a:r>
            <a:r>
              <a:rPr lang="en-US" sz="1500" b="1" i="0" spc="-47" baseline="0" dirty="0">
                <a:solidFill>
                  <a:srgbClr val="FFD200"/>
                </a:solidFill>
                <a:latin typeface="EYInterstate-Bold"/>
              </a:rPr>
              <a:t>n</a:t>
            </a:r>
            <a:r>
              <a:rPr lang="en-US" sz="1500" b="1" i="0" spc="284" baseline="0" dirty="0">
                <a:solidFill>
                  <a:srgbClr val="FFD200"/>
                </a:solidFill>
                <a:latin typeface="EYInterstate-Bold"/>
              </a:rPr>
              <a:t>g</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ur</a:t>
            </a:r>
            <a:r>
              <a:rPr lang="en-US" sz="1500" b="0" i="0" spc="0" baseline="0" dirty="0">
                <a:solidFill>
                  <a:srgbClr val="FFFFFF"/>
                </a:solidFill>
                <a:latin typeface="EYInterstate-Light"/>
              </a:rPr>
              <a:t> </a:t>
            </a:r>
          </a:p>
          <a:p>
            <a:pPr marL="0">
              <a:lnSpc>
                <a:spcPts val="1800"/>
              </a:lnSpc>
            </a:pPr>
            <a:r>
              <a:rPr lang="en-US" sz="1500" b="0" i="0" spc="-44" baseline="0" dirty="0">
                <a:solidFill>
                  <a:srgbClr val="FFFFFF"/>
                </a:solidFill>
                <a:latin typeface="EYInterstate-Light"/>
              </a:rPr>
              <a:t>o</a:t>
            </a:r>
            <a:r>
              <a:rPr lang="en-US" sz="1500" b="0" i="0" spc="-82" baseline="0" dirty="0">
                <a:solidFill>
                  <a:srgbClr val="FFFFFF"/>
                </a:solidFill>
                <a:latin typeface="EYInterstate-Light"/>
              </a:rPr>
              <a:t>r</a:t>
            </a:r>
            <a:r>
              <a:rPr lang="en-US" sz="1500" b="0" i="0" spc="-46" baseline="0" dirty="0">
                <a:solidFill>
                  <a:srgbClr val="FFFFFF"/>
                </a:solidFill>
                <a:latin typeface="EYInterstate-Light"/>
              </a:rPr>
              <a:t>g</a:t>
            </a:r>
            <a:r>
              <a:rPr lang="en-US" sz="1500" b="0" i="0" spc="-52" baseline="0" dirty="0">
                <a:solidFill>
                  <a:srgbClr val="FFFFFF"/>
                </a:solidFill>
                <a:latin typeface="EYInterstate-Light"/>
              </a:rPr>
              <a:t>a</a:t>
            </a:r>
            <a:r>
              <a:rPr lang="en-US" sz="1500" b="0" i="0" spc="-49" baseline="0" dirty="0">
                <a:solidFill>
                  <a:srgbClr val="FFFFFF"/>
                </a:solidFill>
                <a:latin typeface="EYInterstate-Light"/>
              </a:rPr>
              <a:t>n</a:t>
            </a:r>
            <a:r>
              <a:rPr lang="en-US" sz="1500" b="0" i="0" spc="-52" baseline="0" dirty="0">
                <a:solidFill>
                  <a:srgbClr val="FFFFFF"/>
                </a:solidFill>
                <a:latin typeface="EYInterstate-Light"/>
              </a:rPr>
              <a:t>i</a:t>
            </a:r>
            <a:r>
              <a:rPr lang="en-US" sz="1500" b="0" i="0" spc="-65" baseline="0" dirty="0">
                <a:solidFill>
                  <a:srgbClr val="FFFFFF"/>
                </a:solidFill>
                <a:latin typeface="EYInterstate-Light"/>
              </a:rPr>
              <a:t>z</a:t>
            </a:r>
            <a:r>
              <a:rPr lang="en-US" sz="1500" b="0" i="0" spc="-52" baseline="0" dirty="0">
                <a:solidFill>
                  <a:srgbClr val="FFFFFF"/>
                </a:solidFill>
                <a:latin typeface="EYInterstate-Light"/>
              </a:rPr>
              <a:t>a</a:t>
            </a:r>
            <a:r>
              <a:rPr lang="en-US" sz="1500" b="0" i="0" spc="-42" baseline="0" dirty="0">
                <a:solidFill>
                  <a:srgbClr val="FFFFFF"/>
                </a:solidFill>
                <a:latin typeface="EYInterstate-Light"/>
              </a:rPr>
              <a:t>t</a:t>
            </a:r>
            <a:r>
              <a:rPr lang="en-US" sz="1500" b="0" i="0" spc="-52" baseline="0" dirty="0">
                <a:solidFill>
                  <a:srgbClr val="FFFFFF"/>
                </a:solidFill>
                <a:latin typeface="EYInterstate-Light"/>
              </a:rPr>
              <a:t>i</a:t>
            </a:r>
            <a:r>
              <a:rPr lang="en-US" sz="1500" b="0" i="0" spc="-45" baseline="0" dirty="0">
                <a:solidFill>
                  <a:srgbClr val="FFFFFF"/>
                </a:solidFill>
                <a:latin typeface="EYInterstate-Light"/>
              </a:rPr>
              <a:t>o</a:t>
            </a:r>
            <a:r>
              <a:rPr lang="en-US" sz="1500" b="0" i="0" spc="-49" baseline="0" dirty="0">
                <a:solidFill>
                  <a:srgbClr val="FFFFFF"/>
                </a:solidFill>
                <a:latin typeface="EYInterstate-Light"/>
              </a:rPr>
              <a:t>n</a:t>
            </a:r>
            <a:r>
              <a:rPr lang="en-US" sz="1500" b="0" i="0" spc="-52" baseline="0" dirty="0">
                <a:solidFill>
                  <a:srgbClr val="FFFFFF"/>
                </a:solidFill>
                <a:latin typeface="EYInterstate-Light"/>
              </a:rPr>
              <a:t>al</a:t>
            </a:r>
            <a:r>
              <a:rPr lang="en-US" sz="1500" b="0" i="0" spc="-66" baseline="0" dirty="0">
                <a:solidFill>
                  <a:srgbClr val="FFFFFF"/>
                </a:solidFill>
                <a:latin typeface="EYInterstate-Light"/>
              </a:rPr>
              <a:t> </a:t>
            </a:r>
            <a:r>
              <a:rPr lang="en-US" sz="1500" b="0" i="0" spc="-52" baseline="0" dirty="0">
                <a:solidFill>
                  <a:srgbClr val="FFFFFF"/>
                </a:solidFill>
                <a:latin typeface="EYInterstate-Light"/>
              </a:rPr>
              <a:t>a</a:t>
            </a:r>
            <a:r>
              <a:rPr lang="en-US" sz="1500" b="0" i="0" spc="-49" baseline="0" dirty="0">
                <a:solidFill>
                  <a:srgbClr val="FFFFFF"/>
                </a:solidFill>
                <a:latin typeface="EYInterstate-Light"/>
              </a:rPr>
              <a:t>n</a:t>
            </a:r>
            <a:r>
              <a:rPr lang="en-US" sz="1500" b="0" i="0" spc="-46" baseline="0" dirty="0">
                <a:solidFill>
                  <a:srgbClr val="FFFFFF"/>
                </a:solidFill>
                <a:latin typeface="EYInterstate-Light"/>
              </a:rPr>
              <a:t>d</a:t>
            </a:r>
            <a:r>
              <a:rPr lang="en-US" sz="1500" b="0" i="0" spc="-53" baseline="0" dirty="0">
                <a:solidFill>
                  <a:srgbClr val="FFFFFF"/>
                </a:solidFill>
                <a:latin typeface="EYInterstate-Light"/>
              </a:rPr>
              <a:t> </a:t>
            </a:r>
            <a:r>
              <a:rPr lang="en-US" sz="1500" b="0" i="0" spc="-75" baseline="0" dirty="0">
                <a:solidFill>
                  <a:srgbClr val="FFFFFF"/>
                </a:solidFill>
                <a:latin typeface="EYInterstate-Light"/>
              </a:rPr>
              <a:t>w</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r</a:t>
            </a:r>
            <a:r>
              <a:rPr lang="en-US" sz="1500" b="0" i="0" spc="-85" baseline="0" dirty="0">
                <a:solidFill>
                  <a:srgbClr val="FFFFFF"/>
                </a:solidFill>
                <a:latin typeface="EYInterstate-Light"/>
              </a:rPr>
              <a:t>k</a:t>
            </a:r>
            <a:r>
              <a:rPr lang="en-US" sz="1500" b="0" i="0" spc="-90" baseline="0" dirty="0">
                <a:solidFill>
                  <a:srgbClr val="FFFFFF"/>
                </a:solidFill>
                <a:latin typeface="EYInterstate-Light"/>
              </a:rPr>
              <a:t>f</a:t>
            </a:r>
            <a:r>
              <a:rPr lang="en-US" sz="1500" b="0" i="0" spc="-44" baseline="0" dirty="0">
                <a:solidFill>
                  <a:srgbClr val="FFFFFF"/>
                </a:solidFill>
                <a:latin typeface="EYInterstate-Light"/>
              </a:rPr>
              <a:t>o</a:t>
            </a:r>
            <a:r>
              <a:rPr lang="en-US" sz="1500" b="0" i="0" spc="-82" baseline="0" dirty="0">
                <a:solidFill>
                  <a:srgbClr val="FFFFFF"/>
                </a:solidFill>
                <a:latin typeface="EYInterstate-Light"/>
              </a:rPr>
              <a:t>r</a:t>
            </a:r>
            <a:r>
              <a:rPr lang="en-US" sz="1500" b="0" i="0" spc="-70" baseline="0" dirty="0">
                <a:solidFill>
                  <a:srgbClr val="FFFFFF"/>
                </a:solidFill>
                <a:latin typeface="EYInterstate-Light"/>
              </a:rPr>
              <a:t>c</a:t>
            </a:r>
            <a:r>
              <a:rPr lang="en-US" sz="1500" b="0" i="0" spc="-41" baseline="0" dirty="0">
                <a:solidFill>
                  <a:srgbClr val="FFFFFF"/>
                </a:solidFill>
                <a:latin typeface="EYInterstate-Light"/>
              </a:rPr>
              <a:t>e</a:t>
            </a:r>
            <a:r>
              <a:rPr lang="en-US" sz="1500" b="0" i="0" spc="0" baseline="0" dirty="0">
                <a:solidFill>
                  <a:srgbClr val="FFFFFF"/>
                </a:solidFill>
                <a:latin typeface="EYInterstate-Light"/>
              </a:rPr>
              <a:t> </a:t>
            </a:r>
          </a:p>
          <a:p>
            <a:pPr marL="79247">
              <a:lnSpc>
                <a:spcPts val="1800"/>
              </a:lnSpc>
            </a:pPr>
            <a:r>
              <a:rPr lang="en-US" sz="1500" b="0" i="0" spc="-70" baseline="0" dirty="0">
                <a:solidFill>
                  <a:srgbClr val="FFFFFF"/>
                </a:solidFill>
                <a:latin typeface="EYInterstate-Light"/>
              </a:rPr>
              <a:t>c</a:t>
            </a:r>
            <a:r>
              <a:rPr lang="en-US" sz="1500" b="0" i="0" spc="-52" baseline="0" dirty="0">
                <a:solidFill>
                  <a:srgbClr val="FFFFFF"/>
                </a:solidFill>
                <a:latin typeface="EYInterstate-Light"/>
              </a:rPr>
              <a:t>a</a:t>
            </a:r>
            <a:r>
              <a:rPr lang="en-US" sz="1500" b="0" i="0" spc="-58" baseline="0" dirty="0">
                <a:solidFill>
                  <a:srgbClr val="FFFFFF"/>
                </a:solidFill>
                <a:latin typeface="EYInterstate-Light"/>
              </a:rPr>
              <a:t>p</a:t>
            </a:r>
            <a:r>
              <a:rPr lang="en-US" sz="1500" b="0" i="0" spc="-52" baseline="0" dirty="0">
                <a:solidFill>
                  <a:srgbClr val="FFFFFF"/>
                </a:solidFill>
                <a:latin typeface="EYInterstate-Light"/>
              </a:rPr>
              <a:t>a</a:t>
            </a:r>
            <a:r>
              <a:rPr lang="en-US" sz="1500" b="0" i="0" spc="-46" baseline="0" dirty="0">
                <a:solidFill>
                  <a:srgbClr val="FFFFFF"/>
                </a:solidFill>
                <a:latin typeface="EYInterstate-Light"/>
              </a:rPr>
              <a:t>b</a:t>
            </a:r>
            <a:r>
              <a:rPr lang="en-US" sz="1500" b="0" i="0" spc="-52" baseline="0" dirty="0">
                <a:solidFill>
                  <a:srgbClr val="FFFFFF"/>
                </a:solidFill>
                <a:latin typeface="EYInterstate-Light"/>
              </a:rPr>
              <a:t>ili</a:t>
            </a:r>
            <a:r>
              <a:rPr lang="en-US" sz="1500" b="0" i="0" spc="-41" baseline="0" dirty="0">
                <a:solidFill>
                  <a:srgbClr val="FFFFFF"/>
                </a:solidFill>
                <a:latin typeface="EYInterstate-Light"/>
              </a:rPr>
              <a:t>t</a:t>
            </a:r>
            <a:r>
              <a:rPr lang="en-US" sz="1500" b="0" i="0" spc="-52" baseline="0" dirty="0">
                <a:solidFill>
                  <a:srgbClr val="FFFFFF"/>
                </a:solidFill>
                <a:latin typeface="EYInterstate-Light"/>
              </a:rPr>
              <a:t>i</a:t>
            </a:r>
            <a:r>
              <a:rPr lang="en-US" sz="1500" b="0" i="0" spc="-53" baseline="0" dirty="0">
                <a:solidFill>
                  <a:srgbClr val="FFFFFF"/>
                </a:solidFill>
                <a:latin typeface="EYInterstate-Light"/>
              </a:rPr>
              <a:t>e</a:t>
            </a:r>
            <a:r>
              <a:rPr lang="en-US" sz="1500" b="0" i="0" spc="-52" baseline="0" dirty="0">
                <a:solidFill>
                  <a:srgbClr val="FFFFFF"/>
                </a:solidFill>
                <a:latin typeface="EYInterstate-Light"/>
              </a:rPr>
              <a:t>s</a:t>
            </a:r>
            <a:r>
              <a:rPr lang="en-US" sz="1500" b="0" i="0" spc="-65" baseline="0" dirty="0">
                <a:solidFill>
                  <a:srgbClr val="FFFFFF"/>
                </a:solidFill>
                <a:latin typeface="EYInterstate-Light"/>
              </a:rPr>
              <a:t> t</a:t>
            </a:r>
            <a:r>
              <a:rPr lang="en-US" sz="1500" b="0" i="0" spc="-45" baseline="0" dirty="0">
                <a:solidFill>
                  <a:srgbClr val="FFFFFF"/>
                </a:solidFill>
                <a:latin typeface="EYInterstate-Light"/>
              </a:rPr>
              <a:t>o</a:t>
            </a:r>
            <a:r>
              <a:rPr lang="en-US" sz="1500" b="0" i="0" spc="-65" baseline="0" dirty="0">
                <a:solidFill>
                  <a:srgbClr val="FFFFFF"/>
                </a:solidFill>
                <a:latin typeface="EYInterstate-Light"/>
              </a:rPr>
              <a:t> </a:t>
            </a:r>
            <a:r>
              <a:rPr lang="en-US" sz="1500" b="0" i="0" spc="-78" baseline="0" dirty="0">
                <a:solidFill>
                  <a:srgbClr val="FFFFFF"/>
                </a:solidFill>
                <a:latin typeface="EYInterstate-Light"/>
              </a:rPr>
              <a:t>e</a:t>
            </a:r>
            <a:r>
              <a:rPr lang="en-US" sz="1500" b="0" i="0" spc="-71" baseline="0" dirty="0">
                <a:solidFill>
                  <a:srgbClr val="FFFFFF"/>
                </a:solidFill>
                <a:latin typeface="EYInterstate-Light"/>
              </a:rPr>
              <a:t>x</a:t>
            </a:r>
            <a:r>
              <a:rPr lang="en-US" sz="1500" b="0" i="0" spc="-42" baseline="0" dirty="0">
                <a:solidFill>
                  <a:srgbClr val="FFFFFF"/>
                </a:solidFill>
                <a:latin typeface="EYInterstate-Light"/>
              </a:rPr>
              <a:t>e</a:t>
            </a:r>
            <a:r>
              <a:rPr lang="en-US" sz="1500" b="0" i="0" spc="-58" baseline="0" dirty="0">
                <a:solidFill>
                  <a:srgbClr val="FFFFFF"/>
                </a:solidFill>
                <a:latin typeface="EYInterstate-Light"/>
              </a:rPr>
              <a:t>c</a:t>
            </a:r>
            <a:r>
              <a:rPr lang="en-US" sz="1500" b="0" i="0" spc="-46" baseline="0" dirty="0">
                <a:solidFill>
                  <a:srgbClr val="FFFFFF"/>
                </a:solidFill>
                <a:latin typeface="EYInterstate-Light"/>
              </a:rPr>
              <a:t>u</a:t>
            </a:r>
            <a:r>
              <a:rPr lang="en-US" sz="1500" b="0" i="0" spc="-78" baseline="0" dirty="0">
                <a:solidFill>
                  <a:srgbClr val="FFFFFF"/>
                </a:solidFill>
                <a:latin typeface="EYInterstate-Light"/>
              </a:rPr>
              <a:t>t</a:t>
            </a:r>
            <a:r>
              <a:rPr lang="en-US" sz="1500" b="0" i="0" spc="-42" baseline="0" dirty="0">
                <a:solidFill>
                  <a:srgbClr val="FFFFFF"/>
                </a:solidFill>
                <a:latin typeface="EYInterstate-Light"/>
              </a:rPr>
              <a:t>e</a:t>
            </a:r>
            <a:r>
              <a:rPr lang="en-US" sz="1500" b="0" i="0" spc="-90" baseline="0" dirty="0">
                <a:solidFill>
                  <a:srgbClr val="FFFFFF"/>
                </a:solidFill>
                <a:latin typeface="EYInterstate-Light"/>
              </a:rPr>
              <a:t> </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ur</a:t>
            </a:r>
            <a:r>
              <a:rPr lang="en-US" sz="1500" b="0" i="0" spc="0" baseline="0" dirty="0">
                <a:solidFill>
                  <a:srgbClr val="FFFFFF"/>
                </a:solidFill>
                <a:latin typeface="EYInterstate-Light"/>
              </a:rPr>
              <a:t> </a:t>
            </a:r>
          </a:p>
          <a:p>
            <a:pPr marL="778763">
              <a:lnSpc>
                <a:spcPts val="1800"/>
              </a:lnSpc>
            </a:pPr>
            <a:r>
              <a:rPr lang="en-US" sz="1500" b="0" i="0" spc="-64" baseline="0" dirty="0">
                <a:solidFill>
                  <a:srgbClr val="FFFFFF"/>
                </a:solidFill>
                <a:latin typeface="EYInterstate-Light"/>
              </a:rPr>
              <a:t>s</a:t>
            </a:r>
            <a:r>
              <a:rPr lang="en-US" sz="1500" b="0" i="0" spc="-41" baseline="0" dirty="0">
                <a:solidFill>
                  <a:srgbClr val="FFFFFF"/>
                </a:solidFill>
                <a:latin typeface="EYInterstate-Light"/>
              </a:rPr>
              <a:t>t</a:t>
            </a:r>
            <a:r>
              <a:rPr lang="en-US" sz="1500" b="0" i="0" spc="-94" baseline="0" dirty="0">
                <a:solidFill>
                  <a:srgbClr val="FFFFFF"/>
                </a:solidFill>
                <a:latin typeface="EYInterstate-Light"/>
              </a:rPr>
              <a:t>r</a:t>
            </a:r>
            <a:r>
              <a:rPr lang="en-US" sz="1500" b="0" i="0" spc="-52" baseline="0" dirty="0">
                <a:solidFill>
                  <a:srgbClr val="FFFFFF"/>
                </a:solidFill>
                <a:latin typeface="EYInterstate-Light"/>
              </a:rPr>
              <a:t>a</a:t>
            </a:r>
            <a:r>
              <a:rPr lang="en-US" sz="1500" b="0" i="0" spc="-65" baseline="0" dirty="0">
                <a:solidFill>
                  <a:srgbClr val="FFFFFF"/>
                </a:solidFill>
                <a:latin typeface="EYInterstate-Light"/>
              </a:rPr>
              <a:t>t</a:t>
            </a:r>
            <a:r>
              <a:rPr lang="en-US" sz="1500" b="0" i="0" spc="-42" baseline="0" dirty="0">
                <a:solidFill>
                  <a:srgbClr val="FFFFFF"/>
                </a:solidFill>
                <a:latin typeface="EYInterstate-Light"/>
              </a:rPr>
              <a:t>e</a:t>
            </a:r>
            <a:r>
              <a:rPr lang="en-US" sz="1500" b="0" i="0" spc="-46" baseline="0" dirty="0">
                <a:solidFill>
                  <a:srgbClr val="FFFFFF"/>
                </a:solidFill>
                <a:latin typeface="EYInterstate-Light"/>
              </a:rPr>
              <a:t>g</a:t>
            </a:r>
            <a:r>
              <a:rPr lang="en-US" sz="1500" b="0" i="0" spc="-64" baseline="0" dirty="0">
                <a:solidFill>
                  <a:srgbClr val="FFFFFF"/>
                </a:solidFill>
                <a:latin typeface="EYInterstate-Light"/>
              </a:rPr>
              <a:t>y</a:t>
            </a:r>
            <a:r>
              <a:rPr lang="en-US" sz="1500" b="0" i="0" spc="0" baseline="0" dirty="0">
                <a:solidFill>
                  <a:srgbClr val="FFFFFF"/>
                </a:solidFill>
                <a:latin typeface="EYInterstate-Light"/>
              </a:rPr>
              <a:t>?</a:t>
            </a:r>
          </a:p>
        </p:txBody>
      </p:sp>
      <p:sp>
        <p:nvSpPr>
          <p:cNvPr id="84" name="Rectangle 423"/>
          <p:cNvSpPr/>
          <p:nvPr/>
        </p:nvSpPr>
        <p:spPr>
          <a:xfrm>
            <a:off x="4029569" y="2684478"/>
            <a:ext cx="1476528" cy="401612"/>
          </a:xfrm>
          <a:prstGeom prst="rect">
            <a:avLst/>
          </a:prstGeom>
        </p:spPr>
        <p:txBody>
          <a:bodyPr wrap="none" lIns="0" tIns="0" rIns="0" bIns="0">
            <a:spAutoFit/>
          </a:bodyPr>
          <a:lstStyle/>
          <a:p>
            <a:pPr marL="0"/>
            <a:r>
              <a:rPr lang="en-US" sz="2004" b="1" i="0" spc="-78" baseline="0" dirty="0">
                <a:solidFill>
                  <a:srgbClr val="FFFFFF"/>
                </a:solidFill>
                <a:latin typeface="EYInterstate-Bold"/>
              </a:rPr>
              <a:t>P</a:t>
            </a:r>
            <a:r>
              <a:rPr lang="en-US" sz="2004" b="1" i="0" spc="-46" baseline="0" dirty="0">
                <a:solidFill>
                  <a:srgbClr val="FFFFFF"/>
                </a:solidFill>
                <a:latin typeface="EYInterstate-Bold"/>
              </a:rPr>
              <a:t>e</a:t>
            </a:r>
            <a:r>
              <a:rPr lang="en-US" sz="2004" b="1" i="0" spc="-41" baseline="0" dirty="0">
                <a:solidFill>
                  <a:srgbClr val="FFFFFF"/>
                </a:solidFill>
                <a:latin typeface="EYInterstate-Bold"/>
              </a:rPr>
              <a:t>r</a:t>
            </a:r>
            <a:r>
              <a:rPr lang="en-US" sz="2004" b="1" i="0" spc="-93" baseline="0" dirty="0">
                <a:solidFill>
                  <a:srgbClr val="FFFFFF"/>
                </a:solidFill>
                <a:latin typeface="EYInterstate-Bold"/>
              </a:rPr>
              <a:t>f</a:t>
            </a:r>
            <a:r>
              <a:rPr lang="en-US" sz="2004" b="1" i="0" spc="-44" baseline="0" dirty="0">
                <a:solidFill>
                  <a:srgbClr val="FFFFFF"/>
                </a:solidFill>
                <a:latin typeface="EYInterstate-Bold"/>
              </a:rPr>
              <a:t>o</a:t>
            </a:r>
            <a:r>
              <a:rPr lang="en-US" sz="2004" b="1" i="0" spc="-41" baseline="0" dirty="0">
                <a:solidFill>
                  <a:srgbClr val="FFFFFF"/>
                </a:solidFill>
                <a:latin typeface="EYInterstate-Bold"/>
              </a:rPr>
              <a:t>r</a:t>
            </a:r>
            <a:r>
              <a:rPr lang="en-US" sz="2004" b="1" i="0" spc="-61" baseline="0" dirty="0">
                <a:solidFill>
                  <a:srgbClr val="FFFFFF"/>
                </a:solidFill>
                <a:latin typeface="EYInterstate-Bold"/>
              </a:rPr>
              <a:t>m</a:t>
            </a:r>
            <a:r>
              <a:rPr lang="en-US" sz="2004" b="1" i="0" spc="-46" baseline="0" dirty="0">
                <a:solidFill>
                  <a:srgbClr val="FFFFFF"/>
                </a:solidFill>
                <a:latin typeface="EYInterstate-Bold"/>
              </a:rPr>
              <a:t>a</a:t>
            </a:r>
            <a:r>
              <a:rPr lang="en-US" sz="2004" b="1" i="0" spc="-54" baseline="0" dirty="0">
                <a:solidFill>
                  <a:srgbClr val="FFFFFF"/>
                </a:solidFill>
                <a:latin typeface="EYInterstate-Bold"/>
              </a:rPr>
              <a:t>n</a:t>
            </a:r>
            <a:r>
              <a:rPr lang="en-US" sz="2004" b="1" i="0" spc="-80" baseline="0" dirty="0">
                <a:solidFill>
                  <a:srgbClr val="FFFFFF"/>
                </a:solidFill>
                <a:latin typeface="EYInterstate-Bold"/>
              </a:rPr>
              <a:t>c</a:t>
            </a:r>
            <a:r>
              <a:rPr lang="en-US" sz="2004" b="1" i="0" spc="0" baseline="0" dirty="0">
                <a:solidFill>
                  <a:srgbClr val="FFFFFF"/>
                </a:solidFill>
                <a:latin typeface="EYInterstate-Bold"/>
              </a:rPr>
              <a:t>e</a:t>
            </a:r>
          </a:p>
        </p:txBody>
      </p:sp>
      <p:sp>
        <p:nvSpPr>
          <p:cNvPr id="85" name="Rectangle 424"/>
          <p:cNvSpPr/>
          <p:nvPr/>
        </p:nvSpPr>
        <p:spPr>
          <a:xfrm>
            <a:off x="3877582" y="3137094"/>
            <a:ext cx="1824990" cy="529208"/>
          </a:xfrm>
          <a:prstGeom prst="rect">
            <a:avLst/>
          </a:prstGeom>
        </p:spPr>
        <p:txBody>
          <a:bodyPr wrap="none" lIns="0" tIns="0" rIns="0" bIns="0">
            <a:spAutoFit/>
          </a:bodyPr>
          <a:lstStyle/>
          <a:p>
            <a:pPr marL="0"/>
            <a:r>
              <a:rPr lang="en-US" sz="1500" b="0" i="0" spc="-44" baseline="0" dirty="0">
                <a:solidFill>
                  <a:srgbClr val="FFFFFF"/>
                </a:solidFill>
                <a:latin typeface="EYInterstate-Light"/>
              </a:rPr>
              <a:t>A</a:t>
            </a:r>
            <a:r>
              <a:rPr lang="en-US" sz="1500" b="0" i="0" spc="-82" baseline="0" dirty="0">
                <a:solidFill>
                  <a:srgbClr val="FFFFFF"/>
                </a:solidFill>
                <a:latin typeface="EYInterstate-Light"/>
              </a:rPr>
              <a:t>r</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u</a:t>
            </a:r>
            <a:r>
              <a:rPr lang="en-US" sz="1500" b="0" i="0" spc="-65" baseline="0" dirty="0">
                <a:solidFill>
                  <a:srgbClr val="FFFFFF"/>
                </a:solidFill>
                <a:latin typeface="EYInterstate-Light"/>
              </a:rPr>
              <a:t> </a:t>
            </a:r>
            <a:r>
              <a:rPr lang="en-US" sz="1500" b="1" i="0" spc="-50" baseline="0" dirty="0">
                <a:solidFill>
                  <a:srgbClr val="FFD200"/>
                </a:solidFill>
                <a:latin typeface="EYInterstate-Bold"/>
              </a:rPr>
              <a:t>e</a:t>
            </a:r>
            <a:r>
              <a:rPr lang="en-US" sz="1500" b="1" i="0" spc="-48" baseline="0" dirty="0">
                <a:solidFill>
                  <a:srgbClr val="FFD200"/>
                </a:solidFill>
                <a:latin typeface="EYInterstate-Bold"/>
              </a:rPr>
              <a:t>n</a:t>
            </a:r>
            <a:r>
              <a:rPr lang="en-US" sz="1500" b="1" i="0" spc="-41" baseline="0" dirty="0">
                <a:solidFill>
                  <a:srgbClr val="FFD200"/>
                </a:solidFill>
                <a:latin typeface="EYInterstate-Bold"/>
              </a:rPr>
              <a:t>a</a:t>
            </a:r>
            <a:r>
              <a:rPr lang="en-US" sz="1500" b="1" i="0" spc="-51" baseline="0" dirty="0">
                <a:solidFill>
                  <a:srgbClr val="FFD200"/>
                </a:solidFill>
                <a:latin typeface="EYInterstate-Bold"/>
              </a:rPr>
              <a:t>bl</a:t>
            </a:r>
            <a:r>
              <a:rPr lang="en-US" sz="1500" b="1" i="0" spc="-50" baseline="0" dirty="0">
                <a:solidFill>
                  <a:srgbClr val="FFD200"/>
                </a:solidFill>
                <a:latin typeface="EYInterstate-Bold"/>
              </a:rPr>
              <a:t>i</a:t>
            </a:r>
            <a:r>
              <a:rPr lang="en-US" sz="1500" b="1" i="0" spc="-47" baseline="0" dirty="0">
                <a:solidFill>
                  <a:srgbClr val="FFD200"/>
                </a:solidFill>
                <a:latin typeface="EYInterstate-Bold"/>
              </a:rPr>
              <a:t>n</a:t>
            </a:r>
            <a:r>
              <a:rPr lang="en-US" sz="1500" b="1" i="0" spc="284" baseline="0" dirty="0">
                <a:solidFill>
                  <a:srgbClr val="FFD200"/>
                </a:solidFill>
                <a:latin typeface="EYInterstate-Bold"/>
              </a:rPr>
              <a:t>g</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ur</a:t>
            </a:r>
            <a:r>
              <a:rPr lang="en-US" sz="1500" b="0" i="0" spc="0" baseline="0" dirty="0">
                <a:solidFill>
                  <a:srgbClr val="FFFFFF"/>
                </a:solidFill>
                <a:latin typeface="EYInterstate-Light"/>
              </a:rPr>
              <a:t> </a:t>
            </a:r>
          </a:p>
          <a:p>
            <a:pPr marL="121920">
              <a:lnSpc>
                <a:spcPts val="1800"/>
              </a:lnSpc>
            </a:pPr>
            <a:r>
              <a:rPr lang="en-US" sz="1500" b="0" i="0" spc="-46" baseline="0" dirty="0">
                <a:solidFill>
                  <a:srgbClr val="FFFFFF"/>
                </a:solidFill>
                <a:latin typeface="EYInterstate-Light"/>
              </a:rPr>
              <a:t>p</a:t>
            </a:r>
            <a:r>
              <a:rPr lang="en-US" sz="1500" b="0" i="0" spc="-42" baseline="0" dirty="0">
                <a:solidFill>
                  <a:srgbClr val="FFFFFF"/>
                </a:solidFill>
                <a:latin typeface="EYInterstate-Light"/>
              </a:rPr>
              <a:t>e</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p</a:t>
            </a:r>
            <a:r>
              <a:rPr lang="en-US" sz="1500" b="0" i="0" spc="-52" baseline="0" dirty="0">
                <a:solidFill>
                  <a:srgbClr val="FFFFFF"/>
                </a:solidFill>
                <a:latin typeface="EYInterstate-Light"/>
              </a:rPr>
              <a:t>l</a:t>
            </a:r>
            <a:r>
              <a:rPr lang="en-US" sz="1500" b="0" i="0" spc="-42" baseline="0" dirty="0">
                <a:solidFill>
                  <a:srgbClr val="FFFFFF"/>
                </a:solidFill>
                <a:latin typeface="EYInterstate-Light"/>
              </a:rPr>
              <a:t>e</a:t>
            </a:r>
            <a:r>
              <a:rPr lang="en-US" sz="1500" b="0" i="0" spc="-78" baseline="0" dirty="0">
                <a:solidFill>
                  <a:srgbClr val="FFFFFF"/>
                </a:solidFill>
                <a:latin typeface="EYInterstate-Light"/>
              </a:rPr>
              <a:t> </a:t>
            </a:r>
            <a:r>
              <a:rPr lang="en-US" sz="1500" b="0" i="0" spc="-65" baseline="0" dirty="0">
                <a:solidFill>
                  <a:srgbClr val="FFFFFF"/>
                </a:solidFill>
                <a:latin typeface="EYInterstate-Light"/>
              </a:rPr>
              <a:t>t</a:t>
            </a:r>
            <a:r>
              <a:rPr lang="en-US" sz="1500" b="0" i="0" spc="-44" baseline="0" dirty="0">
                <a:solidFill>
                  <a:srgbClr val="FFFFFF"/>
                </a:solidFill>
                <a:latin typeface="EYInterstate-Light"/>
              </a:rPr>
              <a:t>o</a:t>
            </a:r>
            <a:r>
              <a:rPr lang="en-US" sz="1500" b="0" i="0" spc="-66" baseline="0" dirty="0">
                <a:solidFill>
                  <a:srgbClr val="FFFFFF"/>
                </a:solidFill>
                <a:latin typeface="EYInterstate-Light"/>
              </a:rPr>
              <a:t> </a:t>
            </a:r>
            <a:r>
              <a:rPr lang="en-US" sz="1500" b="0" i="0" spc="-46" baseline="0" dirty="0">
                <a:solidFill>
                  <a:srgbClr val="FFFFFF"/>
                </a:solidFill>
                <a:latin typeface="EYInterstate-Light"/>
              </a:rPr>
              <a:t>p</a:t>
            </a:r>
            <a:r>
              <a:rPr lang="en-US" sz="1500" b="0" i="0" spc="-42" baseline="0" dirty="0">
                <a:solidFill>
                  <a:srgbClr val="FFFFFF"/>
                </a:solidFill>
                <a:latin typeface="EYInterstate-Light"/>
              </a:rPr>
              <a:t>e</a:t>
            </a:r>
            <a:r>
              <a:rPr lang="en-US" sz="1500" b="0" i="0" spc="-46" baseline="0" dirty="0">
                <a:solidFill>
                  <a:srgbClr val="FFFFFF"/>
                </a:solidFill>
                <a:latin typeface="EYInterstate-Light"/>
              </a:rPr>
              <a:t>r</a:t>
            </a:r>
            <a:r>
              <a:rPr lang="en-US" sz="1500" b="0" i="0" spc="-89" baseline="0" dirty="0">
                <a:solidFill>
                  <a:srgbClr val="FFFFFF"/>
                </a:solidFill>
                <a:latin typeface="EYInterstate-Light"/>
              </a:rPr>
              <a:t>f</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r</a:t>
            </a:r>
            <a:r>
              <a:rPr lang="en-US" sz="1500" b="0" i="0" spc="-131" baseline="0" dirty="0">
                <a:solidFill>
                  <a:srgbClr val="FFFFFF"/>
                </a:solidFill>
                <a:latin typeface="EYInterstate-Light"/>
              </a:rPr>
              <a:t>m</a:t>
            </a:r>
            <a:r>
              <a:rPr lang="en-US" sz="1500" b="0" i="0" spc="0" baseline="0" dirty="0">
                <a:solidFill>
                  <a:srgbClr val="FFFFFF"/>
                </a:solidFill>
                <a:latin typeface="EYInterstate-Light"/>
              </a:rPr>
              <a:t>?</a:t>
            </a:r>
          </a:p>
        </p:txBody>
      </p:sp>
      <p:sp>
        <p:nvSpPr>
          <p:cNvPr id="86" name="Rectangle 425"/>
          <p:cNvSpPr/>
          <p:nvPr/>
        </p:nvSpPr>
        <p:spPr>
          <a:xfrm>
            <a:off x="7021649" y="2684478"/>
            <a:ext cx="1236679" cy="401612"/>
          </a:xfrm>
          <a:prstGeom prst="rect">
            <a:avLst/>
          </a:prstGeom>
        </p:spPr>
        <p:txBody>
          <a:bodyPr wrap="none" lIns="0" tIns="0" rIns="0" bIns="0">
            <a:spAutoFit/>
          </a:bodyPr>
          <a:lstStyle/>
          <a:p>
            <a:pPr marL="0"/>
            <a:r>
              <a:rPr lang="en-US" sz="2004" b="1" i="0" spc="-53" baseline="0" dirty="0">
                <a:solidFill>
                  <a:srgbClr val="FFFFFF"/>
                </a:solidFill>
                <a:latin typeface="EYInterstate-Bold"/>
              </a:rPr>
              <a:t>M</a:t>
            </a:r>
            <a:r>
              <a:rPr lang="en-US" sz="2004" b="1" i="0" spc="-56" baseline="0" dirty="0">
                <a:solidFill>
                  <a:srgbClr val="FFFFFF"/>
                </a:solidFill>
                <a:latin typeface="EYInterstate-Bold"/>
              </a:rPr>
              <a:t>o</a:t>
            </a:r>
            <a:r>
              <a:rPr lang="en-US" sz="2004" b="1" i="0" spc="-46" baseline="0" dirty="0">
                <a:solidFill>
                  <a:srgbClr val="FFFFFF"/>
                </a:solidFill>
                <a:latin typeface="EYInterstate-Bold"/>
              </a:rPr>
              <a:t>t</a:t>
            </a:r>
            <a:r>
              <a:rPr lang="en-US" sz="2004" b="1" i="0" spc="-49" baseline="0" dirty="0">
                <a:solidFill>
                  <a:srgbClr val="FFFFFF"/>
                </a:solidFill>
                <a:latin typeface="EYInterstate-Bold"/>
              </a:rPr>
              <a:t>i</a:t>
            </a:r>
            <a:r>
              <a:rPr lang="en-US" sz="2004" b="1" i="0" spc="-98" baseline="0" dirty="0">
                <a:solidFill>
                  <a:srgbClr val="FFFFFF"/>
                </a:solidFill>
                <a:latin typeface="EYInterstate-Bold"/>
              </a:rPr>
              <a:t>v</a:t>
            </a:r>
            <a:r>
              <a:rPr lang="en-US" sz="2004" b="1" i="0" spc="-46" baseline="0" dirty="0">
                <a:solidFill>
                  <a:srgbClr val="FFFFFF"/>
                </a:solidFill>
                <a:latin typeface="EYInterstate-Bold"/>
              </a:rPr>
              <a:t>at</a:t>
            </a:r>
            <a:r>
              <a:rPr lang="en-US" sz="2004" b="1" i="0" spc="-49" baseline="0" dirty="0">
                <a:solidFill>
                  <a:srgbClr val="FFFFFF"/>
                </a:solidFill>
                <a:latin typeface="EYInterstate-Bold"/>
              </a:rPr>
              <a:t>i</a:t>
            </a:r>
            <a:r>
              <a:rPr lang="en-US" sz="2004" b="1" i="0" spc="-44" baseline="0" dirty="0">
                <a:solidFill>
                  <a:srgbClr val="FFFFFF"/>
                </a:solidFill>
                <a:latin typeface="EYInterstate-Bold"/>
              </a:rPr>
              <a:t>o</a:t>
            </a:r>
            <a:r>
              <a:rPr lang="en-US" sz="2004" b="1" i="0" spc="0" baseline="0" dirty="0">
                <a:solidFill>
                  <a:srgbClr val="FFFFFF"/>
                </a:solidFill>
                <a:latin typeface="EYInterstate-Bold"/>
              </a:rPr>
              <a:t>n</a:t>
            </a:r>
          </a:p>
        </p:txBody>
      </p:sp>
      <p:sp>
        <p:nvSpPr>
          <p:cNvPr id="87" name="Rectangle 426"/>
          <p:cNvSpPr/>
          <p:nvPr/>
        </p:nvSpPr>
        <p:spPr>
          <a:xfrm>
            <a:off x="6642966" y="3124836"/>
            <a:ext cx="2036826" cy="529208"/>
          </a:xfrm>
          <a:prstGeom prst="rect">
            <a:avLst/>
          </a:prstGeom>
        </p:spPr>
        <p:txBody>
          <a:bodyPr wrap="none" lIns="0" tIns="0" rIns="0" bIns="0">
            <a:spAutoFit/>
          </a:bodyPr>
          <a:lstStyle/>
          <a:p>
            <a:pPr marL="0"/>
            <a:r>
              <a:rPr lang="en-US" sz="1500" b="0" i="0" spc="-44" baseline="0" dirty="0">
                <a:solidFill>
                  <a:srgbClr val="FFFFFF"/>
                </a:solidFill>
                <a:latin typeface="EYInterstate-Light"/>
              </a:rPr>
              <a:t>A</a:t>
            </a:r>
            <a:r>
              <a:rPr lang="en-US" sz="1500" b="0" i="0" spc="-82" baseline="0" dirty="0">
                <a:solidFill>
                  <a:srgbClr val="FFFFFF"/>
                </a:solidFill>
                <a:latin typeface="EYInterstate-Light"/>
              </a:rPr>
              <a:t>r</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u</a:t>
            </a:r>
            <a:r>
              <a:rPr lang="en-US" sz="1500" b="0" i="0" spc="-65" baseline="0" dirty="0">
                <a:solidFill>
                  <a:srgbClr val="FFFFFF"/>
                </a:solidFill>
                <a:latin typeface="EYInterstate-Light"/>
              </a:rPr>
              <a:t> </a:t>
            </a:r>
            <a:r>
              <a:rPr lang="en-US" sz="1500" b="1" i="0" spc="-49" baseline="0" dirty="0">
                <a:solidFill>
                  <a:srgbClr val="FFD200"/>
                </a:solidFill>
                <a:latin typeface="EYInterstate-Bold"/>
              </a:rPr>
              <a:t>m</a:t>
            </a:r>
            <a:r>
              <a:rPr lang="en-US" sz="1500" b="1" i="0" spc="-64" baseline="0" dirty="0">
                <a:solidFill>
                  <a:srgbClr val="FFD200"/>
                </a:solidFill>
                <a:latin typeface="EYInterstate-Bold"/>
              </a:rPr>
              <a:t>o</a:t>
            </a:r>
            <a:r>
              <a:rPr lang="en-US" sz="1500" b="1" i="0" spc="-50" baseline="0" dirty="0">
                <a:solidFill>
                  <a:srgbClr val="FFD200"/>
                </a:solidFill>
                <a:latin typeface="EYInterstate-Bold"/>
              </a:rPr>
              <a:t>t</a:t>
            </a:r>
            <a:r>
              <a:rPr lang="en-US" sz="1500" b="1" i="0" spc="-51" baseline="0" dirty="0">
                <a:solidFill>
                  <a:srgbClr val="FFD200"/>
                </a:solidFill>
                <a:latin typeface="EYInterstate-Bold"/>
              </a:rPr>
              <a:t>i</a:t>
            </a:r>
            <a:r>
              <a:rPr lang="en-US" sz="1500" b="1" i="0" spc="-86" baseline="0" dirty="0">
                <a:solidFill>
                  <a:srgbClr val="FFD200"/>
                </a:solidFill>
                <a:latin typeface="EYInterstate-Bold"/>
              </a:rPr>
              <a:t>v</a:t>
            </a:r>
            <a:r>
              <a:rPr lang="en-US" sz="1500" b="1" i="0" spc="-42" baseline="0" dirty="0">
                <a:solidFill>
                  <a:srgbClr val="FFD200"/>
                </a:solidFill>
                <a:latin typeface="EYInterstate-Bold"/>
              </a:rPr>
              <a:t>a</a:t>
            </a:r>
            <a:r>
              <a:rPr lang="en-US" sz="1500" b="1" i="0" spc="-50" baseline="0" dirty="0">
                <a:solidFill>
                  <a:srgbClr val="FFD200"/>
                </a:solidFill>
                <a:latin typeface="EYInterstate-Bold"/>
              </a:rPr>
              <a:t>ti</a:t>
            </a:r>
            <a:r>
              <a:rPr lang="en-US" sz="1500" b="1" i="0" spc="-48" baseline="0" dirty="0">
                <a:solidFill>
                  <a:srgbClr val="FFD200"/>
                </a:solidFill>
                <a:latin typeface="EYInterstate-Bold"/>
              </a:rPr>
              <a:t>n</a:t>
            </a:r>
            <a:r>
              <a:rPr lang="en-US" sz="1500" b="1" i="0" spc="296" baseline="0" dirty="0">
                <a:solidFill>
                  <a:srgbClr val="FFD200"/>
                </a:solidFill>
                <a:latin typeface="EYInterstate-Bold"/>
              </a:rPr>
              <a:t>g</a:t>
            </a:r>
            <a:r>
              <a:rPr lang="en-US" sz="1500" b="0" i="0" spc="-88" baseline="0" dirty="0">
                <a:solidFill>
                  <a:srgbClr val="FFFFFF"/>
                </a:solidFill>
                <a:latin typeface="EYInterstate-Light"/>
              </a:rPr>
              <a:t>y</a:t>
            </a:r>
            <a:r>
              <a:rPr lang="en-US" sz="1500" b="0" i="0" spc="-45" baseline="0" dirty="0">
                <a:solidFill>
                  <a:srgbClr val="FFFFFF"/>
                </a:solidFill>
                <a:latin typeface="EYInterstate-Light"/>
              </a:rPr>
              <a:t>o</a:t>
            </a:r>
            <a:r>
              <a:rPr lang="en-US" sz="1500" b="0" i="0" spc="-46" baseline="0" dirty="0">
                <a:solidFill>
                  <a:srgbClr val="FFFFFF"/>
                </a:solidFill>
                <a:latin typeface="EYInterstate-Light"/>
              </a:rPr>
              <a:t>ur</a:t>
            </a:r>
            <a:r>
              <a:rPr lang="en-US" sz="1500" b="0" i="0" spc="0" baseline="0" dirty="0">
                <a:solidFill>
                  <a:srgbClr val="FFFFFF"/>
                </a:solidFill>
                <a:latin typeface="EYInterstate-Light"/>
              </a:rPr>
              <a:t> </a:t>
            </a:r>
          </a:p>
          <a:p>
            <a:pPr marL="67055">
              <a:lnSpc>
                <a:spcPts val="1800"/>
              </a:lnSpc>
            </a:pPr>
            <a:r>
              <a:rPr lang="en-US" sz="1500" b="0" i="0" spc="-46" baseline="0" dirty="0">
                <a:solidFill>
                  <a:srgbClr val="FFFFFF"/>
                </a:solidFill>
                <a:latin typeface="EYInterstate-Light"/>
              </a:rPr>
              <a:t>p</a:t>
            </a:r>
            <a:r>
              <a:rPr lang="en-US" sz="1500" b="0" i="0" spc="-42" baseline="0" dirty="0">
                <a:solidFill>
                  <a:srgbClr val="FFFFFF"/>
                </a:solidFill>
                <a:latin typeface="EYInterstate-Light"/>
              </a:rPr>
              <a:t>e</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p</a:t>
            </a:r>
            <a:r>
              <a:rPr lang="en-US" sz="1500" b="0" i="0" spc="-52" baseline="0" dirty="0">
                <a:solidFill>
                  <a:srgbClr val="FFFFFF"/>
                </a:solidFill>
                <a:latin typeface="EYInterstate-Light"/>
              </a:rPr>
              <a:t>l</a:t>
            </a:r>
            <a:r>
              <a:rPr lang="en-US" sz="1500" b="0" i="0" spc="-42" baseline="0" dirty="0">
                <a:solidFill>
                  <a:srgbClr val="FFFFFF"/>
                </a:solidFill>
                <a:latin typeface="EYInterstate-Light"/>
              </a:rPr>
              <a:t>e</a:t>
            </a:r>
            <a:r>
              <a:rPr lang="en-US" sz="1500" b="0" i="0" spc="-78" baseline="0" dirty="0">
                <a:solidFill>
                  <a:srgbClr val="FFFFFF"/>
                </a:solidFill>
                <a:latin typeface="EYInterstate-Light"/>
              </a:rPr>
              <a:t> </a:t>
            </a:r>
            <a:r>
              <a:rPr lang="en-US" sz="1500" b="0" i="0" spc="-65" baseline="0" dirty="0">
                <a:solidFill>
                  <a:srgbClr val="FFFFFF"/>
                </a:solidFill>
                <a:latin typeface="EYInterstate-Light"/>
              </a:rPr>
              <a:t>t</a:t>
            </a:r>
            <a:r>
              <a:rPr lang="en-US" sz="1500" b="0" i="0" spc="-44" baseline="0" dirty="0">
                <a:solidFill>
                  <a:srgbClr val="FFFFFF"/>
                </a:solidFill>
                <a:latin typeface="EYInterstate-Light"/>
              </a:rPr>
              <a:t>o</a:t>
            </a:r>
            <a:r>
              <a:rPr lang="en-US" sz="1500" b="0" i="0" spc="-66" baseline="0" dirty="0">
                <a:solidFill>
                  <a:srgbClr val="FFFFFF"/>
                </a:solidFill>
                <a:latin typeface="EYInterstate-Light"/>
              </a:rPr>
              <a:t> </a:t>
            </a:r>
            <a:r>
              <a:rPr lang="en-US" sz="1500" b="0" i="0" spc="-46" baseline="0" dirty="0">
                <a:solidFill>
                  <a:srgbClr val="FFFFFF"/>
                </a:solidFill>
                <a:latin typeface="EYInterstate-Light"/>
              </a:rPr>
              <a:t>g</a:t>
            </a:r>
            <a:r>
              <a:rPr lang="en-US" sz="1500" b="0" i="0" spc="-44" baseline="0" dirty="0">
                <a:solidFill>
                  <a:srgbClr val="FFFFFF"/>
                </a:solidFill>
                <a:latin typeface="EYInterstate-Light"/>
              </a:rPr>
              <a:t>o</a:t>
            </a:r>
            <a:r>
              <a:rPr lang="en-US" sz="1500" b="0" i="0" spc="-53" baseline="0" dirty="0">
                <a:solidFill>
                  <a:srgbClr val="FFFFFF"/>
                </a:solidFill>
                <a:latin typeface="EYInterstate-Light"/>
              </a:rPr>
              <a:t> </a:t>
            </a:r>
            <a:r>
              <a:rPr lang="en-US" sz="1500" b="0" i="0" spc="-52" baseline="0" dirty="0">
                <a:solidFill>
                  <a:srgbClr val="FFFFFF"/>
                </a:solidFill>
                <a:latin typeface="EYInterstate-Light"/>
              </a:rPr>
              <a:t>a</a:t>
            </a:r>
            <a:r>
              <a:rPr lang="en-US" sz="1500" b="0" i="0" spc="-46" baseline="0" dirty="0">
                <a:solidFill>
                  <a:srgbClr val="FFFFFF"/>
                </a:solidFill>
                <a:latin typeface="EYInterstate-Light"/>
              </a:rPr>
              <a:t>b</a:t>
            </a:r>
            <a:r>
              <a:rPr lang="en-US" sz="1500" b="0" i="0" spc="-68" baseline="0" dirty="0">
                <a:solidFill>
                  <a:srgbClr val="FFFFFF"/>
                </a:solidFill>
                <a:latin typeface="EYInterstate-Light"/>
              </a:rPr>
              <a:t>o</a:t>
            </a:r>
            <a:r>
              <a:rPr lang="en-US" sz="1500" b="0" i="0" spc="-74" baseline="0" dirty="0">
                <a:solidFill>
                  <a:srgbClr val="FFFFFF"/>
                </a:solidFill>
                <a:latin typeface="EYInterstate-Light"/>
              </a:rPr>
              <a:t>v</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52" baseline="0" dirty="0">
                <a:solidFill>
                  <a:srgbClr val="FFFFFF"/>
                </a:solidFill>
                <a:latin typeface="EYInterstate-Light"/>
              </a:rPr>
              <a:t>a</a:t>
            </a:r>
            <a:r>
              <a:rPr lang="en-US" sz="1500" b="0" i="0" spc="-49" baseline="0" dirty="0">
                <a:solidFill>
                  <a:srgbClr val="FFFFFF"/>
                </a:solidFill>
                <a:latin typeface="EYInterstate-Light"/>
              </a:rPr>
              <a:t>n</a:t>
            </a:r>
            <a:r>
              <a:rPr lang="en-US" sz="1500" b="0" i="0" spc="-46" baseline="0" dirty="0">
                <a:solidFill>
                  <a:srgbClr val="FFFFFF"/>
                </a:solidFill>
                <a:latin typeface="EYInterstate-Light"/>
              </a:rPr>
              <a:t>d</a:t>
            </a:r>
            <a:r>
              <a:rPr lang="en-US" sz="1500" b="0" i="0" spc="0" baseline="0" dirty="0">
                <a:solidFill>
                  <a:srgbClr val="FFFFFF"/>
                </a:solidFill>
                <a:latin typeface="EYInterstate-Light"/>
              </a:rPr>
              <a:t> </a:t>
            </a:r>
          </a:p>
        </p:txBody>
      </p:sp>
      <p:sp>
        <p:nvSpPr>
          <p:cNvPr id="88" name="Rectangle 427"/>
          <p:cNvSpPr/>
          <p:nvPr/>
        </p:nvSpPr>
        <p:spPr>
          <a:xfrm>
            <a:off x="6530190" y="3584322"/>
            <a:ext cx="2260911" cy="526923"/>
          </a:xfrm>
          <a:prstGeom prst="rect">
            <a:avLst/>
          </a:prstGeom>
        </p:spPr>
        <p:txBody>
          <a:bodyPr wrap="none" lIns="0" tIns="0" rIns="0" bIns="0">
            <a:spAutoFit/>
          </a:bodyPr>
          <a:lstStyle/>
          <a:p>
            <a:pPr marL="0"/>
            <a:r>
              <a:rPr lang="en-US" sz="1500" b="0" i="0" spc="-46" baseline="0" dirty="0">
                <a:solidFill>
                  <a:srgbClr val="FFFFFF"/>
                </a:solidFill>
                <a:latin typeface="EYInterstate-Light"/>
              </a:rPr>
              <a:t>b</a:t>
            </a:r>
            <a:r>
              <a:rPr lang="en-US" sz="1500" b="0" i="0" spc="-65" baseline="0" dirty="0">
                <a:solidFill>
                  <a:srgbClr val="FFFFFF"/>
                </a:solidFill>
                <a:latin typeface="EYInterstate-Light"/>
              </a:rPr>
              <a:t>e</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9" baseline="0" dirty="0">
                <a:solidFill>
                  <a:srgbClr val="FFFFFF"/>
                </a:solidFill>
                <a:latin typeface="EYInterstate-Light"/>
              </a:rPr>
              <a:t>n</a:t>
            </a:r>
            <a:r>
              <a:rPr lang="en-US" sz="1500" b="0" i="0" spc="-46" baseline="0" dirty="0">
                <a:solidFill>
                  <a:srgbClr val="FFFFFF"/>
                </a:solidFill>
                <a:latin typeface="EYInterstate-Light"/>
              </a:rPr>
              <a:t>d</a:t>
            </a:r>
            <a:r>
              <a:rPr lang="en-US" sz="1500" b="0" i="0" spc="-78" baseline="0" dirty="0">
                <a:solidFill>
                  <a:srgbClr val="FFFFFF"/>
                </a:solidFill>
                <a:latin typeface="EYInterstate-Light"/>
              </a:rPr>
              <a:t> </a:t>
            </a:r>
            <a:r>
              <a:rPr lang="en-US" sz="1500" b="0" i="0" spc="-89" baseline="0" dirty="0">
                <a:solidFill>
                  <a:srgbClr val="FFFFFF"/>
                </a:solidFill>
                <a:latin typeface="EYInterstate-Light"/>
              </a:rPr>
              <a:t>f</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r</a:t>
            </a:r>
            <a:r>
              <a:rPr lang="en-US" sz="1500" b="0" i="0" spc="-41" baseline="0" dirty="0">
                <a:solidFill>
                  <a:srgbClr val="FFFFFF"/>
                </a:solidFill>
                <a:latin typeface="EYInterstate-Light"/>
              </a:rPr>
              <a:t> </a:t>
            </a:r>
            <a:r>
              <a:rPr lang="en-US" sz="1500" b="0" i="0" spc="-42" baseline="0" dirty="0">
                <a:solidFill>
                  <a:srgbClr val="FFFFFF"/>
                </a:solidFill>
                <a:latin typeface="EYInterstate-Light"/>
              </a:rPr>
              <a:t>t</a:t>
            </a:r>
            <a:r>
              <a:rPr lang="en-US" sz="1500" b="0" i="0" spc="-46" baseline="0" dirty="0">
                <a:solidFill>
                  <a:srgbClr val="FFFFFF"/>
                </a:solidFill>
                <a:latin typeface="EYInterstate-Light"/>
              </a:rPr>
              <a:t>h</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44" baseline="0" dirty="0">
                <a:solidFill>
                  <a:srgbClr val="FFFFFF"/>
                </a:solidFill>
                <a:latin typeface="EYInterstate-Light"/>
              </a:rPr>
              <a:t>o</a:t>
            </a:r>
            <a:r>
              <a:rPr lang="en-US" sz="1500" b="0" i="0" spc="-82" baseline="0" dirty="0">
                <a:solidFill>
                  <a:srgbClr val="FFFFFF"/>
                </a:solidFill>
                <a:latin typeface="EYInterstate-Light"/>
              </a:rPr>
              <a:t>r</a:t>
            </a:r>
            <a:r>
              <a:rPr lang="en-US" sz="1500" b="0" i="0" spc="-46" baseline="0" dirty="0">
                <a:solidFill>
                  <a:srgbClr val="FFFFFF"/>
                </a:solidFill>
                <a:latin typeface="EYInterstate-Light"/>
              </a:rPr>
              <a:t>g</a:t>
            </a:r>
            <a:r>
              <a:rPr lang="en-US" sz="1500" b="0" i="0" spc="-52" baseline="0" dirty="0">
                <a:solidFill>
                  <a:srgbClr val="FFFFFF"/>
                </a:solidFill>
                <a:latin typeface="EYInterstate-Light"/>
              </a:rPr>
              <a:t>a</a:t>
            </a:r>
            <a:r>
              <a:rPr lang="en-US" sz="1500" b="0" i="0" spc="-49" baseline="0" dirty="0">
                <a:solidFill>
                  <a:srgbClr val="FFFFFF"/>
                </a:solidFill>
                <a:latin typeface="EYInterstate-Light"/>
              </a:rPr>
              <a:t>n</a:t>
            </a:r>
            <a:r>
              <a:rPr lang="en-US" sz="1500" b="0" i="0" spc="-52" baseline="0" dirty="0">
                <a:solidFill>
                  <a:srgbClr val="FFFFFF"/>
                </a:solidFill>
                <a:latin typeface="EYInterstate-Light"/>
              </a:rPr>
              <a:t>i</a:t>
            </a:r>
            <a:r>
              <a:rPr lang="en-US" sz="1500" b="0" i="0" spc="-65" baseline="0" dirty="0">
                <a:solidFill>
                  <a:srgbClr val="FFFFFF"/>
                </a:solidFill>
                <a:latin typeface="EYInterstate-Light"/>
              </a:rPr>
              <a:t>z</a:t>
            </a:r>
            <a:r>
              <a:rPr lang="en-US" sz="1500" b="0" i="0" spc="-52" baseline="0" dirty="0">
                <a:solidFill>
                  <a:srgbClr val="FFFFFF"/>
                </a:solidFill>
                <a:latin typeface="EYInterstate-Light"/>
              </a:rPr>
              <a:t>a</a:t>
            </a:r>
            <a:r>
              <a:rPr lang="en-US" sz="1500" b="0" i="0" spc="-42" baseline="0" dirty="0">
                <a:solidFill>
                  <a:srgbClr val="FFFFFF"/>
                </a:solidFill>
                <a:latin typeface="EYInterstate-Light"/>
              </a:rPr>
              <a:t>t</a:t>
            </a:r>
            <a:r>
              <a:rPr lang="en-US" sz="1500" b="0" i="0" spc="-52" baseline="0" dirty="0">
                <a:solidFill>
                  <a:srgbClr val="FFFFFF"/>
                </a:solidFill>
                <a:latin typeface="EYInterstate-Light"/>
              </a:rPr>
              <a:t>i</a:t>
            </a:r>
            <a:r>
              <a:rPr lang="en-US" sz="1500" b="0" i="0" spc="-45" baseline="0" dirty="0">
                <a:solidFill>
                  <a:srgbClr val="FFFFFF"/>
                </a:solidFill>
                <a:latin typeface="EYInterstate-Light"/>
              </a:rPr>
              <a:t>o</a:t>
            </a:r>
            <a:r>
              <a:rPr lang="en-US" sz="1500" b="0" i="0" spc="-49" baseline="0" dirty="0">
                <a:solidFill>
                  <a:srgbClr val="FFFFFF"/>
                </a:solidFill>
                <a:latin typeface="EYInterstate-Light"/>
              </a:rPr>
              <a:t>n</a:t>
            </a:r>
            <a:r>
              <a:rPr lang="en-US" sz="1500" b="0" i="0" spc="0" baseline="0" dirty="0">
                <a:solidFill>
                  <a:srgbClr val="FFFFFF"/>
                </a:solidFill>
                <a:latin typeface="EYInterstate-Light"/>
              </a:rPr>
              <a:t> </a:t>
            </a:r>
          </a:p>
          <a:p>
            <a:pPr marL="353567">
              <a:lnSpc>
                <a:spcPts val="1800"/>
              </a:lnSpc>
            </a:pPr>
            <a:r>
              <a:rPr lang="en-US" sz="1500" b="0" i="0" spc="-52" baseline="0" dirty="0">
                <a:solidFill>
                  <a:srgbClr val="FFFFFF"/>
                </a:solidFill>
                <a:latin typeface="EYInterstate-Light"/>
              </a:rPr>
              <a:t>a</a:t>
            </a:r>
            <a:r>
              <a:rPr lang="en-US" sz="1500" b="0" i="0" spc="-49" baseline="0" dirty="0">
                <a:solidFill>
                  <a:srgbClr val="FFFFFF"/>
                </a:solidFill>
                <a:latin typeface="EYInterstate-Light"/>
              </a:rPr>
              <a:t>n</a:t>
            </a:r>
            <a:r>
              <a:rPr lang="en-US" sz="1500" b="0" i="0" spc="-46" baseline="0" dirty="0">
                <a:solidFill>
                  <a:srgbClr val="FFFFFF"/>
                </a:solidFill>
                <a:latin typeface="EYInterstate-Light"/>
              </a:rPr>
              <a:t>d</a:t>
            </a:r>
            <a:r>
              <a:rPr lang="en-US" sz="1500" b="0" i="0" spc="-53" baseline="0" dirty="0">
                <a:solidFill>
                  <a:srgbClr val="FFFFFF"/>
                </a:solidFill>
                <a:latin typeface="EYInterstate-Light"/>
              </a:rPr>
              <a:t> </a:t>
            </a:r>
            <a:r>
              <a:rPr lang="en-US" sz="1500" b="0" i="0" spc="-42" baseline="0" dirty="0">
                <a:solidFill>
                  <a:srgbClr val="FFFFFF"/>
                </a:solidFill>
                <a:latin typeface="EYInterstate-Light"/>
              </a:rPr>
              <a:t>t</a:t>
            </a:r>
            <a:r>
              <a:rPr lang="en-US" sz="1500" b="0" i="0" spc="-46" baseline="0" dirty="0">
                <a:solidFill>
                  <a:srgbClr val="FFFFFF"/>
                </a:solidFill>
                <a:latin typeface="EYInterstate-Light"/>
              </a:rPr>
              <a:t>h</a:t>
            </a:r>
            <a:r>
              <a:rPr lang="en-US" sz="1500" b="0" i="0" spc="-41"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58" baseline="0" dirty="0">
                <a:solidFill>
                  <a:srgbClr val="FFFFFF"/>
                </a:solidFill>
                <a:latin typeface="EYInterstate-Light"/>
              </a:rPr>
              <a:t>c</a:t>
            </a:r>
            <a:r>
              <a:rPr lang="en-US" sz="1500" b="0" i="0" spc="-46" baseline="0" dirty="0">
                <a:solidFill>
                  <a:srgbClr val="FFFFFF"/>
                </a:solidFill>
                <a:latin typeface="EYInterstate-Light"/>
              </a:rPr>
              <a:t>u</a:t>
            </a:r>
            <a:r>
              <a:rPr lang="en-US" sz="1500" b="0" i="0" spc="-64" baseline="0" dirty="0">
                <a:solidFill>
                  <a:srgbClr val="FFFFFF"/>
                </a:solidFill>
                <a:latin typeface="EYInterstate-Light"/>
              </a:rPr>
              <a:t>s</a:t>
            </a:r>
            <a:r>
              <a:rPr lang="en-US" sz="1500" b="0" i="0" spc="-65" baseline="0" dirty="0">
                <a:solidFill>
                  <a:srgbClr val="FFFFFF"/>
                </a:solidFill>
                <a:latin typeface="EYInterstate-Light"/>
              </a:rPr>
              <a:t>t</a:t>
            </a:r>
            <a:r>
              <a:rPr lang="en-US" sz="1500" b="0" i="0" spc="-45" baseline="0" dirty="0">
                <a:solidFill>
                  <a:srgbClr val="FFFFFF"/>
                </a:solidFill>
                <a:latin typeface="EYInterstate-Light"/>
              </a:rPr>
              <a:t>o</a:t>
            </a:r>
            <a:r>
              <a:rPr lang="en-US" sz="1500" b="0" i="0" spc="-48" baseline="0" dirty="0">
                <a:solidFill>
                  <a:srgbClr val="FFFFFF"/>
                </a:solidFill>
                <a:latin typeface="EYInterstate-Light"/>
              </a:rPr>
              <a:t>m</a:t>
            </a:r>
            <a:r>
              <a:rPr lang="en-US" sz="1500" b="0" i="0" spc="-42" baseline="0" dirty="0">
                <a:solidFill>
                  <a:srgbClr val="FFFFFF"/>
                </a:solidFill>
                <a:latin typeface="EYInterstate-Light"/>
              </a:rPr>
              <a:t>e</a:t>
            </a:r>
            <a:r>
              <a:rPr lang="en-US" sz="1500" b="0" i="0" spc="-58" baseline="0" dirty="0">
                <a:solidFill>
                  <a:srgbClr val="FFFFFF"/>
                </a:solidFill>
                <a:latin typeface="EYInterstate-Light"/>
              </a:rPr>
              <a:t>r</a:t>
            </a:r>
            <a:r>
              <a:rPr lang="en-US" sz="1500" b="0" i="0" spc="0" baseline="0" dirty="0">
                <a:solidFill>
                  <a:srgbClr val="FFFFFF"/>
                </a:solidFill>
                <a:latin typeface="EYInterstate-Light"/>
              </a:rPr>
              <a:t>?</a:t>
            </a:r>
          </a:p>
        </p:txBody>
      </p:sp>
      <p:sp>
        <p:nvSpPr>
          <p:cNvPr id="89" name="Rectangle 428"/>
          <p:cNvSpPr/>
          <p:nvPr/>
        </p:nvSpPr>
        <p:spPr>
          <a:xfrm>
            <a:off x="9956259" y="2684478"/>
            <a:ext cx="1136098" cy="401612"/>
          </a:xfrm>
          <a:prstGeom prst="rect">
            <a:avLst/>
          </a:prstGeom>
        </p:spPr>
        <p:txBody>
          <a:bodyPr wrap="none" lIns="0" tIns="0" rIns="0" bIns="0">
            <a:spAutoFit/>
          </a:bodyPr>
          <a:lstStyle/>
          <a:p>
            <a:pPr marL="0"/>
            <a:r>
              <a:rPr lang="en-US" sz="2004" b="1" i="0" spc="-78" baseline="0" dirty="0">
                <a:solidFill>
                  <a:srgbClr val="FFFFFF"/>
                </a:solidFill>
                <a:latin typeface="EYInterstate-Bold"/>
              </a:rPr>
              <a:t>E</a:t>
            </a:r>
            <a:r>
              <a:rPr lang="en-US" sz="2004" b="1" i="0" spc="-81" baseline="0" dirty="0">
                <a:solidFill>
                  <a:srgbClr val="FFFFFF"/>
                </a:solidFill>
                <a:latin typeface="EYInterstate-Bold"/>
              </a:rPr>
              <a:t>f</a:t>
            </a:r>
            <a:r>
              <a:rPr lang="en-US" sz="2004" b="1" i="0" spc="-58" baseline="0" dirty="0">
                <a:solidFill>
                  <a:srgbClr val="FFFFFF"/>
                </a:solidFill>
                <a:latin typeface="EYInterstate-Bold"/>
              </a:rPr>
              <a:t>f</a:t>
            </a:r>
            <a:r>
              <a:rPr lang="en-US" sz="2004" b="1" i="0" spc="-49" baseline="0" dirty="0">
                <a:solidFill>
                  <a:srgbClr val="FFFFFF"/>
                </a:solidFill>
                <a:latin typeface="EYInterstate-Bold"/>
              </a:rPr>
              <a:t>i</a:t>
            </a:r>
            <a:r>
              <a:rPr lang="en-US" sz="2004" b="1" i="0" spc="-44" baseline="0" dirty="0">
                <a:solidFill>
                  <a:srgbClr val="FFFFFF"/>
                </a:solidFill>
                <a:latin typeface="EYInterstate-Bold"/>
              </a:rPr>
              <a:t>c</a:t>
            </a:r>
            <a:r>
              <a:rPr lang="en-US" sz="2004" b="1" i="0" spc="-49" baseline="0" dirty="0">
                <a:solidFill>
                  <a:srgbClr val="FFFFFF"/>
                </a:solidFill>
                <a:latin typeface="EYInterstate-Bold"/>
              </a:rPr>
              <a:t>i</a:t>
            </a:r>
            <a:r>
              <a:rPr lang="en-US" sz="2004" b="1" i="0" spc="-58" baseline="0" dirty="0">
                <a:solidFill>
                  <a:srgbClr val="FFFFFF"/>
                </a:solidFill>
                <a:latin typeface="EYInterstate-Bold"/>
              </a:rPr>
              <a:t>e</a:t>
            </a:r>
            <a:r>
              <a:rPr lang="en-US" sz="2004" b="1" i="0" spc="-54" baseline="0" dirty="0">
                <a:solidFill>
                  <a:srgbClr val="FFFFFF"/>
                </a:solidFill>
                <a:latin typeface="EYInterstate-Bold"/>
              </a:rPr>
              <a:t>n</a:t>
            </a:r>
            <a:r>
              <a:rPr lang="en-US" sz="2004" b="1" i="0" spc="-80" baseline="0" dirty="0">
                <a:solidFill>
                  <a:srgbClr val="FFFFFF"/>
                </a:solidFill>
                <a:latin typeface="EYInterstate-Bold"/>
              </a:rPr>
              <a:t>c</a:t>
            </a:r>
            <a:r>
              <a:rPr lang="en-US" sz="2004" b="1" i="0" spc="0" baseline="0" dirty="0">
                <a:solidFill>
                  <a:srgbClr val="FFFFFF"/>
                </a:solidFill>
                <a:latin typeface="EYInterstate-Bold"/>
              </a:rPr>
              <a:t>y</a:t>
            </a:r>
          </a:p>
        </p:txBody>
      </p:sp>
      <p:sp>
        <p:nvSpPr>
          <p:cNvPr id="90" name="Rectangle 429"/>
          <p:cNvSpPr/>
          <p:nvPr/>
        </p:nvSpPr>
        <p:spPr>
          <a:xfrm>
            <a:off x="9587611" y="3115311"/>
            <a:ext cx="1914905" cy="757807"/>
          </a:xfrm>
          <a:prstGeom prst="rect">
            <a:avLst/>
          </a:prstGeom>
        </p:spPr>
        <p:txBody>
          <a:bodyPr wrap="none" lIns="0" tIns="0" rIns="0" bIns="0">
            <a:spAutoFit/>
          </a:bodyPr>
          <a:lstStyle/>
          <a:p>
            <a:pPr marL="0"/>
            <a:r>
              <a:rPr lang="en-US" sz="1500" b="0" i="0" spc="-44" baseline="0" dirty="0">
                <a:solidFill>
                  <a:srgbClr val="FFFFFF"/>
                </a:solidFill>
                <a:latin typeface="EYInterstate-Light"/>
              </a:rPr>
              <a:t>A</a:t>
            </a:r>
            <a:r>
              <a:rPr lang="en-US" sz="1500" b="0" i="0" spc="-82" baseline="0" dirty="0">
                <a:solidFill>
                  <a:srgbClr val="FFFFFF"/>
                </a:solidFill>
                <a:latin typeface="EYInterstate-Light"/>
              </a:rPr>
              <a:t>r</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88" baseline="0" dirty="0">
                <a:solidFill>
                  <a:srgbClr val="FFFFFF"/>
                </a:solidFill>
                <a:latin typeface="EYInterstate-Light"/>
              </a:rPr>
              <a:t>y</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u</a:t>
            </a:r>
            <a:r>
              <a:rPr lang="en-US" sz="1500" b="0" i="0" spc="-65" baseline="0" dirty="0">
                <a:solidFill>
                  <a:srgbClr val="FFFFFF"/>
                </a:solidFill>
                <a:latin typeface="EYInterstate-Light"/>
              </a:rPr>
              <a:t> </a:t>
            </a:r>
            <a:r>
              <a:rPr lang="en-US" sz="1500" b="1" i="0" spc="-52" baseline="0" dirty="0">
                <a:solidFill>
                  <a:srgbClr val="FFD200"/>
                </a:solidFill>
                <a:latin typeface="EYInterstate-Bold"/>
              </a:rPr>
              <a:t>o</a:t>
            </a:r>
            <a:r>
              <a:rPr lang="en-US" sz="1500" b="1" i="0" spc="-63" baseline="0" dirty="0">
                <a:solidFill>
                  <a:srgbClr val="FFD200"/>
                </a:solidFill>
                <a:latin typeface="EYInterstate-Bold"/>
              </a:rPr>
              <a:t>p</a:t>
            </a:r>
            <a:r>
              <a:rPr lang="en-US" sz="1500" b="1" i="0" spc="-50" baseline="0" dirty="0">
                <a:solidFill>
                  <a:srgbClr val="FFD200"/>
                </a:solidFill>
                <a:latin typeface="EYInterstate-Bold"/>
              </a:rPr>
              <a:t>ti</a:t>
            </a:r>
            <a:r>
              <a:rPr lang="en-US" sz="1500" b="1" i="0" spc="-49" baseline="0" dirty="0">
                <a:solidFill>
                  <a:srgbClr val="FFD200"/>
                </a:solidFill>
                <a:latin typeface="EYInterstate-Bold"/>
              </a:rPr>
              <a:t>m</a:t>
            </a:r>
            <a:r>
              <a:rPr lang="en-US" sz="1500" b="1" i="0" spc="-50" baseline="0" dirty="0">
                <a:solidFill>
                  <a:srgbClr val="FFD200"/>
                </a:solidFill>
                <a:latin typeface="EYInterstate-Bold"/>
              </a:rPr>
              <a:t>i</a:t>
            </a:r>
            <a:r>
              <a:rPr lang="en-US" sz="1500" b="1" i="0" spc="-51" baseline="0" dirty="0">
                <a:solidFill>
                  <a:srgbClr val="FFD200"/>
                </a:solidFill>
                <a:latin typeface="EYInterstate-Bold"/>
              </a:rPr>
              <a:t>zi</a:t>
            </a:r>
            <a:r>
              <a:rPr lang="en-US" sz="1500" b="1" i="0" spc="-47" baseline="0" dirty="0">
                <a:solidFill>
                  <a:srgbClr val="FFD200"/>
                </a:solidFill>
                <a:latin typeface="EYInterstate-Bold"/>
              </a:rPr>
              <a:t>n</a:t>
            </a:r>
            <a:r>
              <a:rPr lang="en-US" sz="1500" b="1" i="0" spc="356" baseline="0" dirty="0">
                <a:solidFill>
                  <a:srgbClr val="FFD200"/>
                </a:solidFill>
                <a:latin typeface="EYInterstate-Bold"/>
              </a:rPr>
              <a:t>g</a:t>
            </a:r>
            <a:r>
              <a:rPr lang="en-US" sz="1500" b="0" i="0" spc="-41" baseline="0" dirty="0">
                <a:solidFill>
                  <a:srgbClr val="FFFFFF"/>
                </a:solidFill>
                <a:latin typeface="EYInterstate-Light"/>
              </a:rPr>
              <a:t>t</a:t>
            </a:r>
            <a:r>
              <a:rPr lang="en-US" sz="1500" b="0" i="0" spc="-46" baseline="0" dirty="0">
                <a:solidFill>
                  <a:srgbClr val="FFFFFF"/>
                </a:solidFill>
                <a:latin typeface="EYInterstate-Light"/>
              </a:rPr>
              <a:t>h</a:t>
            </a:r>
            <a:r>
              <a:rPr lang="en-US" sz="1500" b="0" i="0" spc="-41" baseline="0" dirty="0">
                <a:solidFill>
                  <a:srgbClr val="FFFFFF"/>
                </a:solidFill>
                <a:latin typeface="EYInterstate-Light"/>
              </a:rPr>
              <a:t>e</a:t>
            </a:r>
            <a:r>
              <a:rPr lang="en-US" sz="1500" b="0" i="0" spc="0" baseline="0" dirty="0">
                <a:solidFill>
                  <a:srgbClr val="FFFFFF"/>
                </a:solidFill>
                <a:latin typeface="EYInterstate-Light"/>
              </a:rPr>
              <a:t> </a:t>
            </a:r>
          </a:p>
          <a:p>
            <a:pPr marL="39623">
              <a:lnSpc>
                <a:spcPts val="1800"/>
              </a:lnSpc>
            </a:pPr>
            <a:r>
              <a:rPr lang="en-US" sz="1500" b="0" i="0" spc="-98" baseline="0" dirty="0">
                <a:solidFill>
                  <a:srgbClr val="FFFFFF"/>
                </a:solidFill>
                <a:latin typeface="EYInterstate-Light"/>
              </a:rPr>
              <a:t>w</a:t>
            </a:r>
            <a:r>
              <a:rPr lang="en-US" sz="1500" b="0" i="0" spc="-76" baseline="0" dirty="0">
                <a:solidFill>
                  <a:srgbClr val="FFFFFF"/>
                </a:solidFill>
                <a:latin typeface="EYInterstate-Light"/>
              </a:rPr>
              <a:t>a</a:t>
            </a:r>
            <a:r>
              <a:rPr lang="en-US" sz="1500" b="0" i="0" spc="-52" baseline="0" dirty="0">
                <a:solidFill>
                  <a:srgbClr val="FFFFFF"/>
                </a:solidFill>
                <a:latin typeface="EYInterstate-Light"/>
              </a:rPr>
              <a:t>y</a:t>
            </a:r>
            <a:r>
              <a:rPr lang="en-US" sz="1500" b="0" i="0" spc="-41" baseline="0" dirty="0">
                <a:solidFill>
                  <a:srgbClr val="FFFFFF"/>
                </a:solidFill>
                <a:latin typeface="EYInterstate-Light"/>
              </a:rPr>
              <a:t> </a:t>
            </a:r>
            <a:r>
              <a:rPr lang="en-US" sz="1500" b="0" i="0" spc="-75" baseline="0" dirty="0">
                <a:solidFill>
                  <a:srgbClr val="FFFFFF"/>
                </a:solidFill>
                <a:latin typeface="EYInterstate-Light"/>
              </a:rPr>
              <a:t>w</a:t>
            </a:r>
            <a:r>
              <a:rPr lang="en-US" sz="1500" b="0" i="0" spc="-44" baseline="0" dirty="0">
                <a:solidFill>
                  <a:srgbClr val="FFFFFF"/>
                </a:solidFill>
                <a:latin typeface="EYInterstate-Light"/>
              </a:rPr>
              <a:t>o</a:t>
            </a:r>
            <a:r>
              <a:rPr lang="en-US" sz="1500" b="0" i="0" spc="-46" baseline="0" dirty="0">
                <a:solidFill>
                  <a:srgbClr val="FFFFFF"/>
                </a:solidFill>
                <a:latin typeface="EYInterstate-Light"/>
              </a:rPr>
              <a:t>r</a:t>
            </a:r>
            <a:r>
              <a:rPr lang="en-US" sz="1500" b="0" i="0" spc="-49" baseline="0" dirty="0">
                <a:solidFill>
                  <a:srgbClr val="FFFFFF"/>
                </a:solidFill>
                <a:latin typeface="EYInterstate-Light"/>
              </a:rPr>
              <a:t>k</a:t>
            </a:r>
            <a:r>
              <a:rPr lang="en-US" sz="1500" b="0" i="0" spc="-42" baseline="0" dirty="0">
                <a:solidFill>
                  <a:srgbClr val="FFFFFF"/>
                </a:solidFill>
                <a:latin typeface="EYInterstate-Light"/>
              </a:rPr>
              <a:t> </a:t>
            </a:r>
            <a:r>
              <a:rPr lang="en-US" sz="1500" b="0" i="0" spc="-46" baseline="0" dirty="0">
                <a:solidFill>
                  <a:srgbClr val="FFFFFF"/>
                </a:solidFill>
                <a:latin typeface="EYInterstate-Light"/>
              </a:rPr>
              <a:t>g</a:t>
            </a:r>
            <a:r>
              <a:rPr lang="en-US" sz="1500" b="0" i="0" spc="-54" baseline="0" dirty="0">
                <a:solidFill>
                  <a:srgbClr val="FFFFFF"/>
                </a:solidFill>
                <a:latin typeface="EYInterstate-Light"/>
              </a:rPr>
              <a:t>e</a:t>
            </a:r>
            <a:r>
              <a:rPr lang="en-US" sz="1500" b="0" i="0" spc="-53" baseline="0" dirty="0">
                <a:solidFill>
                  <a:srgbClr val="FFFFFF"/>
                </a:solidFill>
                <a:latin typeface="EYInterstate-Light"/>
              </a:rPr>
              <a:t>t</a:t>
            </a:r>
            <a:r>
              <a:rPr lang="en-US" sz="1500" b="0" i="0" spc="-52" baseline="0" dirty="0">
                <a:solidFill>
                  <a:srgbClr val="FFFFFF"/>
                </a:solidFill>
                <a:latin typeface="EYInterstate-Light"/>
              </a:rPr>
              <a:t>s</a:t>
            </a:r>
            <a:r>
              <a:rPr lang="en-US" sz="1500" b="0" i="0" spc="-66" baseline="0" dirty="0">
                <a:solidFill>
                  <a:srgbClr val="FFFFFF"/>
                </a:solidFill>
                <a:latin typeface="EYInterstate-Light"/>
              </a:rPr>
              <a:t> </a:t>
            </a:r>
            <a:r>
              <a:rPr lang="en-US" sz="1500" b="0" i="0" spc="-46" baseline="0" dirty="0">
                <a:solidFill>
                  <a:srgbClr val="FFFFFF"/>
                </a:solidFill>
                <a:latin typeface="EYInterstate-Light"/>
              </a:rPr>
              <a:t>d</a:t>
            </a:r>
            <a:r>
              <a:rPr lang="en-US" sz="1500" b="0" i="0" spc="-44" baseline="0" dirty="0">
                <a:solidFill>
                  <a:srgbClr val="FFFFFF"/>
                </a:solidFill>
                <a:latin typeface="EYInterstate-Light"/>
              </a:rPr>
              <a:t>o</a:t>
            </a:r>
            <a:r>
              <a:rPr lang="en-US" sz="1500" b="0" i="0" spc="-49" baseline="0" dirty="0">
                <a:solidFill>
                  <a:srgbClr val="FFFFFF"/>
                </a:solidFill>
                <a:latin typeface="EYInterstate-Light"/>
              </a:rPr>
              <a:t>n</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t</a:t>
            </a:r>
            <a:r>
              <a:rPr lang="en-US" sz="1500" b="0" i="0" spc="-44" baseline="0" dirty="0">
                <a:solidFill>
                  <a:srgbClr val="FFFFFF"/>
                </a:solidFill>
                <a:latin typeface="EYInterstate-Light"/>
              </a:rPr>
              <a:t>o</a:t>
            </a:r>
            <a:r>
              <a:rPr lang="en-US" sz="1500" b="0" i="0" spc="0" baseline="0" dirty="0">
                <a:solidFill>
                  <a:srgbClr val="FFFFFF"/>
                </a:solidFill>
                <a:latin typeface="EYInterstate-Light"/>
              </a:rPr>
              <a:t> </a:t>
            </a:r>
          </a:p>
          <a:p>
            <a:pPr marL="280415">
              <a:lnSpc>
                <a:spcPts val="1800"/>
              </a:lnSpc>
            </a:pPr>
            <a:r>
              <a:rPr lang="en-US" sz="1500" b="0" i="0" spc="-46" baseline="0" dirty="0">
                <a:solidFill>
                  <a:srgbClr val="FFFFFF"/>
                </a:solidFill>
                <a:latin typeface="EYInterstate-Light"/>
              </a:rPr>
              <a:t>dr</a:t>
            </a:r>
            <a:r>
              <a:rPr lang="en-US" sz="1500" b="0" i="0" spc="-52" baseline="0" dirty="0">
                <a:solidFill>
                  <a:srgbClr val="FFFFFF"/>
                </a:solidFill>
                <a:latin typeface="EYInterstate-Light"/>
              </a:rPr>
              <a:t>i</a:t>
            </a:r>
            <a:r>
              <a:rPr lang="en-US" sz="1500" b="0" i="0" spc="-74" baseline="0" dirty="0">
                <a:solidFill>
                  <a:srgbClr val="FFFFFF"/>
                </a:solidFill>
                <a:latin typeface="EYInterstate-Light"/>
              </a:rPr>
              <a:t>v</a:t>
            </a:r>
            <a:r>
              <a:rPr lang="en-US" sz="1500" b="0" i="0" spc="-42" baseline="0" dirty="0">
                <a:solidFill>
                  <a:srgbClr val="FFFFFF"/>
                </a:solidFill>
                <a:latin typeface="EYInterstate-Light"/>
              </a:rPr>
              <a:t>e</a:t>
            </a:r>
            <a:r>
              <a:rPr lang="en-US" sz="1500" b="0" i="0" spc="-66" baseline="0" dirty="0">
                <a:solidFill>
                  <a:srgbClr val="FFFFFF"/>
                </a:solidFill>
                <a:latin typeface="EYInterstate-Light"/>
              </a:rPr>
              <a:t> </a:t>
            </a:r>
            <a:r>
              <a:rPr lang="en-US" sz="1500" b="0" i="0" spc="-54" baseline="0" dirty="0">
                <a:solidFill>
                  <a:srgbClr val="FFFFFF"/>
                </a:solidFill>
                <a:latin typeface="EYInterstate-Light"/>
              </a:rPr>
              <a:t>e</a:t>
            </a:r>
            <a:r>
              <a:rPr lang="en-US" sz="1500" b="0" i="0" spc="-77" baseline="0" dirty="0">
                <a:solidFill>
                  <a:srgbClr val="FFFFFF"/>
                </a:solidFill>
                <a:latin typeface="EYInterstate-Light"/>
              </a:rPr>
              <a:t>f</a:t>
            </a:r>
            <a:r>
              <a:rPr lang="en-US" sz="1500" b="0" i="0" spc="-65" baseline="0" dirty="0">
                <a:solidFill>
                  <a:srgbClr val="FFFFFF"/>
                </a:solidFill>
                <a:latin typeface="EYInterstate-Light"/>
              </a:rPr>
              <a:t>f</a:t>
            </a:r>
            <a:r>
              <a:rPr lang="en-US" sz="1500" b="0" i="0" spc="-52" baseline="0" dirty="0">
                <a:solidFill>
                  <a:srgbClr val="FFFFFF"/>
                </a:solidFill>
                <a:latin typeface="EYInterstate-Light"/>
              </a:rPr>
              <a:t>i</a:t>
            </a:r>
            <a:r>
              <a:rPr lang="en-US" sz="1500" b="0" i="0" spc="-46" baseline="0" dirty="0">
                <a:solidFill>
                  <a:srgbClr val="FFFFFF"/>
                </a:solidFill>
                <a:latin typeface="EYInterstate-Light"/>
              </a:rPr>
              <a:t>c</a:t>
            </a:r>
            <a:r>
              <a:rPr lang="en-US" sz="1500" b="0" i="0" spc="-52" baseline="0" dirty="0">
                <a:solidFill>
                  <a:srgbClr val="FFFFFF"/>
                </a:solidFill>
                <a:latin typeface="EYInterstate-Light"/>
              </a:rPr>
              <a:t>i</a:t>
            </a:r>
            <a:r>
              <a:rPr lang="en-US" sz="1500" b="0" i="0" spc="-42" baseline="0" dirty="0">
                <a:solidFill>
                  <a:srgbClr val="FFFFFF"/>
                </a:solidFill>
                <a:latin typeface="EYInterstate-Light"/>
              </a:rPr>
              <a:t>e</a:t>
            </a:r>
            <a:r>
              <a:rPr lang="en-US" sz="1500" b="0" i="0" spc="-49" baseline="0" dirty="0">
                <a:solidFill>
                  <a:srgbClr val="FFFFFF"/>
                </a:solidFill>
                <a:latin typeface="EYInterstate-Light"/>
              </a:rPr>
              <a:t>n</a:t>
            </a:r>
            <a:r>
              <a:rPr lang="en-US" sz="1500" b="0" i="0" spc="-58" baseline="0" dirty="0">
                <a:solidFill>
                  <a:srgbClr val="FFFFFF"/>
                </a:solidFill>
                <a:latin typeface="EYInterstate-Light"/>
              </a:rPr>
              <a:t>c</a:t>
            </a:r>
            <a:r>
              <a:rPr lang="en-US" sz="1500" b="0" i="0" spc="-64" baseline="0" dirty="0">
                <a:solidFill>
                  <a:srgbClr val="FFFFFF"/>
                </a:solidFill>
                <a:latin typeface="EYInterstate-Light"/>
              </a:rPr>
              <a:t>y</a:t>
            </a:r>
            <a:r>
              <a:rPr lang="en-US" sz="1500" b="0" i="0" spc="0" baseline="0" dirty="0">
                <a:solidFill>
                  <a:srgbClr val="FFFFFF"/>
                </a:solidFill>
                <a:latin typeface="EYInterstate-Light"/>
              </a:rPr>
              <a:t>?</a:t>
            </a:r>
          </a:p>
        </p:txBody>
      </p:sp>
      <p:grpSp>
        <p:nvGrpSpPr>
          <p:cNvPr id="22" name="Group 21"/>
          <p:cNvGrpSpPr/>
          <p:nvPr/>
        </p:nvGrpSpPr>
        <p:grpSpPr>
          <a:xfrm>
            <a:off x="1449497" y="4105361"/>
            <a:ext cx="693524" cy="1020637"/>
            <a:chOff x="4339447" y="4589960"/>
            <a:chExt cx="693524" cy="1020637"/>
          </a:xfrm>
        </p:grpSpPr>
        <p:grpSp>
          <p:nvGrpSpPr>
            <p:cNvPr id="10" name="Group 9"/>
            <p:cNvGrpSpPr/>
            <p:nvPr/>
          </p:nvGrpSpPr>
          <p:grpSpPr>
            <a:xfrm>
              <a:off x="4353216" y="4589960"/>
              <a:ext cx="665987" cy="667512"/>
              <a:chOff x="4369308" y="4589960"/>
              <a:chExt cx="665987" cy="667512"/>
            </a:xfrm>
          </p:grpSpPr>
          <p:sp>
            <p:nvSpPr>
              <p:cNvPr id="75" name="Freeform 411"/>
              <p:cNvSpPr/>
              <p:nvPr/>
            </p:nvSpPr>
            <p:spPr>
              <a:xfrm>
                <a:off x="4369308" y="4589960"/>
                <a:ext cx="665987" cy="667512"/>
              </a:xfrm>
              <a:custGeom>
                <a:avLst/>
                <a:gdLst/>
                <a:ahLst/>
                <a:cxnLst/>
                <a:rect l="0" t="0" r="0" b="0"/>
                <a:pathLst>
                  <a:path w="665987" h="667512">
                    <a:moveTo>
                      <a:pt x="0" y="333756"/>
                    </a:moveTo>
                    <a:cubicBezTo>
                      <a:pt x="0" y="149429"/>
                      <a:pt x="149085" y="0"/>
                      <a:pt x="332993" y="0"/>
                    </a:cubicBezTo>
                    <a:cubicBezTo>
                      <a:pt x="516902" y="0"/>
                      <a:pt x="665987" y="149429"/>
                      <a:pt x="665987" y="333756"/>
                    </a:cubicBezTo>
                    <a:cubicBezTo>
                      <a:pt x="665987" y="518083"/>
                      <a:pt x="516902" y="667512"/>
                      <a:pt x="332993" y="667512"/>
                    </a:cubicBezTo>
                    <a:cubicBezTo>
                      <a:pt x="149085" y="667512"/>
                      <a:pt x="0" y="518083"/>
                      <a:pt x="0" y="333756"/>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76" name="Freeform 412"/>
              <p:cNvSpPr/>
              <p:nvPr/>
            </p:nvSpPr>
            <p:spPr>
              <a:xfrm>
                <a:off x="4469891" y="4781984"/>
                <a:ext cx="458723" cy="320038"/>
              </a:xfrm>
              <a:custGeom>
                <a:avLst/>
                <a:gdLst/>
                <a:ahLst/>
                <a:cxnLst/>
                <a:rect l="0" t="0" r="0" b="0"/>
                <a:pathLst>
                  <a:path w="458723" h="320038">
                    <a:moveTo>
                      <a:pt x="0" y="17779"/>
                    </a:moveTo>
                    <a:cubicBezTo>
                      <a:pt x="0" y="10667"/>
                      <a:pt x="7061" y="0"/>
                      <a:pt x="21170" y="7112"/>
                    </a:cubicBezTo>
                    <a:lnTo>
                      <a:pt x="105854" y="46227"/>
                    </a:lnTo>
                    <a:lnTo>
                      <a:pt x="21170" y="216915"/>
                    </a:lnTo>
                    <a:lnTo>
                      <a:pt x="0" y="206247"/>
                    </a:lnTo>
                    <a:close/>
                    <a:moveTo>
                      <a:pt x="338747" y="224026"/>
                    </a:moveTo>
                    <a:cubicBezTo>
                      <a:pt x="338747" y="224026"/>
                      <a:pt x="338747" y="231138"/>
                      <a:pt x="335216" y="234694"/>
                    </a:cubicBezTo>
                    <a:lnTo>
                      <a:pt x="317576" y="252474"/>
                    </a:lnTo>
                    <a:cubicBezTo>
                      <a:pt x="317576" y="259587"/>
                      <a:pt x="317576" y="263142"/>
                      <a:pt x="314045" y="266699"/>
                    </a:cubicBezTo>
                    <a:lnTo>
                      <a:pt x="292874" y="288035"/>
                    </a:lnTo>
                    <a:cubicBezTo>
                      <a:pt x="285826" y="291590"/>
                      <a:pt x="282295" y="291590"/>
                      <a:pt x="275234" y="291590"/>
                    </a:cubicBezTo>
                    <a:lnTo>
                      <a:pt x="261124" y="302258"/>
                    </a:lnTo>
                    <a:cubicBezTo>
                      <a:pt x="257594" y="305815"/>
                      <a:pt x="254063" y="309370"/>
                      <a:pt x="247002" y="309370"/>
                    </a:cubicBezTo>
                    <a:lnTo>
                      <a:pt x="243471" y="305815"/>
                    </a:lnTo>
                    <a:lnTo>
                      <a:pt x="232892" y="316483"/>
                    </a:lnTo>
                    <a:cubicBezTo>
                      <a:pt x="225831" y="320038"/>
                      <a:pt x="218770" y="320038"/>
                      <a:pt x="211721" y="320038"/>
                    </a:cubicBezTo>
                    <a:lnTo>
                      <a:pt x="165849" y="312926"/>
                    </a:lnTo>
                    <a:cubicBezTo>
                      <a:pt x="155257" y="312926"/>
                      <a:pt x="144678" y="309370"/>
                      <a:pt x="137617" y="302258"/>
                    </a:cubicBezTo>
                    <a:lnTo>
                      <a:pt x="56464" y="209802"/>
                    </a:lnTo>
                    <a:lnTo>
                      <a:pt x="45872" y="206247"/>
                    </a:lnTo>
                    <a:lnTo>
                      <a:pt x="56464" y="188466"/>
                    </a:lnTo>
                    <a:lnTo>
                      <a:pt x="70573" y="195579"/>
                    </a:lnTo>
                    <a:lnTo>
                      <a:pt x="144678" y="280922"/>
                    </a:lnTo>
                    <a:cubicBezTo>
                      <a:pt x="151726" y="288035"/>
                      <a:pt x="155257" y="291590"/>
                      <a:pt x="162318" y="295147"/>
                    </a:cubicBezTo>
                    <a:lnTo>
                      <a:pt x="211721" y="302258"/>
                    </a:lnTo>
                    <a:cubicBezTo>
                      <a:pt x="215252" y="302258"/>
                      <a:pt x="218770" y="302258"/>
                      <a:pt x="222300" y="298703"/>
                    </a:cubicBezTo>
                    <a:lnTo>
                      <a:pt x="232892" y="291590"/>
                    </a:lnTo>
                    <a:cubicBezTo>
                      <a:pt x="236423" y="284479"/>
                      <a:pt x="243471" y="288035"/>
                      <a:pt x="250532" y="288035"/>
                    </a:cubicBezTo>
                    <a:lnTo>
                      <a:pt x="264642" y="277367"/>
                    </a:lnTo>
                    <a:cubicBezTo>
                      <a:pt x="271703" y="270254"/>
                      <a:pt x="278765" y="270254"/>
                      <a:pt x="282295" y="273810"/>
                    </a:cubicBezTo>
                    <a:lnTo>
                      <a:pt x="299935" y="256031"/>
                    </a:lnTo>
                    <a:cubicBezTo>
                      <a:pt x="296405" y="252474"/>
                      <a:pt x="296405" y="245363"/>
                      <a:pt x="303466" y="241806"/>
                    </a:cubicBezTo>
                    <a:lnTo>
                      <a:pt x="317576" y="227583"/>
                    </a:lnTo>
                    <a:cubicBezTo>
                      <a:pt x="321106" y="224026"/>
                      <a:pt x="321106" y="220471"/>
                      <a:pt x="321106" y="216915"/>
                    </a:cubicBezTo>
                    <a:lnTo>
                      <a:pt x="247002" y="142239"/>
                    </a:lnTo>
                    <a:lnTo>
                      <a:pt x="187020" y="163574"/>
                    </a:lnTo>
                    <a:cubicBezTo>
                      <a:pt x="176428" y="167131"/>
                      <a:pt x="169379" y="167131"/>
                      <a:pt x="162318" y="163574"/>
                    </a:cubicBezTo>
                    <a:cubicBezTo>
                      <a:pt x="162318" y="163574"/>
                      <a:pt x="151726" y="156463"/>
                      <a:pt x="148209" y="156463"/>
                    </a:cubicBezTo>
                    <a:lnTo>
                      <a:pt x="194081" y="106679"/>
                    </a:lnTo>
                    <a:lnTo>
                      <a:pt x="109385" y="78231"/>
                    </a:lnTo>
                    <a:lnTo>
                      <a:pt x="119976" y="60450"/>
                    </a:lnTo>
                    <a:lnTo>
                      <a:pt x="197599" y="85343"/>
                    </a:lnTo>
                    <a:cubicBezTo>
                      <a:pt x="201129" y="85343"/>
                      <a:pt x="204660" y="81786"/>
                      <a:pt x="204660" y="81786"/>
                    </a:cubicBezTo>
                    <a:cubicBezTo>
                      <a:pt x="211721" y="74675"/>
                      <a:pt x="218770" y="67563"/>
                      <a:pt x="229361" y="67563"/>
                    </a:cubicBezTo>
                    <a:lnTo>
                      <a:pt x="306997" y="67563"/>
                    </a:lnTo>
                    <a:lnTo>
                      <a:pt x="335216" y="56894"/>
                    </a:lnTo>
                    <a:lnTo>
                      <a:pt x="345808" y="71118"/>
                    </a:lnTo>
                    <a:lnTo>
                      <a:pt x="310515" y="88898"/>
                    </a:lnTo>
                    <a:lnTo>
                      <a:pt x="229361" y="88898"/>
                    </a:lnTo>
                    <a:cubicBezTo>
                      <a:pt x="225831" y="88898"/>
                      <a:pt x="218770" y="92455"/>
                      <a:pt x="215252" y="96010"/>
                    </a:cubicBezTo>
                    <a:lnTo>
                      <a:pt x="162318" y="152907"/>
                    </a:lnTo>
                    <a:cubicBezTo>
                      <a:pt x="165849" y="152907"/>
                      <a:pt x="165849" y="156463"/>
                      <a:pt x="165849" y="156463"/>
                    </a:cubicBezTo>
                    <a:lnTo>
                      <a:pt x="183489" y="156463"/>
                    </a:lnTo>
                    <a:lnTo>
                      <a:pt x="250532" y="131571"/>
                    </a:lnTo>
                    <a:lnTo>
                      <a:pt x="271703" y="152907"/>
                    </a:lnTo>
                    <a:cubicBezTo>
                      <a:pt x="285826" y="156463"/>
                      <a:pt x="299935" y="152907"/>
                      <a:pt x="314045" y="152907"/>
                    </a:cubicBezTo>
                    <a:lnTo>
                      <a:pt x="314045" y="160018"/>
                    </a:lnTo>
                    <a:cubicBezTo>
                      <a:pt x="303466" y="163574"/>
                      <a:pt x="292874" y="163574"/>
                      <a:pt x="282295" y="163574"/>
                    </a:cubicBezTo>
                    <a:close/>
                    <a:moveTo>
                      <a:pt x="109385" y="312926"/>
                    </a:moveTo>
                    <a:lnTo>
                      <a:pt x="88214" y="288035"/>
                    </a:lnTo>
                    <a:lnTo>
                      <a:pt x="81152" y="288035"/>
                    </a:lnTo>
                    <a:cubicBezTo>
                      <a:pt x="63512" y="288035"/>
                      <a:pt x="49403" y="266699"/>
                      <a:pt x="67043" y="252474"/>
                    </a:cubicBezTo>
                    <a:lnTo>
                      <a:pt x="74104" y="259587"/>
                    </a:lnTo>
                    <a:cubicBezTo>
                      <a:pt x="63512" y="266699"/>
                      <a:pt x="70573" y="280922"/>
                      <a:pt x="81152" y="280922"/>
                    </a:cubicBezTo>
                    <a:lnTo>
                      <a:pt x="91744" y="280922"/>
                    </a:lnTo>
                    <a:lnTo>
                      <a:pt x="102336" y="291590"/>
                    </a:lnTo>
                    <a:lnTo>
                      <a:pt x="116446" y="305815"/>
                    </a:lnTo>
                    <a:close/>
                    <a:moveTo>
                      <a:pt x="342277" y="199134"/>
                    </a:moveTo>
                    <a:lnTo>
                      <a:pt x="395211" y="177799"/>
                    </a:lnTo>
                    <a:lnTo>
                      <a:pt x="405790" y="195579"/>
                    </a:lnTo>
                    <a:lnTo>
                      <a:pt x="356387" y="213358"/>
                    </a:lnTo>
                    <a:close/>
                    <a:moveTo>
                      <a:pt x="458723" y="17779"/>
                    </a:moveTo>
                    <a:lnTo>
                      <a:pt x="458723" y="206247"/>
                    </a:lnTo>
                    <a:lnTo>
                      <a:pt x="434022" y="216915"/>
                    </a:lnTo>
                    <a:lnTo>
                      <a:pt x="352869" y="46227"/>
                    </a:lnTo>
                    <a:lnTo>
                      <a:pt x="437553" y="7112"/>
                    </a:lnTo>
                    <a:cubicBezTo>
                      <a:pt x="448132" y="0"/>
                      <a:pt x="458723" y="10667"/>
                      <a:pt x="458723" y="17779"/>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91" name="Rectangle 430"/>
            <p:cNvSpPr/>
            <p:nvPr/>
          </p:nvSpPr>
          <p:spPr>
            <a:xfrm>
              <a:off x="4339447" y="5303462"/>
              <a:ext cx="693524" cy="307135"/>
            </a:xfrm>
            <a:prstGeom prst="rect">
              <a:avLst/>
            </a:prstGeom>
          </p:spPr>
          <p:txBody>
            <a:bodyPr wrap="none" lIns="0" tIns="0" rIns="0" bIns="0">
              <a:spAutoFit/>
            </a:bodyPr>
            <a:lstStyle/>
            <a:p>
              <a:pPr marL="35038" algn="ctr"/>
              <a:r>
                <a:rPr lang="en-US" sz="996" b="1" i="0" spc="-52" baseline="0" dirty="0">
                  <a:solidFill>
                    <a:srgbClr val="FFFFFF"/>
                  </a:solidFill>
                  <a:latin typeface="EYInterstate-LightBold"/>
                </a:rPr>
                <a:t>L</a:t>
              </a:r>
              <a:r>
                <a:rPr lang="en-US" sz="996" b="1" i="0" spc="-47" baseline="0" dirty="0">
                  <a:solidFill>
                    <a:srgbClr val="FFFFFF"/>
                  </a:solidFill>
                  <a:latin typeface="EYInterstate-LightBold"/>
                </a:rPr>
                <a:t>e</a:t>
              </a: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d</a:t>
              </a:r>
              <a:r>
                <a:rPr lang="en-US" sz="996" b="1" i="0" spc="-47" baseline="0" dirty="0">
                  <a:solidFill>
                    <a:srgbClr val="FFFFFF"/>
                  </a:solidFill>
                  <a:latin typeface="EYInterstate-LightBold"/>
                </a:rPr>
                <a:t>e</a:t>
              </a:r>
              <a:r>
                <a:rPr lang="en-US" sz="996" b="1" i="0" spc="-44" baseline="0" dirty="0">
                  <a:solidFill>
                    <a:srgbClr val="FFFFFF"/>
                  </a:solidFill>
                  <a:latin typeface="EYInterstate-LightBold"/>
                </a:rPr>
                <a:t>r</a:t>
              </a:r>
              <a:r>
                <a:rPr lang="en-US" sz="996" b="1" i="0" spc="-52" baseline="0" dirty="0">
                  <a:solidFill>
                    <a:srgbClr val="FFFFFF"/>
                  </a:solidFill>
                  <a:latin typeface="EYInterstate-LightBold"/>
                </a:rPr>
                <a:t>s</a:t>
              </a:r>
              <a:r>
                <a:rPr lang="en-US" sz="996" b="1" i="0" spc="-51" baseline="0" dirty="0">
                  <a:solidFill>
                    <a:srgbClr val="FFFFFF"/>
                  </a:solidFill>
                  <a:latin typeface="EYInterstate-LightBold"/>
                </a:rPr>
                <a:t>h</a:t>
              </a:r>
              <a:r>
                <a:rPr lang="en-US" sz="996" b="1" i="0" spc="-47" baseline="0" dirty="0">
                  <a:solidFill>
                    <a:srgbClr val="FFFFFF"/>
                  </a:solidFill>
                  <a:latin typeface="EYInterstate-LightBold"/>
                </a:rPr>
                <a:t>i</a:t>
              </a:r>
              <a:r>
                <a:rPr lang="en-US" sz="996" b="1" i="0" spc="0" baseline="0" dirty="0">
                  <a:solidFill>
                    <a:srgbClr val="FFFFFF"/>
                  </a:solidFill>
                  <a:latin typeface="EYInterstate-LightBold"/>
                </a:rPr>
                <a:t>p</a:t>
              </a:r>
            </a:p>
            <a:p>
              <a:pPr marL="0" algn="ctr">
                <a:lnSpc>
                  <a:spcPts val="1200"/>
                </a:lnSpc>
              </a:pP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d</a:t>
              </a:r>
              <a:r>
                <a:rPr lang="en-US" sz="996" b="1" i="0" spc="-28" baseline="0" dirty="0">
                  <a:solidFill>
                    <a:srgbClr val="FFFFFF"/>
                  </a:solidFill>
                  <a:latin typeface="EYInterstate-LightBold"/>
                </a:rPr>
                <a:t> </a:t>
              </a:r>
              <a:r>
                <a:rPr lang="en-US" sz="996" b="1" i="0" spc="-53" baseline="0" dirty="0">
                  <a:solidFill>
                    <a:srgbClr val="FFFFFF"/>
                  </a:solidFill>
                  <a:latin typeface="EYInterstate-LightBold"/>
                </a:rPr>
                <a:t>t</a:t>
              </a:r>
              <a:r>
                <a:rPr lang="en-US" sz="996" b="1" i="0" spc="-47" baseline="0" dirty="0">
                  <a:solidFill>
                    <a:srgbClr val="FFFFFF"/>
                  </a:solidFill>
                  <a:latin typeface="EYInterstate-LightBold"/>
                </a:rPr>
                <a:t>e</a:t>
              </a:r>
              <a:r>
                <a:rPr lang="en-US" sz="996" b="1" i="0" spc="-43" baseline="0" dirty="0">
                  <a:solidFill>
                    <a:srgbClr val="FFFFFF"/>
                  </a:solidFill>
                  <a:latin typeface="EYInterstate-LightBold"/>
                </a:rPr>
                <a:t>a</a:t>
              </a:r>
              <a:r>
                <a:rPr lang="en-US" sz="996" b="1" i="0" spc="-53" baseline="0" dirty="0">
                  <a:solidFill>
                    <a:srgbClr val="FFFFFF"/>
                  </a:solidFill>
                  <a:latin typeface="EYInterstate-LightBold"/>
                </a:rPr>
                <a:t>m</a:t>
              </a:r>
              <a:r>
                <a:rPr lang="en-US" sz="996" b="1" i="0" spc="-47" baseline="0" dirty="0">
                  <a:solidFill>
                    <a:srgbClr val="FFFFFF"/>
                  </a:solidFill>
                  <a:latin typeface="EYInterstate-LightBold"/>
                </a:rPr>
                <a:t>i</a:t>
              </a:r>
              <a:r>
                <a:rPr lang="en-US" sz="996" b="1" i="0" spc="-51" baseline="0" dirty="0">
                  <a:solidFill>
                    <a:srgbClr val="FFFFFF"/>
                  </a:solidFill>
                  <a:latin typeface="EYInterstate-LightBold"/>
                </a:rPr>
                <a:t>n</a:t>
              </a:r>
              <a:r>
                <a:rPr lang="en-US" sz="996" b="1" i="0" spc="0" baseline="0" dirty="0">
                  <a:solidFill>
                    <a:srgbClr val="FFFFFF"/>
                  </a:solidFill>
                  <a:latin typeface="EYInterstate-LightBold"/>
                </a:rPr>
                <a:t>g</a:t>
              </a:r>
            </a:p>
          </p:txBody>
        </p:sp>
      </p:grpSp>
      <p:grpSp>
        <p:nvGrpSpPr>
          <p:cNvPr id="21" name="Group 20"/>
          <p:cNvGrpSpPr/>
          <p:nvPr/>
        </p:nvGrpSpPr>
        <p:grpSpPr>
          <a:xfrm>
            <a:off x="6571161" y="4112219"/>
            <a:ext cx="667512" cy="1006921"/>
            <a:chOff x="3438144" y="4603676"/>
            <a:chExt cx="667512" cy="1006921"/>
          </a:xfrm>
        </p:grpSpPr>
        <p:grpSp>
          <p:nvGrpSpPr>
            <p:cNvPr id="9" name="Group 8"/>
            <p:cNvGrpSpPr/>
            <p:nvPr/>
          </p:nvGrpSpPr>
          <p:grpSpPr>
            <a:xfrm>
              <a:off x="3438144" y="4603676"/>
              <a:ext cx="667512" cy="669036"/>
              <a:chOff x="3438144" y="4603676"/>
              <a:chExt cx="667512" cy="669036"/>
            </a:xfrm>
          </p:grpSpPr>
          <p:sp>
            <p:nvSpPr>
              <p:cNvPr id="79" name="Freeform 415"/>
              <p:cNvSpPr/>
              <p:nvPr/>
            </p:nvSpPr>
            <p:spPr>
              <a:xfrm>
                <a:off x="3438144" y="4603676"/>
                <a:ext cx="667512" cy="669036"/>
              </a:xfrm>
              <a:custGeom>
                <a:avLst/>
                <a:gdLst/>
                <a:ahLst/>
                <a:cxnLst/>
                <a:rect l="0" t="0" r="0" b="0"/>
                <a:pathLst>
                  <a:path w="667512" h="669036">
                    <a:moveTo>
                      <a:pt x="0" y="334518"/>
                    </a:moveTo>
                    <a:cubicBezTo>
                      <a:pt x="0" y="149772"/>
                      <a:pt x="149428" y="0"/>
                      <a:pt x="333756" y="0"/>
                    </a:cubicBezTo>
                    <a:cubicBezTo>
                      <a:pt x="518083" y="0"/>
                      <a:pt x="667512" y="149772"/>
                      <a:pt x="667512" y="334518"/>
                    </a:cubicBezTo>
                    <a:cubicBezTo>
                      <a:pt x="667512" y="519264"/>
                      <a:pt x="518083" y="669036"/>
                      <a:pt x="333756" y="669036"/>
                    </a:cubicBezTo>
                    <a:cubicBezTo>
                      <a:pt x="149428" y="669036"/>
                      <a:pt x="0" y="519264"/>
                      <a:pt x="0" y="334518"/>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80" name="Freeform 416"/>
              <p:cNvSpPr/>
              <p:nvPr/>
            </p:nvSpPr>
            <p:spPr>
              <a:xfrm>
                <a:off x="3666743" y="4763695"/>
                <a:ext cx="326136" cy="345948"/>
              </a:xfrm>
              <a:custGeom>
                <a:avLst/>
                <a:gdLst/>
                <a:ahLst/>
                <a:cxnLst/>
                <a:rect l="0" t="0" r="0" b="0"/>
                <a:pathLst>
                  <a:path w="326136" h="345948">
                    <a:moveTo>
                      <a:pt x="326136" y="157861"/>
                    </a:moveTo>
                    <a:cubicBezTo>
                      <a:pt x="326136" y="70536"/>
                      <a:pt x="231991" y="0"/>
                      <a:pt x="121044" y="0"/>
                    </a:cubicBezTo>
                    <a:cubicBezTo>
                      <a:pt x="73965" y="0"/>
                      <a:pt x="33617" y="13437"/>
                      <a:pt x="0" y="30226"/>
                    </a:cubicBezTo>
                    <a:lnTo>
                      <a:pt x="30265" y="30226"/>
                    </a:lnTo>
                    <a:cubicBezTo>
                      <a:pt x="134493" y="30226"/>
                      <a:pt x="218542" y="97409"/>
                      <a:pt x="218542" y="178015"/>
                    </a:cubicBezTo>
                    <a:cubicBezTo>
                      <a:pt x="218542" y="238467"/>
                      <a:pt x="174841" y="288848"/>
                      <a:pt x="110948" y="312356"/>
                    </a:cubicBezTo>
                    <a:lnTo>
                      <a:pt x="121044" y="312356"/>
                    </a:lnTo>
                    <a:cubicBezTo>
                      <a:pt x="154661" y="312356"/>
                      <a:pt x="191643" y="305650"/>
                      <a:pt x="218542" y="292214"/>
                    </a:cubicBezTo>
                    <a:lnTo>
                      <a:pt x="299238" y="345948"/>
                    </a:lnTo>
                    <a:lnTo>
                      <a:pt x="275705" y="258622"/>
                    </a:lnTo>
                    <a:cubicBezTo>
                      <a:pt x="305969" y="231749"/>
                      <a:pt x="326136" y="194805"/>
                      <a:pt x="326136" y="157861"/>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81" name="Freeform 417"/>
              <p:cNvSpPr/>
              <p:nvPr/>
            </p:nvSpPr>
            <p:spPr>
              <a:xfrm>
                <a:off x="3526534" y="4813989"/>
                <a:ext cx="338327" cy="284988"/>
              </a:xfrm>
              <a:custGeom>
                <a:avLst/>
                <a:gdLst/>
                <a:ahLst/>
                <a:cxnLst/>
                <a:rect l="0" t="0" r="0" b="0"/>
                <a:pathLst>
                  <a:path w="338327" h="284988">
                    <a:moveTo>
                      <a:pt x="170840" y="0"/>
                    </a:moveTo>
                    <a:cubicBezTo>
                      <a:pt x="77051" y="0"/>
                      <a:pt x="0" y="56997"/>
                      <a:pt x="0" y="127406"/>
                    </a:cubicBezTo>
                    <a:cubicBezTo>
                      <a:pt x="0" y="160934"/>
                      <a:pt x="16751" y="191109"/>
                      <a:pt x="43548" y="211226"/>
                    </a:cubicBezTo>
                    <a:lnTo>
                      <a:pt x="20104" y="284988"/>
                    </a:lnTo>
                    <a:lnTo>
                      <a:pt x="87097" y="241401"/>
                    </a:lnTo>
                    <a:cubicBezTo>
                      <a:pt x="110541" y="251459"/>
                      <a:pt x="140691" y="258165"/>
                      <a:pt x="170840" y="258165"/>
                    </a:cubicBezTo>
                    <a:cubicBezTo>
                      <a:pt x="264629" y="258165"/>
                      <a:pt x="338327" y="197815"/>
                      <a:pt x="338327" y="127406"/>
                    </a:cubicBezTo>
                    <a:cubicBezTo>
                      <a:pt x="338327" y="56997"/>
                      <a:pt x="264629" y="0"/>
                      <a:pt x="170840" y="0"/>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92" name="Rectangle 432"/>
            <p:cNvSpPr/>
            <p:nvPr/>
          </p:nvSpPr>
          <p:spPr>
            <a:xfrm>
              <a:off x="3468644" y="5303462"/>
              <a:ext cx="606512" cy="307135"/>
            </a:xfrm>
            <a:prstGeom prst="rect">
              <a:avLst/>
            </a:prstGeom>
          </p:spPr>
          <p:txBody>
            <a:bodyPr wrap="none" lIns="0" tIns="0" rIns="0" bIns="0">
              <a:spAutoFit/>
            </a:bodyPr>
            <a:lstStyle/>
            <a:p>
              <a:pPr algn="ctr"/>
              <a:r>
                <a:rPr lang="en-US" sz="996" b="1" i="0" spc="-50" baseline="0" dirty="0">
                  <a:solidFill>
                    <a:srgbClr val="FFFFFF"/>
                  </a:solidFill>
                  <a:latin typeface="EYInterstate-LightBold"/>
                </a:rPr>
                <a:t>P</a:t>
              </a:r>
              <a:r>
                <a:rPr lang="en-US" sz="996" b="1" i="0" spc="-51" baseline="0" dirty="0">
                  <a:solidFill>
                    <a:srgbClr val="FFFFFF"/>
                  </a:solidFill>
                  <a:latin typeface="EYInterstate-LightBold"/>
                </a:rPr>
                <a:t>u</a:t>
              </a:r>
              <a:r>
                <a:rPr lang="en-US" sz="996" b="1" i="0" spc="-44" baseline="0" dirty="0">
                  <a:solidFill>
                    <a:srgbClr val="FFFFFF"/>
                  </a:solidFill>
                  <a:latin typeface="EYInterstate-LightBold"/>
                </a:rPr>
                <a:t>r</a:t>
              </a:r>
              <a:r>
                <a:rPr lang="en-US" sz="996" b="1" i="0" spc="-51" baseline="0" dirty="0">
                  <a:solidFill>
                    <a:srgbClr val="FFFFFF"/>
                  </a:solidFill>
                  <a:latin typeface="EYInterstate-LightBold"/>
                </a:rPr>
                <a:t>po</a:t>
              </a:r>
              <a:r>
                <a:rPr lang="en-US" sz="996" b="1" i="0" spc="-52" baseline="0" dirty="0">
                  <a:solidFill>
                    <a:srgbClr val="FFFFFF"/>
                  </a:solidFill>
                  <a:latin typeface="EYInterstate-LightBold"/>
                </a:rPr>
                <a:t>s</a:t>
              </a:r>
              <a:r>
                <a:rPr lang="en-US" sz="996" b="1" i="0" spc="0" baseline="0" dirty="0">
                  <a:solidFill>
                    <a:srgbClr val="FFFFFF"/>
                  </a:solidFill>
                  <a:latin typeface="EYInterstate-LightBold"/>
                </a:rPr>
                <a:t>e</a:t>
              </a:r>
            </a:p>
            <a:p>
              <a:pPr algn="ctr">
                <a:lnSpc>
                  <a:spcPts val="1200"/>
                </a:lnSpc>
              </a:pP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d</a:t>
              </a:r>
              <a:r>
                <a:rPr lang="en-US" sz="996" b="1" i="0" spc="-28" baseline="0" dirty="0">
                  <a:solidFill>
                    <a:srgbClr val="FFFFFF"/>
                  </a:solidFill>
                  <a:latin typeface="EYInterstate-LightBold"/>
                </a:rPr>
                <a:t> </a:t>
              </a:r>
              <a:r>
                <a:rPr lang="en-US" sz="996" b="1" i="0" spc="-47" baseline="0" dirty="0">
                  <a:solidFill>
                    <a:srgbClr val="FFFFFF"/>
                  </a:solidFill>
                  <a:latin typeface="EYInterstate-LightBold"/>
                </a:rPr>
                <a:t>v</a:t>
              </a:r>
              <a:r>
                <a:rPr lang="en-US" sz="996" b="1" i="0" spc="-43" baseline="0" dirty="0">
                  <a:solidFill>
                    <a:srgbClr val="FFFFFF"/>
                  </a:solidFill>
                  <a:latin typeface="EYInterstate-LightBold"/>
                </a:rPr>
                <a:t>a</a:t>
              </a:r>
              <a:r>
                <a:rPr lang="en-US" sz="996" b="1" i="0" spc="-47" baseline="0" dirty="0">
                  <a:solidFill>
                    <a:srgbClr val="FFFFFF"/>
                  </a:solidFill>
                  <a:latin typeface="EYInterstate-LightBold"/>
                </a:rPr>
                <a:t>l</a:t>
              </a:r>
              <a:r>
                <a:rPr lang="en-US" sz="996" b="1" i="0" spc="-51" baseline="0" dirty="0">
                  <a:solidFill>
                    <a:srgbClr val="FFFFFF"/>
                  </a:solidFill>
                  <a:latin typeface="EYInterstate-LightBold"/>
                </a:rPr>
                <a:t>u</a:t>
              </a:r>
              <a:r>
                <a:rPr lang="en-US" sz="996" b="1" i="0" spc="-47" baseline="0" dirty="0">
                  <a:solidFill>
                    <a:srgbClr val="FFFFFF"/>
                  </a:solidFill>
                  <a:latin typeface="EYInterstate-LightBold"/>
                </a:rPr>
                <a:t>e</a:t>
              </a:r>
              <a:r>
                <a:rPr lang="en-US" sz="996" b="1" i="0" spc="0" baseline="0" dirty="0">
                  <a:solidFill>
                    <a:srgbClr val="FFFFFF"/>
                  </a:solidFill>
                  <a:latin typeface="EYInterstate-LightBold"/>
                </a:rPr>
                <a:t>s</a:t>
              </a:r>
            </a:p>
          </p:txBody>
        </p:sp>
      </p:grpSp>
      <p:grpSp>
        <p:nvGrpSpPr>
          <p:cNvPr id="27" name="Group 26"/>
          <p:cNvGrpSpPr/>
          <p:nvPr/>
        </p:nvGrpSpPr>
        <p:grpSpPr>
          <a:xfrm>
            <a:off x="3577729" y="5174667"/>
            <a:ext cx="718851" cy="1006920"/>
            <a:chOff x="8999307" y="4603677"/>
            <a:chExt cx="718851" cy="1006920"/>
          </a:xfrm>
        </p:grpSpPr>
        <p:grpSp>
          <p:nvGrpSpPr>
            <p:cNvPr id="15" name="Group 14"/>
            <p:cNvGrpSpPr/>
            <p:nvPr/>
          </p:nvGrpSpPr>
          <p:grpSpPr>
            <a:xfrm>
              <a:off x="9024214" y="4603677"/>
              <a:ext cx="669036" cy="667512"/>
              <a:chOff x="9019031" y="4603677"/>
              <a:chExt cx="669036" cy="667512"/>
            </a:xfrm>
          </p:grpSpPr>
          <p:sp>
            <p:nvSpPr>
              <p:cNvPr id="71" name="Freeform 407"/>
              <p:cNvSpPr/>
              <p:nvPr/>
            </p:nvSpPr>
            <p:spPr>
              <a:xfrm>
                <a:off x="9019031" y="4603677"/>
                <a:ext cx="669036" cy="667512"/>
              </a:xfrm>
              <a:custGeom>
                <a:avLst/>
                <a:gdLst/>
                <a:ahLst/>
                <a:cxnLst/>
                <a:rect l="0" t="0" r="0" b="0"/>
                <a:pathLst>
                  <a:path w="669036" h="667512">
                    <a:moveTo>
                      <a:pt x="0" y="333756"/>
                    </a:moveTo>
                    <a:cubicBezTo>
                      <a:pt x="0" y="149429"/>
                      <a:pt x="149771" y="0"/>
                      <a:pt x="334518" y="0"/>
                    </a:cubicBezTo>
                    <a:cubicBezTo>
                      <a:pt x="519264" y="0"/>
                      <a:pt x="669036" y="149429"/>
                      <a:pt x="669036" y="333756"/>
                    </a:cubicBezTo>
                    <a:cubicBezTo>
                      <a:pt x="669036" y="518083"/>
                      <a:pt x="519264" y="667512"/>
                      <a:pt x="334518" y="667512"/>
                    </a:cubicBezTo>
                    <a:cubicBezTo>
                      <a:pt x="149771" y="667512"/>
                      <a:pt x="0" y="518083"/>
                      <a:pt x="0" y="333756"/>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72" name="Freeform 408"/>
              <p:cNvSpPr/>
              <p:nvPr/>
            </p:nvSpPr>
            <p:spPr>
              <a:xfrm>
                <a:off x="9156189" y="4727120"/>
                <a:ext cx="377951" cy="403859"/>
              </a:xfrm>
              <a:custGeom>
                <a:avLst/>
                <a:gdLst/>
                <a:ahLst/>
                <a:cxnLst/>
                <a:rect l="0" t="0" r="0" b="0"/>
                <a:pathLst>
                  <a:path w="377951" h="403859">
                    <a:moveTo>
                      <a:pt x="349808" y="12115"/>
                    </a:moveTo>
                    <a:cubicBezTo>
                      <a:pt x="341769" y="4038"/>
                      <a:pt x="325679" y="0"/>
                      <a:pt x="313626" y="0"/>
                    </a:cubicBezTo>
                    <a:cubicBezTo>
                      <a:pt x="285470" y="0"/>
                      <a:pt x="277431" y="24230"/>
                      <a:pt x="273418" y="32308"/>
                    </a:cubicBezTo>
                    <a:lnTo>
                      <a:pt x="104546" y="32308"/>
                    </a:lnTo>
                    <a:cubicBezTo>
                      <a:pt x="100520" y="24230"/>
                      <a:pt x="92481" y="0"/>
                      <a:pt x="64338" y="0"/>
                    </a:cubicBezTo>
                    <a:cubicBezTo>
                      <a:pt x="52273" y="0"/>
                      <a:pt x="36195" y="4038"/>
                      <a:pt x="28143" y="12115"/>
                    </a:cubicBezTo>
                    <a:cubicBezTo>
                      <a:pt x="12065" y="32308"/>
                      <a:pt x="0" y="80771"/>
                      <a:pt x="36195" y="153466"/>
                    </a:cubicBezTo>
                    <a:cubicBezTo>
                      <a:pt x="48247" y="177697"/>
                      <a:pt x="60312" y="197890"/>
                      <a:pt x="76390" y="214044"/>
                    </a:cubicBezTo>
                    <a:cubicBezTo>
                      <a:pt x="92481" y="234237"/>
                      <a:pt x="108559" y="242315"/>
                      <a:pt x="112585" y="246353"/>
                    </a:cubicBezTo>
                    <a:cubicBezTo>
                      <a:pt x="108559" y="234237"/>
                      <a:pt x="108559" y="226160"/>
                      <a:pt x="104546" y="214044"/>
                    </a:cubicBezTo>
                    <a:cubicBezTo>
                      <a:pt x="96507" y="210006"/>
                      <a:pt x="88455" y="201929"/>
                      <a:pt x="80416" y="189813"/>
                    </a:cubicBezTo>
                    <a:cubicBezTo>
                      <a:pt x="56286" y="157504"/>
                      <a:pt x="28143" y="113079"/>
                      <a:pt x="32169" y="52501"/>
                    </a:cubicBezTo>
                    <a:cubicBezTo>
                      <a:pt x="32169" y="24230"/>
                      <a:pt x="56286" y="12115"/>
                      <a:pt x="72377" y="20192"/>
                    </a:cubicBezTo>
                    <a:lnTo>
                      <a:pt x="84442" y="32308"/>
                    </a:lnTo>
                    <a:lnTo>
                      <a:pt x="72377" y="32308"/>
                    </a:lnTo>
                    <a:lnTo>
                      <a:pt x="72377" y="48462"/>
                    </a:lnTo>
                    <a:lnTo>
                      <a:pt x="305574" y="48462"/>
                    </a:lnTo>
                    <a:lnTo>
                      <a:pt x="305574" y="32308"/>
                    </a:lnTo>
                    <a:lnTo>
                      <a:pt x="293522" y="32308"/>
                    </a:lnTo>
                    <a:lnTo>
                      <a:pt x="305574" y="20192"/>
                    </a:lnTo>
                    <a:cubicBezTo>
                      <a:pt x="321665" y="12115"/>
                      <a:pt x="345783" y="24230"/>
                      <a:pt x="345783" y="52501"/>
                    </a:cubicBezTo>
                    <a:cubicBezTo>
                      <a:pt x="349808" y="113079"/>
                      <a:pt x="321665" y="157504"/>
                      <a:pt x="297535" y="189813"/>
                    </a:cubicBezTo>
                    <a:cubicBezTo>
                      <a:pt x="289496" y="201929"/>
                      <a:pt x="281457" y="210006"/>
                      <a:pt x="273418" y="214044"/>
                    </a:cubicBezTo>
                    <a:cubicBezTo>
                      <a:pt x="269392" y="226160"/>
                      <a:pt x="265379" y="234237"/>
                      <a:pt x="265379" y="246353"/>
                    </a:cubicBezTo>
                    <a:cubicBezTo>
                      <a:pt x="269392" y="242315"/>
                      <a:pt x="285470" y="234237"/>
                      <a:pt x="305574" y="214044"/>
                    </a:cubicBezTo>
                    <a:cubicBezTo>
                      <a:pt x="317639" y="197890"/>
                      <a:pt x="333730" y="177697"/>
                      <a:pt x="341769" y="153466"/>
                    </a:cubicBezTo>
                    <a:cubicBezTo>
                      <a:pt x="377951" y="80771"/>
                      <a:pt x="365886" y="32308"/>
                      <a:pt x="349808" y="12115"/>
                    </a:cubicBezTo>
                    <a:moveTo>
                      <a:pt x="116598" y="306932"/>
                    </a:moveTo>
                    <a:lnTo>
                      <a:pt x="116598" y="327125"/>
                    </a:lnTo>
                    <a:lnTo>
                      <a:pt x="261353" y="327125"/>
                    </a:lnTo>
                    <a:lnTo>
                      <a:pt x="261353" y="306932"/>
                    </a:lnTo>
                    <a:lnTo>
                      <a:pt x="221145" y="306932"/>
                    </a:lnTo>
                    <a:lnTo>
                      <a:pt x="221145" y="286739"/>
                    </a:lnTo>
                    <a:cubicBezTo>
                      <a:pt x="285470" y="201929"/>
                      <a:pt x="277431" y="64616"/>
                      <a:pt x="277431" y="64616"/>
                    </a:cubicBezTo>
                    <a:lnTo>
                      <a:pt x="100520" y="64616"/>
                    </a:lnTo>
                    <a:cubicBezTo>
                      <a:pt x="92481" y="193852"/>
                      <a:pt x="148768" y="278662"/>
                      <a:pt x="152793" y="286739"/>
                    </a:cubicBezTo>
                    <a:lnTo>
                      <a:pt x="152793" y="306932"/>
                    </a:lnTo>
                    <a:close/>
                    <a:moveTo>
                      <a:pt x="72377" y="343280"/>
                    </a:moveTo>
                    <a:lnTo>
                      <a:pt x="44234" y="359434"/>
                    </a:lnTo>
                    <a:lnTo>
                      <a:pt x="44234" y="403859"/>
                    </a:lnTo>
                    <a:lnTo>
                      <a:pt x="337744" y="403859"/>
                    </a:lnTo>
                    <a:lnTo>
                      <a:pt x="337744" y="359434"/>
                    </a:lnTo>
                    <a:lnTo>
                      <a:pt x="301561" y="343280"/>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95" name="Rectangle 435"/>
            <p:cNvSpPr/>
            <p:nvPr/>
          </p:nvSpPr>
          <p:spPr>
            <a:xfrm>
              <a:off x="8999307" y="5303462"/>
              <a:ext cx="718851" cy="307135"/>
            </a:xfrm>
            <a:prstGeom prst="rect">
              <a:avLst/>
            </a:prstGeom>
          </p:spPr>
          <p:txBody>
            <a:bodyPr wrap="none" lIns="0" tIns="0" rIns="0" bIns="0">
              <a:spAutoFit/>
            </a:bodyPr>
            <a:lstStyle/>
            <a:p>
              <a:pPr marL="0" algn="ctr"/>
              <a:r>
                <a:rPr lang="en-US" sz="996" b="1" i="0" spc="-50" baseline="0" dirty="0">
                  <a:solidFill>
                    <a:srgbClr val="FFFFFF"/>
                  </a:solidFill>
                  <a:latin typeface="EYInterstate-LightBold"/>
                </a:rPr>
                <a:t>P</a:t>
              </a:r>
              <a:r>
                <a:rPr lang="en-US" sz="996" b="1" i="0" spc="-47" baseline="0" dirty="0">
                  <a:solidFill>
                    <a:srgbClr val="FFFFFF"/>
                  </a:solidFill>
                  <a:latin typeface="EYInterstate-LightBold"/>
                </a:rPr>
                <a:t>e</a:t>
              </a:r>
              <a:r>
                <a:rPr lang="en-US" sz="996" b="1" i="0" spc="-44" baseline="0" dirty="0">
                  <a:solidFill>
                    <a:srgbClr val="FFFFFF"/>
                  </a:solidFill>
                  <a:latin typeface="EYInterstate-LightBold"/>
                </a:rPr>
                <a:t>r</a:t>
              </a:r>
              <a:r>
                <a:rPr lang="en-US" sz="996" b="1" i="0" spc="-48" baseline="0" dirty="0">
                  <a:solidFill>
                    <a:srgbClr val="FFFFFF"/>
                  </a:solidFill>
                  <a:latin typeface="EYInterstate-LightBold"/>
                </a:rPr>
                <a:t>f</a:t>
              </a:r>
              <a:r>
                <a:rPr lang="en-US" sz="996" b="1" i="0" spc="-51" baseline="0" dirty="0">
                  <a:solidFill>
                    <a:srgbClr val="FFFFFF"/>
                  </a:solidFill>
                  <a:latin typeface="EYInterstate-LightBold"/>
                </a:rPr>
                <a:t>o</a:t>
              </a:r>
              <a:r>
                <a:rPr lang="en-US" sz="996" b="1" i="0" spc="-44" baseline="0" dirty="0">
                  <a:solidFill>
                    <a:srgbClr val="FFFFFF"/>
                  </a:solidFill>
                  <a:latin typeface="EYInterstate-LightBold"/>
                </a:rPr>
                <a:t>r</a:t>
              </a:r>
              <a:r>
                <a:rPr lang="en-US" sz="996" b="1" i="0" spc="-53" baseline="0" dirty="0">
                  <a:solidFill>
                    <a:srgbClr val="FFFFFF"/>
                  </a:solidFill>
                  <a:latin typeface="EYInterstate-LightBold"/>
                </a:rPr>
                <a:t>m</a:t>
              </a: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c</a:t>
              </a:r>
              <a:r>
                <a:rPr lang="en-US" sz="996" b="1" i="0" spc="0" baseline="0" dirty="0">
                  <a:solidFill>
                    <a:srgbClr val="FFFFFF"/>
                  </a:solidFill>
                  <a:latin typeface="EYInterstate-LightBold"/>
                </a:rPr>
                <a:t>e</a:t>
              </a:r>
            </a:p>
            <a:p>
              <a:pPr marL="18341" algn="ctr">
                <a:lnSpc>
                  <a:spcPts val="1200"/>
                </a:lnSpc>
              </a:pP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d</a:t>
              </a:r>
              <a:r>
                <a:rPr lang="en-US" sz="996" b="1" i="0" spc="-28" baseline="0" dirty="0">
                  <a:solidFill>
                    <a:srgbClr val="FFFFFF"/>
                  </a:solidFill>
                  <a:latin typeface="EYInterstate-LightBold"/>
                </a:rPr>
                <a:t> </a:t>
              </a:r>
              <a:r>
                <a:rPr lang="en-US" sz="996" b="1" i="0" spc="-44" baseline="0" dirty="0">
                  <a:solidFill>
                    <a:srgbClr val="FFFFFF"/>
                  </a:solidFill>
                  <a:latin typeface="EYInterstate-LightBold"/>
                </a:rPr>
                <a:t>r</a:t>
              </a:r>
              <a:r>
                <a:rPr lang="en-US" sz="996" b="1" i="0" spc="-47" baseline="0" dirty="0">
                  <a:solidFill>
                    <a:srgbClr val="FFFFFF"/>
                  </a:solidFill>
                  <a:latin typeface="EYInterstate-LightBold"/>
                </a:rPr>
                <a:t>e</a:t>
              </a:r>
              <a:r>
                <a:rPr lang="en-US" sz="996" b="1" i="0" spc="-42" baseline="0" dirty="0">
                  <a:solidFill>
                    <a:srgbClr val="FFFFFF"/>
                  </a:solidFill>
                  <a:latin typeface="EYInterstate-LightBold"/>
                </a:rPr>
                <a:t>w</a:t>
              </a:r>
              <a:r>
                <a:rPr lang="en-US" sz="996" b="1" i="0" spc="-43" baseline="0" dirty="0">
                  <a:solidFill>
                    <a:srgbClr val="FFFFFF"/>
                  </a:solidFill>
                  <a:latin typeface="EYInterstate-LightBold"/>
                </a:rPr>
                <a:t>a</a:t>
              </a:r>
              <a:r>
                <a:rPr lang="en-US" sz="996" b="1" i="0" spc="-44" baseline="0" dirty="0">
                  <a:solidFill>
                    <a:srgbClr val="FFFFFF"/>
                  </a:solidFill>
                  <a:latin typeface="EYInterstate-LightBold"/>
                </a:rPr>
                <a:t>r</a:t>
              </a:r>
              <a:r>
                <a:rPr lang="en-US" sz="996" b="1" i="0" spc="-51" baseline="0" dirty="0">
                  <a:solidFill>
                    <a:srgbClr val="FFFFFF"/>
                  </a:solidFill>
                  <a:latin typeface="EYInterstate-LightBold"/>
                </a:rPr>
                <a:t>d</a:t>
              </a:r>
              <a:r>
                <a:rPr lang="en-US" sz="996" b="1" i="0" spc="0" baseline="0" dirty="0">
                  <a:solidFill>
                    <a:srgbClr val="FFFFFF"/>
                  </a:solidFill>
                  <a:latin typeface="EYInterstate-LightBold"/>
                </a:rPr>
                <a:t>s</a:t>
              </a:r>
            </a:p>
          </p:txBody>
        </p:sp>
      </p:grpSp>
      <p:grpSp>
        <p:nvGrpSpPr>
          <p:cNvPr id="29" name="Group 28"/>
          <p:cNvGrpSpPr/>
          <p:nvPr/>
        </p:nvGrpSpPr>
        <p:grpSpPr>
          <a:xfrm>
            <a:off x="1877224" y="5183683"/>
            <a:ext cx="665987" cy="1006921"/>
            <a:chOff x="10882883" y="4603676"/>
            <a:chExt cx="665987" cy="1006921"/>
          </a:xfrm>
        </p:grpSpPr>
        <p:grpSp>
          <p:nvGrpSpPr>
            <p:cNvPr id="17" name="Group 16"/>
            <p:cNvGrpSpPr/>
            <p:nvPr/>
          </p:nvGrpSpPr>
          <p:grpSpPr>
            <a:xfrm>
              <a:off x="10882883" y="4603676"/>
              <a:ext cx="665987" cy="665986"/>
              <a:chOff x="10882883" y="4603676"/>
              <a:chExt cx="665987" cy="665986"/>
            </a:xfrm>
          </p:grpSpPr>
          <p:sp>
            <p:nvSpPr>
              <p:cNvPr id="59" name="Freeform 395"/>
              <p:cNvSpPr/>
              <p:nvPr/>
            </p:nvSpPr>
            <p:spPr>
              <a:xfrm>
                <a:off x="10882883" y="4603676"/>
                <a:ext cx="665987" cy="665986"/>
              </a:xfrm>
              <a:custGeom>
                <a:avLst/>
                <a:gdLst/>
                <a:ahLst/>
                <a:cxnLst/>
                <a:rect l="0" t="0" r="0" b="0"/>
                <a:pathLst>
                  <a:path w="665987" h="665986">
                    <a:moveTo>
                      <a:pt x="0" y="332993"/>
                    </a:moveTo>
                    <a:cubicBezTo>
                      <a:pt x="0" y="149085"/>
                      <a:pt x="149085" y="0"/>
                      <a:pt x="332993" y="0"/>
                    </a:cubicBezTo>
                    <a:cubicBezTo>
                      <a:pt x="516902" y="0"/>
                      <a:pt x="665987" y="149085"/>
                      <a:pt x="665987" y="332993"/>
                    </a:cubicBezTo>
                    <a:cubicBezTo>
                      <a:pt x="665987" y="516901"/>
                      <a:pt x="516902" y="665986"/>
                      <a:pt x="332993" y="665986"/>
                    </a:cubicBezTo>
                    <a:cubicBezTo>
                      <a:pt x="149085"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60" name="Freeform 396"/>
              <p:cNvSpPr/>
              <p:nvPr/>
            </p:nvSpPr>
            <p:spPr>
              <a:xfrm>
                <a:off x="11349227" y="4783503"/>
                <a:ext cx="82295" cy="85343"/>
              </a:xfrm>
              <a:custGeom>
                <a:avLst/>
                <a:gdLst/>
                <a:ahLst/>
                <a:cxnLst/>
                <a:rect l="0" t="0" r="0" b="0"/>
                <a:pathLst>
                  <a:path w="82295" h="85343">
                    <a:moveTo>
                      <a:pt x="58293" y="23901"/>
                    </a:moveTo>
                    <a:cubicBezTo>
                      <a:pt x="68580" y="37553"/>
                      <a:pt x="68580" y="61454"/>
                      <a:pt x="54864" y="71691"/>
                    </a:cubicBezTo>
                    <a:cubicBezTo>
                      <a:pt x="34291" y="85343"/>
                      <a:pt x="17145" y="64871"/>
                      <a:pt x="17145" y="47802"/>
                    </a:cubicBezTo>
                    <a:cubicBezTo>
                      <a:pt x="34291" y="51206"/>
                      <a:pt x="51435" y="40969"/>
                      <a:pt x="58293" y="23901"/>
                    </a:cubicBezTo>
                    <a:moveTo>
                      <a:pt x="0" y="68274"/>
                    </a:moveTo>
                    <a:cubicBezTo>
                      <a:pt x="0" y="75107"/>
                      <a:pt x="6858" y="78523"/>
                      <a:pt x="13717" y="81940"/>
                    </a:cubicBezTo>
                    <a:cubicBezTo>
                      <a:pt x="17145" y="81940"/>
                      <a:pt x="20574" y="78523"/>
                      <a:pt x="24003" y="78523"/>
                    </a:cubicBezTo>
                    <a:cubicBezTo>
                      <a:pt x="27432" y="78523"/>
                      <a:pt x="27432" y="78523"/>
                      <a:pt x="34291" y="81940"/>
                    </a:cubicBezTo>
                    <a:cubicBezTo>
                      <a:pt x="37719" y="81940"/>
                      <a:pt x="44577" y="81940"/>
                      <a:pt x="51435" y="78523"/>
                    </a:cubicBezTo>
                    <a:lnTo>
                      <a:pt x="58293" y="78523"/>
                    </a:lnTo>
                    <a:cubicBezTo>
                      <a:pt x="61722" y="81940"/>
                      <a:pt x="65151" y="81940"/>
                      <a:pt x="68580" y="78523"/>
                    </a:cubicBezTo>
                    <a:cubicBezTo>
                      <a:pt x="75438" y="78523"/>
                      <a:pt x="82295" y="75107"/>
                      <a:pt x="82295" y="68274"/>
                    </a:cubicBezTo>
                    <a:cubicBezTo>
                      <a:pt x="78867" y="68274"/>
                      <a:pt x="75438" y="64871"/>
                      <a:pt x="72009" y="64871"/>
                    </a:cubicBezTo>
                    <a:cubicBezTo>
                      <a:pt x="72009" y="64871"/>
                      <a:pt x="68580" y="64871"/>
                      <a:pt x="68580" y="61454"/>
                    </a:cubicBezTo>
                    <a:cubicBezTo>
                      <a:pt x="68580" y="58038"/>
                      <a:pt x="68580" y="61454"/>
                      <a:pt x="72009" y="58038"/>
                    </a:cubicBezTo>
                    <a:cubicBezTo>
                      <a:pt x="78867" y="54622"/>
                      <a:pt x="75438" y="44386"/>
                      <a:pt x="75438" y="37553"/>
                    </a:cubicBezTo>
                    <a:cubicBezTo>
                      <a:pt x="72009" y="23901"/>
                      <a:pt x="65151" y="10249"/>
                      <a:pt x="48006" y="3416"/>
                    </a:cubicBezTo>
                    <a:cubicBezTo>
                      <a:pt x="34291" y="0"/>
                      <a:pt x="17145" y="6833"/>
                      <a:pt x="10288" y="20485"/>
                    </a:cubicBezTo>
                    <a:cubicBezTo>
                      <a:pt x="6858" y="27317"/>
                      <a:pt x="6858" y="34137"/>
                      <a:pt x="6858" y="44386"/>
                    </a:cubicBezTo>
                    <a:lnTo>
                      <a:pt x="6858" y="54622"/>
                    </a:lnTo>
                    <a:cubicBezTo>
                      <a:pt x="6858" y="58038"/>
                      <a:pt x="13717" y="61454"/>
                      <a:pt x="13717" y="61454"/>
                    </a:cubicBezTo>
                    <a:cubicBezTo>
                      <a:pt x="13717" y="64871"/>
                      <a:pt x="0" y="68274"/>
                      <a:pt x="0" y="68274"/>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61" name="Freeform 397"/>
              <p:cNvSpPr/>
              <p:nvPr/>
            </p:nvSpPr>
            <p:spPr>
              <a:xfrm>
                <a:off x="10968222" y="4855136"/>
                <a:ext cx="492251" cy="219455"/>
              </a:xfrm>
              <a:custGeom>
                <a:avLst/>
                <a:gdLst/>
                <a:ahLst/>
                <a:cxnLst/>
                <a:rect l="0" t="0" r="0" b="0"/>
                <a:pathLst>
                  <a:path w="492251" h="219455">
                    <a:moveTo>
                      <a:pt x="482003" y="48005"/>
                    </a:moveTo>
                    <a:lnTo>
                      <a:pt x="482003" y="164591"/>
                    </a:lnTo>
                    <a:lnTo>
                      <a:pt x="461493" y="164591"/>
                    </a:lnTo>
                    <a:lnTo>
                      <a:pt x="458077" y="144016"/>
                    </a:lnTo>
                    <a:lnTo>
                      <a:pt x="458077" y="85724"/>
                    </a:lnTo>
                    <a:lnTo>
                      <a:pt x="464909" y="54863"/>
                    </a:lnTo>
                    <a:lnTo>
                      <a:pt x="461493" y="51434"/>
                    </a:lnTo>
                    <a:lnTo>
                      <a:pt x="451231" y="85724"/>
                    </a:lnTo>
                    <a:lnTo>
                      <a:pt x="451231" y="144016"/>
                    </a:lnTo>
                    <a:lnTo>
                      <a:pt x="393129" y="144016"/>
                    </a:lnTo>
                    <a:lnTo>
                      <a:pt x="393129" y="85724"/>
                    </a:lnTo>
                    <a:lnTo>
                      <a:pt x="386284" y="51434"/>
                    </a:lnTo>
                    <a:lnTo>
                      <a:pt x="379451" y="54863"/>
                    </a:lnTo>
                    <a:lnTo>
                      <a:pt x="386284" y="85724"/>
                    </a:lnTo>
                    <a:lnTo>
                      <a:pt x="386284" y="144016"/>
                    </a:lnTo>
                    <a:lnTo>
                      <a:pt x="382867" y="164591"/>
                    </a:lnTo>
                    <a:lnTo>
                      <a:pt x="362357" y="164591"/>
                    </a:lnTo>
                    <a:lnTo>
                      <a:pt x="362357" y="85724"/>
                    </a:lnTo>
                    <a:lnTo>
                      <a:pt x="365773" y="65150"/>
                    </a:lnTo>
                    <a:cubicBezTo>
                      <a:pt x="365773" y="61721"/>
                      <a:pt x="365773" y="58292"/>
                      <a:pt x="362357" y="54863"/>
                    </a:cubicBezTo>
                    <a:lnTo>
                      <a:pt x="362357" y="48005"/>
                    </a:lnTo>
                    <a:cubicBezTo>
                      <a:pt x="362357" y="41147"/>
                      <a:pt x="365773" y="34289"/>
                      <a:pt x="382867" y="27431"/>
                    </a:cubicBezTo>
                    <a:lnTo>
                      <a:pt x="399961" y="27431"/>
                    </a:lnTo>
                    <a:lnTo>
                      <a:pt x="420472" y="72007"/>
                    </a:lnTo>
                    <a:lnTo>
                      <a:pt x="444399" y="27431"/>
                    </a:lnTo>
                    <a:cubicBezTo>
                      <a:pt x="444399" y="27431"/>
                      <a:pt x="458077" y="27431"/>
                      <a:pt x="461493" y="30860"/>
                    </a:cubicBezTo>
                    <a:cubicBezTo>
                      <a:pt x="482003" y="30860"/>
                      <a:pt x="482003" y="44576"/>
                      <a:pt x="482003" y="48005"/>
                    </a:cubicBezTo>
                    <a:moveTo>
                      <a:pt x="482003" y="171449"/>
                    </a:moveTo>
                    <a:lnTo>
                      <a:pt x="471755" y="202309"/>
                    </a:lnTo>
                    <a:lnTo>
                      <a:pt x="464909" y="171449"/>
                    </a:lnTo>
                    <a:close/>
                    <a:moveTo>
                      <a:pt x="372618" y="198881"/>
                    </a:moveTo>
                    <a:lnTo>
                      <a:pt x="362357" y="171449"/>
                    </a:lnTo>
                    <a:lnTo>
                      <a:pt x="379451" y="171449"/>
                    </a:lnTo>
                    <a:close/>
                    <a:moveTo>
                      <a:pt x="147003" y="188593"/>
                    </a:moveTo>
                    <a:lnTo>
                      <a:pt x="147003" y="133730"/>
                    </a:lnTo>
                    <a:lnTo>
                      <a:pt x="153835" y="188593"/>
                    </a:lnTo>
                    <a:close/>
                    <a:moveTo>
                      <a:pt x="492251" y="48005"/>
                    </a:moveTo>
                    <a:cubicBezTo>
                      <a:pt x="492251" y="41147"/>
                      <a:pt x="488835" y="24003"/>
                      <a:pt x="464909" y="17144"/>
                    </a:cubicBezTo>
                    <a:cubicBezTo>
                      <a:pt x="451231" y="17144"/>
                      <a:pt x="440982" y="13715"/>
                      <a:pt x="440982" y="13715"/>
                    </a:cubicBezTo>
                    <a:lnTo>
                      <a:pt x="420472" y="58292"/>
                    </a:lnTo>
                    <a:lnTo>
                      <a:pt x="399961" y="13715"/>
                    </a:lnTo>
                    <a:cubicBezTo>
                      <a:pt x="399961" y="13715"/>
                      <a:pt x="386284" y="17144"/>
                      <a:pt x="379451" y="17144"/>
                    </a:cubicBezTo>
                    <a:cubicBezTo>
                      <a:pt x="358941" y="20573"/>
                      <a:pt x="355524" y="37718"/>
                      <a:pt x="352108" y="44576"/>
                    </a:cubicBezTo>
                    <a:cubicBezTo>
                      <a:pt x="348692" y="41147"/>
                      <a:pt x="345263" y="41147"/>
                      <a:pt x="338430" y="37718"/>
                    </a:cubicBezTo>
                    <a:lnTo>
                      <a:pt x="287147" y="20573"/>
                    </a:lnTo>
                    <a:lnTo>
                      <a:pt x="266637" y="123443"/>
                    </a:lnTo>
                    <a:lnTo>
                      <a:pt x="259804" y="41147"/>
                    </a:lnTo>
                    <a:cubicBezTo>
                      <a:pt x="263221" y="41147"/>
                      <a:pt x="263221" y="37718"/>
                      <a:pt x="266637" y="37718"/>
                    </a:cubicBezTo>
                    <a:lnTo>
                      <a:pt x="252972" y="24003"/>
                    </a:lnTo>
                    <a:lnTo>
                      <a:pt x="239294" y="37718"/>
                    </a:lnTo>
                    <a:cubicBezTo>
                      <a:pt x="242710" y="37718"/>
                      <a:pt x="242710" y="41147"/>
                      <a:pt x="246126" y="41147"/>
                    </a:cubicBezTo>
                    <a:lnTo>
                      <a:pt x="239294" y="123443"/>
                    </a:lnTo>
                    <a:lnTo>
                      <a:pt x="222200" y="24003"/>
                    </a:lnTo>
                    <a:lnTo>
                      <a:pt x="222200" y="20573"/>
                    </a:lnTo>
                    <a:lnTo>
                      <a:pt x="184595" y="34289"/>
                    </a:lnTo>
                    <a:cubicBezTo>
                      <a:pt x="181179" y="30860"/>
                      <a:pt x="177762" y="20573"/>
                      <a:pt x="160668" y="13715"/>
                    </a:cubicBezTo>
                    <a:lnTo>
                      <a:pt x="157252" y="13715"/>
                    </a:lnTo>
                    <a:lnTo>
                      <a:pt x="116231" y="0"/>
                    </a:lnTo>
                    <a:lnTo>
                      <a:pt x="112815" y="10286"/>
                    </a:lnTo>
                    <a:lnTo>
                      <a:pt x="153835" y="24003"/>
                    </a:lnTo>
                    <a:cubicBezTo>
                      <a:pt x="153835" y="24003"/>
                      <a:pt x="170930" y="27431"/>
                      <a:pt x="170930" y="37718"/>
                    </a:cubicBezTo>
                    <a:lnTo>
                      <a:pt x="167513" y="41147"/>
                    </a:lnTo>
                    <a:cubicBezTo>
                      <a:pt x="153835" y="44576"/>
                      <a:pt x="140158" y="51434"/>
                      <a:pt x="140158" y="65150"/>
                    </a:cubicBezTo>
                    <a:lnTo>
                      <a:pt x="143574" y="89153"/>
                    </a:lnTo>
                    <a:lnTo>
                      <a:pt x="140158" y="174877"/>
                    </a:lnTo>
                    <a:lnTo>
                      <a:pt x="44450" y="174877"/>
                    </a:lnTo>
                    <a:lnTo>
                      <a:pt x="41021" y="54863"/>
                    </a:lnTo>
                    <a:lnTo>
                      <a:pt x="34189" y="54863"/>
                    </a:lnTo>
                    <a:lnTo>
                      <a:pt x="37605" y="188593"/>
                    </a:lnTo>
                    <a:lnTo>
                      <a:pt x="20511" y="188593"/>
                    </a:lnTo>
                    <a:lnTo>
                      <a:pt x="13678" y="188593"/>
                    </a:lnTo>
                    <a:cubicBezTo>
                      <a:pt x="13678" y="188593"/>
                      <a:pt x="13678" y="51434"/>
                      <a:pt x="10262" y="37718"/>
                    </a:cubicBezTo>
                    <a:cubicBezTo>
                      <a:pt x="10262" y="27431"/>
                      <a:pt x="30773" y="24003"/>
                      <a:pt x="30773" y="24003"/>
                    </a:cubicBezTo>
                    <a:lnTo>
                      <a:pt x="71794" y="10286"/>
                    </a:lnTo>
                    <a:lnTo>
                      <a:pt x="68377" y="0"/>
                    </a:lnTo>
                    <a:lnTo>
                      <a:pt x="27356" y="13715"/>
                    </a:lnTo>
                    <a:lnTo>
                      <a:pt x="23940" y="13715"/>
                    </a:lnTo>
                    <a:cubicBezTo>
                      <a:pt x="23940" y="13715"/>
                      <a:pt x="0" y="20573"/>
                      <a:pt x="0" y="37718"/>
                    </a:cubicBezTo>
                    <a:cubicBezTo>
                      <a:pt x="0" y="58292"/>
                      <a:pt x="3429" y="198881"/>
                      <a:pt x="3429" y="198881"/>
                    </a:cubicBezTo>
                    <a:lnTo>
                      <a:pt x="13678" y="198881"/>
                    </a:lnTo>
                    <a:lnTo>
                      <a:pt x="23940" y="219455"/>
                    </a:lnTo>
                    <a:lnTo>
                      <a:pt x="37605" y="219455"/>
                    </a:lnTo>
                    <a:lnTo>
                      <a:pt x="23940" y="195451"/>
                    </a:lnTo>
                    <a:lnTo>
                      <a:pt x="37605" y="195451"/>
                    </a:lnTo>
                    <a:lnTo>
                      <a:pt x="41021" y="219455"/>
                    </a:lnTo>
                    <a:lnTo>
                      <a:pt x="88888" y="219455"/>
                    </a:lnTo>
                    <a:lnTo>
                      <a:pt x="88888" y="198881"/>
                    </a:lnTo>
                    <a:lnTo>
                      <a:pt x="95720" y="198881"/>
                    </a:lnTo>
                    <a:lnTo>
                      <a:pt x="95720" y="219455"/>
                    </a:lnTo>
                    <a:lnTo>
                      <a:pt x="143574" y="219455"/>
                    </a:lnTo>
                    <a:lnTo>
                      <a:pt x="147003" y="195451"/>
                    </a:lnTo>
                    <a:lnTo>
                      <a:pt x="153835" y="195451"/>
                    </a:lnTo>
                    <a:lnTo>
                      <a:pt x="153835" y="205739"/>
                    </a:lnTo>
                    <a:lnTo>
                      <a:pt x="147003" y="219455"/>
                    </a:lnTo>
                    <a:lnTo>
                      <a:pt x="160668" y="219455"/>
                    </a:lnTo>
                    <a:lnTo>
                      <a:pt x="164084" y="209167"/>
                    </a:lnTo>
                    <a:lnTo>
                      <a:pt x="242710" y="198881"/>
                    </a:lnTo>
                    <a:lnTo>
                      <a:pt x="218783" y="192023"/>
                    </a:lnTo>
                    <a:lnTo>
                      <a:pt x="218783" y="171449"/>
                    </a:lnTo>
                    <a:cubicBezTo>
                      <a:pt x="218783" y="171449"/>
                      <a:pt x="205118" y="164591"/>
                      <a:pt x="194856" y="161161"/>
                    </a:cubicBezTo>
                    <a:cubicBezTo>
                      <a:pt x="188024" y="161161"/>
                      <a:pt x="188024" y="147445"/>
                      <a:pt x="188024" y="144016"/>
                    </a:cubicBezTo>
                    <a:lnTo>
                      <a:pt x="184595" y="92581"/>
                    </a:lnTo>
                    <a:lnTo>
                      <a:pt x="191440" y="89153"/>
                    </a:lnTo>
                    <a:lnTo>
                      <a:pt x="194856" y="133730"/>
                    </a:lnTo>
                    <a:cubicBezTo>
                      <a:pt x="208534" y="126872"/>
                      <a:pt x="222200" y="137158"/>
                      <a:pt x="222200" y="137158"/>
                    </a:cubicBezTo>
                    <a:lnTo>
                      <a:pt x="283731" y="150875"/>
                    </a:lnTo>
                    <a:lnTo>
                      <a:pt x="283731" y="147445"/>
                    </a:lnTo>
                    <a:cubicBezTo>
                      <a:pt x="283731" y="147445"/>
                      <a:pt x="287147" y="137158"/>
                      <a:pt x="297409" y="137158"/>
                    </a:cubicBezTo>
                    <a:lnTo>
                      <a:pt x="314503" y="137158"/>
                    </a:lnTo>
                    <a:lnTo>
                      <a:pt x="321336" y="85724"/>
                    </a:lnTo>
                    <a:lnTo>
                      <a:pt x="324752" y="85724"/>
                    </a:lnTo>
                    <a:lnTo>
                      <a:pt x="324752" y="89153"/>
                    </a:lnTo>
                    <a:lnTo>
                      <a:pt x="317919" y="161161"/>
                    </a:lnTo>
                    <a:lnTo>
                      <a:pt x="229045" y="144016"/>
                    </a:lnTo>
                    <a:lnTo>
                      <a:pt x="225629" y="185165"/>
                    </a:lnTo>
                    <a:lnTo>
                      <a:pt x="331597" y="212597"/>
                    </a:lnTo>
                    <a:lnTo>
                      <a:pt x="352108" y="216025"/>
                    </a:lnTo>
                    <a:lnTo>
                      <a:pt x="355524" y="178307"/>
                    </a:lnTo>
                    <a:lnTo>
                      <a:pt x="365773" y="216025"/>
                    </a:lnTo>
                    <a:lnTo>
                      <a:pt x="365773" y="219455"/>
                    </a:lnTo>
                    <a:lnTo>
                      <a:pt x="478587" y="219455"/>
                    </a:lnTo>
                    <a:lnTo>
                      <a:pt x="478587" y="212597"/>
                    </a:lnTo>
                    <a:lnTo>
                      <a:pt x="492251" y="171449"/>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63" name="Freeform 399"/>
              <p:cNvSpPr/>
              <p:nvPr/>
            </p:nvSpPr>
            <p:spPr>
              <a:xfrm>
                <a:off x="11027664" y="4774363"/>
                <a:ext cx="68580" cy="77723"/>
              </a:xfrm>
              <a:custGeom>
                <a:avLst/>
                <a:gdLst/>
                <a:ahLst/>
                <a:cxnLst/>
                <a:rect l="0" t="0" r="0" b="0"/>
                <a:pathLst>
                  <a:path w="68580" h="77723">
                    <a:moveTo>
                      <a:pt x="10287" y="37172"/>
                    </a:moveTo>
                    <a:lnTo>
                      <a:pt x="10287" y="27038"/>
                    </a:lnTo>
                    <a:cubicBezTo>
                      <a:pt x="13716" y="23660"/>
                      <a:pt x="17145" y="20281"/>
                      <a:pt x="20574" y="20281"/>
                    </a:cubicBezTo>
                    <a:cubicBezTo>
                      <a:pt x="24003" y="23660"/>
                      <a:pt x="27432" y="27038"/>
                      <a:pt x="34289" y="27038"/>
                    </a:cubicBezTo>
                    <a:cubicBezTo>
                      <a:pt x="41148" y="27038"/>
                      <a:pt x="44577" y="23660"/>
                      <a:pt x="48006" y="20281"/>
                    </a:cubicBezTo>
                    <a:cubicBezTo>
                      <a:pt x="51435" y="20281"/>
                      <a:pt x="54863" y="23660"/>
                      <a:pt x="58292" y="27038"/>
                    </a:cubicBezTo>
                    <a:lnTo>
                      <a:pt x="58292" y="37172"/>
                    </a:lnTo>
                    <a:lnTo>
                      <a:pt x="58292" y="43928"/>
                    </a:lnTo>
                    <a:cubicBezTo>
                      <a:pt x="58292" y="60832"/>
                      <a:pt x="48006" y="74344"/>
                      <a:pt x="34289" y="74344"/>
                    </a:cubicBezTo>
                    <a:cubicBezTo>
                      <a:pt x="20574" y="74344"/>
                      <a:pt x="10287" y="60832"/>
                      <a:pt x="10287" y="43928"/>
                    </a:cubicBezTo>
                    <a:close/>
                    <a:moveTo>
                      <a:pt x="3429" y="47306"/>
                    </a:moveTo>
                    <a:cubicBezTo>
                      <a:pt x="3429" y="64210"/>
                      <a:pt x="17145" y="77723"/>
                      <a:pt x="34289" y="77723"/>
                    </a:cubicBezTo>
                    <a:cubicBezTo>
                      <a:pt x="51435" y="77723"/>
                      <a:pt x="65151" y="64210"/>
                      <a:pt x="65151" y="47306"/>
                    </a:cubicBezTo>
                    <a:lnTo>
                      <a:pt x="65151" y="37172"/>
                    </a:lnTo>
                    <a:cubicBezTo>
                      <a:pt x="65151" y="27038"/>
                      <a:pt x="68580" y="13512"/>
                      <a:pt x="61722" y="10134"/>
                    </a:cubicBezTo>
                    <a:cubicBezTo>
                      <a:pt x="58292" y="6756"/>
                      <a:pt x="51435" y="3378"/>
                      <a:pt x="48006" y="6756"/>
                    </a:cubicBezTo>
                    <a:cubicBezTo>
                      <a:pt x="44577" y="3378"/>
                      <a:pt x="37719" y="0"/>
                      <a:pt x="34289" y="0"/>
                    </a:cubicBezTo>
                    <a:cubicBezTo>
                      <a:pt x="24003" y="0"/>
                      <a:pt x="10287" y="6756"/>
                      <a:pt x="3429" y="13512"/>
                    </a:cubicBezTo>
                    <a:cubicBezTo>
                      <a:pt x="0" y="20281"/>
                      <a:pt x="3429" y="30416"/>
                      <a:pt x="3429" y="37172"/>
                    </a:cubicBezTo>
                    <a:lnTo>
                      <a:pt x="3429" y="47306"/>
                    </a:ln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64" name="Freeform 400"/>
              <p:cNvSpPr/>
              <p:nvPr/>
            </p:nvSpPr>
            <p:spPr>
              <a:xfrm>
                <a:off x="11047476" y="4865805"/>
                <a:ext cx="28954" cy="147828"/>
              </a:xfrm>
              <a:custGeom>
                <a:avLst/>
                <a:gdLst/>
                <a:ahLst/>
                <a:cxnLst/>
                <a:rect l="0" t="0" r="0" b="0"/>
                <a:pathLst>
                  <a:path w="28954" h="147828">
                    <a:moveTo>
                      <a:pt x="14477" y="147828"/>
                    </a:moveTo>
                    <a:lnTo>
                      <a:pt x="28954" y="133935"/>
                    </a:lnTo>
                    <a:lnTo>
                      <a:pt x="17105" y="17692"/>
                    </a:lnTo>
                    <a:lnTo>
                      <a:pt x="25005" y="10110"/>
                    </a:lnTo>
                    <a:lnTo>
                      <a:pt x="14477" y="0"/>
                    </a:lnTo>
                    <a:lnTo>
                      <a:pt x="3949" y="10110"/>
                    </a:lnTo>
                    <a:lnTo>
                      <a:pt x="6578" y="17692"/>
                    </a:lnTo>
                    <a:lnTo>
                      <a:pt x="0" y="133935"/>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65" name="Freeform 401"/>
              <p:cNvSpPr/>
              <p:nvPr/>
            </p:nvSpPr>
            <p:spPr>
              <a:xfrm>
                <a:off x="11181587" y="4769792"/>
                <a:ext cx="82296" cy="102107"/>
              </a:xfrm>
              <a:custGeom>
                <a:avLst/>
                <a:gdLst/>
                <a:ahLst/>
                <a:cxnLst/>
                <a:rect l="0" t="0" r="0" b="0"/>
                <a:pathLst>
                  <a:path w="82296" h="102107">
                    <a:moveTo>
                      <a:pt x="6858" y="44246"/>
                    </a:moveTo>
                    <a:cubicBezTo>
                      <a:pt x="6858" y="40843"/>
                      <a:pt x="6858" y="37439"/>
                      <a:pt x="10287" y="34036"/>
                    </a:cubicBezTo>
                    <a:cubicBezTo>
                      <a:pt x="10287" y="27228"/>
                      <a:pt x="13716" y="23825"/>
                      <a:pt x="20574" y="23825"/>
                    </a:cubicBezTo>
                    <a:cubicBezTo>
                      <a:pt x="24003" y="27228"/>
                      <a:pt x="30860" y="30632"/>
                      <a:pt x="37719" y="30632"/>
                    </a:cubicBezTo>
                    <a:cubicBezTo>
                      <a:pt x="48006" y="30632"/>
                      <a:pt x="54863" y="27228"/>
                      <a:pt x="58293" y="20421"/>
                    </a:cubicBezTo>
                    <a:cubicBezTo>
                      <a:pt x="61722" y="23825"/>
                      <a:pt x="68580" y="27228"/>
                      <a:pt x="72009" y="30632"/>
                    </a:cubicBezTo>
                    <a:lnTo>
                      <a:pt x="72009" y="44246"/>
                    </a:lnTo>
                    <a:lnTo>
                      <a:pt x="72009" y="54456"/>
                    </a:lnTo>
                    <a:cubicBezTo>
                      <a:pt x="72009" y="74878"/>
                      <a:pt x="58293" y="91896"/>
                      <a:pt x="41148" y="91896"/>
                    </a:cubicBezTo>
                    <a:cubicBezTo>
                      <a:pt x="20574" y="91896"/>
                      <a:pt x="6858" y="74878"/>
                      <a:pt x="6858" y="54456"/>
                    </a:cubicBezTo>
                    <a:close/>
                    <a:moveTo>
                      <a:pt x="41148" y="102107"/>
                    </a:moveTo>
                    <a:cubicBezTo>
                      <a:pt x="61722" y="102107"/>
                      <a:pt x="78867" y="81685"/>
                      <a:pt x="82296" y="57860"/>
                    </a:cubicBezTo>
                    <a:lnTo>
                      <a:pt x="82296" y="44246"/>
                    </a:lnTo>
                    <a:cubicBezTo>
                      <a:pt x="82296" y="20421"/>
                      <a:pt x="61722" y="0"/>
                      <a:pt x="41148" y="0"/>
                    </a:cubicBezTo>
                    <a:cubicBezTo>
                      <a:pt x="17145" y="0"/>
                      <a:pt x="0" y="20421"/>
                      <a:pt x="0" y="44246"/>
                    </a:cubicBezTo>
                    <a:lnTo>
                      <a:pt x="0" y="57860"/>
                    </a:lnTo>
                    <a:cubicBezTo>
                      <a:pt x="0" y="81685"/>
                      <a:pt x="17145" y="102107"/>
                      <a:pt x="41148" y="102107"/>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96" name="Rectangle 436"/>
            <p:cNvSpPr/>
            <p:nvPr/>
          </p:nvSpPr>
          <p:spPr>
            <a:xfrm>
              <a:off x="10938717" y="5303462"/>
              <a:ext cx="554319" cy="307135"/>
            </a:xfrm>
            <a:prstGeom prst="rect">
              <a:avLst/>
            </a:prstGeom>
          </p:spPr>
          <p:txBody>
            <a:bodyPr wrap="none" lIns="0" tIns="0" rIns="0" bIns="0">
              <a:spAutoFit/>
            </a:bodyPr>
            <a:lstStyle/>
            <a:p>
              <a:pPr algn="ctr"/>
              <a:r>
                <a:rPr lang="en-US" sz="996" b="1" i="0" spc="-52" baseline="0" dirty="0">
                  <a:solidFill>
                    <a:srgbClr val="FFFFFF"/>
                  </a:solidFill>
                  <a:latin typeface="EYInterstate-LightBold"/>
                </a:rPr>
                <a:t>T</a:t>
              </a:r>
              <a:r>
                <a:rPr lang="en-US" sz="996" b="1" i="0" spc="-43" baseline="0" dirty="0">
                  <a:solidFill>
                    <a:srgbClr val="FFFFFF"/>
                  </a:solidFill>
                  <a:latin typeface="EYInterstate-LightBold"/>
                </a:rPr>
                <a:t>a</a:t>
              </a:r>
              <a:r>
                <a:rPr lang="en-US" sz="996" b="1" i="0" spc="-47" baseline="0" dirty="0">
                  <a:solidFill>
                    <a:srgbClr val="FFFFFF"/>
                  </a:solidFill>
                  <a:latin typeface="EYInterstate-LightBold"/>
                </a:rPr>
                <a:t>le</a:t>
              </a:r>
              <a:r>
                <a:rPr lang="en-US" sz="996" b="1" i="0" spc="-51" baseline="0" dirty="0">
                  <a:solidFill>
                    <a:srgbClr val="FFFFFF"/>
                  </a:solidFill>
                  <a:latin typeface="EYInterstate-LightBold"/>
                </a:rPr>
                <a:t>n</a:t>
              </a:r>
              <a:r>
                <a:rPr lang="en-US" sz="996" b="1" i="0" spc="0" baseline="0" dirty="0">
                  <a:solidFill>
                    <a:srgbClr val="FFFFFF"/>
                  </a:solidFill>
                  <a:latin typeface="EYInterstate-LightBold"/>
                </a:rPr>
                <a:t>t</a:t>
              </a:r>
            </a:p>
            <a:p>
              <a:pPr marL="0" algn="ctr">
                <a:lnSpc>
                  <a:spcPts val="1200"/>
                </a:lnSpc>
              </a:pPr>
              <a:r>
                <a:rPr lang="en-US" sz="996" b="1" i="0" spc="-43" baseline="0" dirty="0">
                  <a:solidFill>
                    <a:srgbClr val="FFFFFF"/>
                  </a:solidFill>
                  <a:latin typeface="EYInterstate-LightBold"/>
                </a:rPr>
                <a:t>a</a:t>
              </a:r>
              <a:r>
                <a:rPr lang="en-US" sz="996" b="1" i="0" spc="-47" baseline="0" dirty="0">
                  <a:solidFill>
                    <a:srgbClr val="FFFFFF"/>
                  </a:solidFill>
                  <a:latin typeface="EYInterstate-LightBold"/>
                </a:rPr>
                <a:t>li</a:t>
              </a:r>
              <a:r>
                <a:rPr lang="en-US" sz="996" b="1" i="0" spc="-51" baseline="0" dirty="0">
                  <a:solidFill>
                    <a:srgbClr val="FFFFFF"/>
                  </a:solidFill>
                  <a:latin typeface="EYInterstate-LightBold"/>
                </a:rPr>
                <a:t>gn</a:t>
              </a:r>
              <a:r>
                <a:rPr lang="en-US" sz="996" b="1" i="0" spc="-53" baseline="0" dirty="0">
                  <a:solidFill>
                    <a:srgbClr val="FFFFFF"/>
                  </a:solidFill>
                  <a:latin typeface="EYInterstate-LightBold"/>
                </a:rPr>
                <a:t>m</a:t>
              </a:r>
              <a:r>
                <a:rPr lang="en-US" sz="996" b="1" i="0" spc="-47" baseline="0" dirty="0">
                  <a:solidFill>
                    <a:srgbClr val="FFFFFF"/>
                  </a:solidFill>
                  <a:latin typeface="EYInterstate-LightBold"/>
                </a:rPr>
                <a:t>e</a:t>
              </a:r>
              <a:r>
                <a:rPr lang="en-US" sz="996" b="1" i="0" spc="-51" baseline="0" dirty="0">
                  <a:solidFill>
                    <a:srgbClr val="FFFFFF"/>
                  </a:solidFill>
                  <a:latin typeface="EYInterstate-LightBold"/>
                </a:rPr>
                <a:t>n</a:t>
              </a:r>
              <a:r>
                <a:rPr lang="en-US" sz="996" b="1" i="0" spc="0" baseline="0" dirty="0">
                  <a:solidFill>
                    <a:srgbClr val="FFFFFF"/>
                  </a:solidFill>
                  <a:latin typeface="EYInterstate-LightBold"/>
                </a:rPr>
                <a:t>t</a:t>
              </a:r>
            </a:p>
          </p:txBody>
        </p:sp>
      </p:grpSp>
      <p:grpSp>
        <p:nvGrpSpPr>
          <p:cNvPr id="18" name="Group 17"/>
          <p:cNvGrpSpPr/>
          <p:nvPr/>
        </p:nvGrpSpPr>
        <p:grpSpPr>
          <a:xfrm>
            <a:off x="622474" y="4107443"/>
            <a:ext cx="670559" cy="856052"/>
            <a:chOff x="644651" y="4603676"/>
            <a:chExt cx="670559" cy="856052"/>
          </a:xfrm>
        </p:grpSpPr>
        <p:grpSp>
          <p:nvGrpSpPr>
            <p:cNvPr id="6" name="Group 5"/>
            <p:cNvGrpSpPr/>
            <p:nvPr/>
          </p:nvGrpSpPr>
          <p:grpSpPr>
            <a:xfrm>
              <a:off x="644651" y="4603676"/>
              <a:ext cx="670559" cy="665986"/>
              <a:chOff x="644651" y="4603676"/>
              <a:chExt cx="670559" cy="665986"/>
            </a:xfrm>
          </p:grpSpPr>
          <p:sp>
            <p:nvSpPr>
              <p:cNvPr id="52" name="Freeform 388"/>
              <p:cNvSpPr/>
              <p:nvPr/>
            </p:nvSpPr>
            <p:spPr>
              <a:xfrm>
                <a:off x="644651" y="4603676"/>
                <a:ext cx="670559" cy="665986"/>
              </a:xfrm>
              <a:custGeom>
                <a:avLst/>
                <a:gdLst/>
                <a:ahLst/>
                <a:cxnLst/>
                <a:rect l="0" t="0" r="0" b="0"/>
                <a:pathLst>
                  <a:path w="670559" h="665986">
                    <a:moveTo>
                      <a:pt x="0" y="332993"/>
                    </a:moveTo>
                    <a:cubicBezTo>
                      <a:pt x="0" y="149085"/>
                      <a:pt x="150113" y="0"/>
                      <a:pt x="335279" y="0"/>
                    </a:cubicBezTo>
                    <a:cubicBezTo>
                      <a:pt x="520445" y="0"/>
                      <a:pt x="670559" y="149085"/>
                      <a:pt x="670559" y="332993"/>
                    </a:cubicBezTo>
                    <a:cubicBezTo>
                      <a:pt x="670559" y="516901"/>
                      <a:pt x="520445" y="665986"/>
                      <a:pt x="335279" y="665986"/>
                    </a:cubicBezTo>
                    <a:cubicBezTo>
                      <a:pt x="150113"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53" name="Freeform 389"/>
              <p:cNvSpPr/>
              <p:nvPr/>
            </p:nvSpPr>
            <p:spPr>
              <a:xfrm>
                <a:off x="768857" y="4692069"/>
                <a:ext cx="422147" cy="438912"/>
              </a:xfrm>
              <a:custGeom>
                <a:avLst/>
                <a:gdLst/>
                <a:ahLst/>
                <a:cxnLst/>
                <a:rect l="0" t="0" r="0" b="0"/>
                <a:pathLst>
                  <a:path w="422147" h="438912">
                    <a:moveTo>
                      <a:pt x="207009" y="219456"/>
                    </a:moveTo>
                    <a:lnTo>
                      <a:pt x="336904" y="81280"/>
                    </a:lnTo>
                    <a:cubicBezTo>
                      <a:pt x="328776" y="73152"/>
                      <a:pt x="324725" y="65025"/>
                      <a:pt x="324725" y="52833"/>
                    </a:cubicBezTo>
                    <a:lnTo>
                      <a:pt x="207009" y="182880"/>
                    </a:lnTo>
                    <a:cubicBezTo>
                      <a:pt x="194830" y="195073"/>
                      <a:pt x="198894" y="211329"/>
                      <a:pt x="207009" y="219456"/>
                    </a:cubicBezTo>
                    <a:moveTo>
                      <a:pt x="369378" y="97536"/>
                    </a:moveTo>
                    <a:cubicBezTo>
                      <a:pt x="361250" y="97536"/>
                      <a:pt x="349083" y="93472"/>
                      <a:pt x="340955" y="89409"/>
                    </a:cubicBezTo>
                    <a:lnTo>
                      <a:pt x="215124" y="227583"/>
                    </a:lnTo>
                    <a:cubicBezTo>
                      <a:pt x="227303" y="235711"/>
                      <a:pt x="243546" y="235711"/>
                      <a:pt x="251662" y="227583"/>
                    </a:cubicBezTo>
                    <a:close/>
                    <a:moveTo>
                      <a:pt x="186715" y="264159"/>
                    </a:moveTo>
                    <a:lnTo>
                      <a:pt x="227303" y="239776"/>
                    </a:lnTo>
                    <a:cubicBezTo>
                      <a:pt x="219188" y="239776"/>
                      <a:pt x="211072" y="235711"/>
                      <a:pt x="207009" y="231647"/>
                    </a:cubicBezTo>
                    <a:cubicBezTo>
                      <a:pt x="198894" y="223519"/>
                      <a:pt x="194830" y="215393"/>
                      <a:pt x="194830" y="211329"/>
                    </a:cubicBezTo>
                    <a:lnTo>
                      <a:pt x="174536" y="251967"/>
                    </a:lnTo>
                    <a:cubicBezTo>
                      <a:pt x="178600" y="251967"/>
                      <a:pt x="178600" y="256032"/>
                      <a:pt x="182651" y="256032"/>
                    </a:cubicBezTo>
                    <a:cubicBezTo>
                      <a:pt x="182651" y="260096"/>
                      <a:pt x="186715" y="260096"/>
                      <a:pt x="186715" y="264159"/>
                    </a:cubicBezTo>
                    <a:moveTo>
                      <a:pt x="166420" y="251967"/>
                    </a:moveTo>
                    <a:cubicBezTo>
                      <a:pt x="154241" y="251967"/>
                      <a:pt x="146126" y="260096"/>
                      <a:pt x="146126" y="272287"/>
                    </a:cubicBezTo>
                    <a:cubicBezTo>
                      <a:pt x="146126" y="284479"/>
                      <a:pt x="154241" y="292608"/>
                      <a:pt x="166420" y="292608"/>
                    </a:cubicBezTo>
                    <a:cubicBezTo>
                      <a:pt x="178600" y="292608"/>
                      <a:pt x="186715" y="284479"/>
                      <a:pt x="186715" y="272287"/>
                    </a:cubicBezTo>
                    <a:lnTo>
                      <a:pt x="170472" y="280416"/>
                    </a:lnTo>
                    <a:lnTo>
                      <a:pt x="158305" y="268223"/>
                    </a:lnTo>
                    <a:close/>
                    <a:moveTo>
                      <a:pt x="166420" y="195073"/>
                    </a:moveTo>
                    <a:cubicBezTo>
                      <a:pt x="174536" y="195073"/>
                      <a:pt x="182651" y="195073"/>
                      <a:pt x="186715" y="199136"/>
                    </a:cubicBezTo>
                    <a:lnTo>
                      <a:pt x="194830" y="182880"/>
                    </a:lnTo>
                    <a:lnTo>
                      <a:pt x="202946" y="174753"/>
                    </a:lnTo>
                    <a:cubicBezTo>
                      <a:pt x="190779" y="170689"/>
                      <a:pt x="178600" y="170689"/>
                      <a:pt x="166420" y="170689"/>
                    </a:cubicBezTo>
                    <a:lnTo>
                      <a:pt x="166420" y="154433"/>
                    </a:lnTo>
                    <a:cubicBezTo>
                      <a:pt x="182651" y="154433"/>
                      <a:pt x="198894" y="154433"/>
                      <a:pt x="215124" y="162560"/>
                    </a:cubicBezTo>
                    <a:lnTo>
                      <a:pt x="231367" y="142241"/>
                    </a:lnTo>
                    <a:cubicBezTo>
                      <a:pt x="211072" y="130049"/>
                      <a:pt x="186715" y="125984"/>
                      <a:pt x="162356" y="125984"/>
                    </a:cubicBezTo>
                    <a:cubicBezTo>
                      <a:pt x="81178" y="130049"/>
                      <a:pt x="16230" y="199136"/>
                      <a:pt x="20294" y="276352"/>
                    </a:cubicBezTo>
                    <a:cubicBezTo>
                      <a:pt x="24345" y="357632"/>
                      <a:pt x="93357" y="422656"/>
                      <a:pt x="170472" y="418592"/>
                    </a:cubicBezTo>
                    <a:cubicBezTo>
                      <a:pt x="251662" y="414527"/>
                      <a:pt x="316610" y="345440"/>
                      <a:pt x="312546" y="268223"/>
                    </a:cubicBezTo>
                    <a:cubicBezTo>
                      <a:pt x="312546" y="243839"/>
                      <a:pt x="304430" y="223519"/>
                      <a:pt x="296315" y="203201"/>
                    </a:cubicBezTo>
                    <a:lnTo>
                      <a:pt x="308481" y="191008"/>
                    </a:lnTo>
                    <a:cubicBezTo>
                      <a:pt x="320661" y="211329"/>
                      <a:pt x="328776" y="239776"/>
                      <a:pt x="328776" y="264159"/>
                    </a:cubicBezTo>
                    <a:cubicBezTo>
                      <a:pt x="332840" y="357632"/>
                      <a:pt x="263841" y="430783"/>
                      <a:pt x="174536" y="434847"/>
                    </a:cubicBezTo>
                    <a:cubicBezTo>
                      <a:pt x="81178" y="438912"/>
                      <a:pt x="8115" y="369824"/>
                      <a:pt x="4051" y="280416"/>
                    </a:cubicBezTo>
                    <a:cubicBezTo>
                      <a:pt x="0" y="186945"/>
                      <a:pt x="68999" y="113793"/>
                      <a:pt x="158305" y="109728"/>
                    </a:cubicBezTo>
                    <a:cubicBezTo>
                      <a:pt x="190779" y="109728"/>
                      <a:pt x="219188" y="113793"/>
                      <a:pt x="243546" y="130049"/>
                    </a:cubicBezTo>
                    <a:lnTo>
                      <a:pt x="345019" y="16256"/>
                    </a:lnTo>
                    <a:lnTo>
                      <a:pt x="353135" y="12193"/>
                    </a:lnTo>
                    <a:cubicBezTo>
                      <a:pt x="365314" y="0"/>
                      <a:pt x="389673" y="0"/>
                      <a:pt x="405903" y="16256"/>
                    </a:cubicBezTo>
                    <a:cubicBezTo>
                      <a:pt x="418083" y="28449"/>
                      <a:pt x="422147" y="52833"/>
                      <a:pt x="409967" y="65025"/>
                    </a:cubicBezTo>
                    <a:lnTo>
                      <a:pt x="389673" y="89409"/>
                    </a:lnTo>
                    <a:lnTo>
                      <a:pt x="251662" y="235711"/>
                    </a:lnTo>
                    <a:lnTo>
                      <a:pt x="198894" y="264159"/>
                    </a:lnTo>
                    <a:lnTo>
                      <a:pt x="198894" y="272287"/>
                    </a:lnTo>
                    <a:cubicBezTo>
                      <a:pt x="202946" y="288544"/>
                      <a:pt x="186715" y="304799"/>
                      <a:pt x="166420" y="304799"/>
                    </a:cubicBezTo>
                    <a:cubicBezTo>
                      <a:pt x="150177" y="308863"/>
                      <a:pt x="133946" y="292608"/>
                      <a:pt x="133946" y="272287"/>
                    </a:cubicBezTo>
                    <a:cubicBezTo>
                      <a:pt x="129882" y="256032"/>
                      <a:pt x="146126" y="239776"/>
                      <a:pt x="166420" y="239776"/>
                    </a:cubicBezTo>
                    <a:lnTo>
                      <a:pt x="170472" y="239776"/>
                    </a:lnTo>
                    <a:lnTo>
                      <a:pt x="182651" y="215393"/>
                    </a:lnTo>
                    <a:cubicBezTo>
                      <a:pt x="178600" y="215393"/>
                      <a:pt x="174536" y="211329"/>
                      <a:pt x="166420" y="211329"/>
                    </a:cubicBezTo>
                    <a:close/>
                    <a:moveTo>
                      <a:pt x="48704" y="272287"/>
                    </a:moveTo>
                    <a:cubicBezTo>
                      <a:pt x="44640" y="211329"/>
                      <a:pt x="93357" y="158496"/>
                      <a:pt x="158305" y="154433"/>
                    </a:cubicBezTo>
                    <a:lnTo>
                      <a:pt x="158305" y="170689"/>
                    </a:lnTo>
                    <a:cubicBezTo>
                      <a:pt x="105537" y="174753"/>
                      <a:pt x="64935" y="219456"/>
                      <a:pt x="64935" y="272287"/>
                    </a:cubicBezTo>
                    <a:close/>
                    <a:moveTo>
                      <a:pt x="166420" y="394208"/>
                    </a:moveTo>
                    <a:cubicBezTo>
                      <a:pt x="105537" y="394208"/>
                      <a:pt x="52768" y="345440"/>
                      <a:pt x="48704" y="280416"/>
                    </a:cubicBezTo>
                    <a:lnTo>
                      <a:pt x="64935" y="280416"/>
                    </a:lnTo>
                    <a:cubicBezTo>
                      <a:pt x="68999" y="333248"/>
                      <a:pt x="113652" y="373887"/>
                      <a:pt x="166420" y="373887"/>
                    </a:cubicBezTo>
                    <a:close/>
                    <a:moveTo>
                      <a:pt x="288187" y="272287"/>
                    </a:moveTo>
                    <a:cubicBezTo>
                      <a:pt x="288187" y="333248"/>
                      <a:pt x="239482" y="386079"/>
                      <a:pt x="174536" y="390143"/>
                    </a:cubicBezTo>
                    <a:lnTo>
                      <a:pt x="174536" y="373887"/>
                    </a:lnTo>
                    <a:cubicBezTo>
                      <a:pt x="227303" y="369824"/>
                      <a:pt x="267892" y="325119"/>
                      <a:pt x="267892" y="272287"/>
                    </a:cubicBezTo>
                    <a:close/>
                    <a:moveTo>
                      <a:pt x="276008" y="223519"/>
                    </a:moveTo>
                    <a:cubicBezTo>
                      <a:pt x="280072" y="235711"/>
                      <a:pt x="284136" y="247904"/>
                      <a:pt x="284136" y="264159"/>
                    </a:cubicBezTo>
                    <a:lnTo>
                      <a:pt x="267892" y="264159"/>
                    </a:lnTo>
                    <a:cubicBezTo>
                      <a:pt x="267892" y="256032"/>
                      <a:pt x="267892" y="243839"/>
                      <a:pt x="263841" y="235711"/>
                    </a:cubicBezTo>
                    <a:close/>
                    <a:moveTo>
                      <a:pt x="89293" y="272287"/>
                    </a:moveTo>
                    <a:cubicBezTo>
                      <a:pt x="89293" y="231647"/>
                      <a:pt x="121767" y="199136"/>
                      <a:pt x="158305" y="195073"/>
                    </a:cubicBezTo>
                    <a:lnTo>
                      <a:pt x="158305" y="211329"/>
                    </a:lnTo>
                    <a:cubicBezTo>
                      <a:pt x="129882" y="215393"/>
                      <a:pt x="109588" y="239776"/>
                      <a:pt x="105537" y="272287"/>
                    </a:cubicBezTo>
                    <a:close/>
                    <a:moveTo>
                      <a:pt x="166420" y="349503"/>
                    </a:moveTo>
                    <a:cubicBezTo>
                      <a:pt x="125831" y="349503"/>
                      <a:pt x="93357" y="316991"/>
                      <a:pt x="89293" y="280416"/>
                    </a:cubicBezTo>
                    <a:lnTo>
                      <a:pt x="105537" y="280416"/>
                    </a:lnTo>
                    <a:cubicBezTo>
                      <a:pt x="109588" y="308863"/>
                      <a:pt x="133946" y="329184"/>
                      <a:pt x="166420" y="333248"/>
                    </a:cubicBezTo>
                    <a:close/>
                    <a:moveTo>
                      <a:pt x="243546" y="272287"/>
                    </a:moveTo>
                    <a:cubicBezTo>
                      <a:pt x="243546" y="312928"/>
                      <a:pt x="211072" y="345440"/>
                      <a:pt x="174536" y="349503"/>
                    </a:cubicBezTo>
                    <a:lnTo>
                      <a:pt x="174536" y="333248"/>
                    </a:lnTo>
                    <a:cubicBezTo>
                      <a:pt x="202946" y="329184"/>
                      <a:pt x="223239" y="304799"/>
                      <a:pt x="227303" y="272287"/>
                    </a:cubicBezTo>
                    <a:close/>
                    <a:moveTo>
                      <a:pt x="239482" y="251967"/>
                    </a:moveTo>
                    <a:cubicBezTo>
                      <a:pt x="243546" y="256032"/>
                      <a:pt x="243546" y="260096"/>
                      <a:pt x="243546" y="264159"/>
                    </a:cubicBezTo>
                    <a:lnTo>
                      <a:pt x="227303" y="264159"/>
                    </a:lnTo>
                    <a:lnTo>
                      <a:pt x="223239" y="260096"/>
                    </a:lnTo>
                    <a:close/>
                    <a:moveTo>
                      <a:pt x="393724" y="69088"/>
                    </a:moveTo>
                    <a:cubicBezTo>
                      <a:pt x="365314" y="77217"/>
                      <a:pt x="336904" y="36577"/>
                      <a:pt x="357199" y="16256"/>
                    </a:cubicBezTo>
                    <a:cubicBezTo>
                      <a:pt x="365314" y="8129"/>
                      <a:pt x="381545" y="4065"/>
                      <a:pt x="393724" y="12193"/>
                    </a:cubicBezTo>
                    <a:lnTo>
                      <a:pt x="389673" y="20320"/>
                    </a:lnTo>
                    <a:cubicBezTo>
                      <a:pt x="365314" y="4065"/>
                      <a:pt x="345019" y="32512"/>
                      <a:pt x="369378" y="52833"/>
                    </a:cubicBezTo>
                    <a:cubicBezTo>
                      <a:pt x="377493" y="60961"/>
                      <a:pt x="385609" y="65025"/>
                      <a:pt x="393724" y="60961"/>
                    </a:cubicBez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97" name="Rectangle 435"/>
            <p:cNvSpPr/>
            <p:nvPr/>
          </p:nvSpPr>
          <p:spPr>
            <a:xfrm>
              <a:off x="745924" y="5306481"/>
              <a:ext cx="468013" cy="153247"/>
            </a:xfrm>
            <a:prstGeom prst="rect">
              <a:avLst/>
            </a:prstGeom>
          </p:spPr>
          <p:txBody>
            <a:bodyPr wrap="none" lIns="0" tIns="0" rIns="0" bIns="0">
              <a:spAutoFit/>
            </a:bodyPr>
            <a:lstStyle/>
            <a:p>
              <a:pPr algn="ctr"/>
              <a:r>
                <a:rPr lang="en-US" sz="996" b="1" spc="-47" dirty="0">
                  <a:solidFill>
                    <a:srgbClr val="FFFFFF"/>
                  </a:solidFill>
                  <a:latin typeface="EYInterstate-LightBold"/>
                </a:rPr>
                <a:t>S</a:t>
              </a:r>
              <a:r>
                <a:rPr lang="en-US" sz="996" b="1" spc="-53" dirty="0">
                  <a:solidFill>
                    <a:srgbClr val="FFFFFF"/>
                  </a:solidFill>
                  <a:latin typeface="EYInterstate-LightBold"/>
                </a:rPr>
                <a:t>t</a:t>
              </a:r>
              <a:r>
                <a:rPr lang="en-US" sz="996" b="1" spc="-44" dirty="0">
                  <a:solidFill>
                    <a:srgbClr val="FFFFFF"/>
                  </a:solidFill>
                  <a:latin typeface="EYInterstate-LightBold"/>
                </a:rPr>
                <a:t>r</a:t>
              </a:r>
              <a:r>
                <a:rPr lang="en-US" sz="996" b="1" spc="-43" dirty="0">
                  <a:solidFill>
                    <a:srgbClr val="FFFFFF"/>
                  </a:solidFill>
                  <a:latin typeface="EYInterstate-LightBold"/>
                </a:rPr>
                <a:t>a</a:t>
              </a:r>
              <a:r>
                <a:rPr lang="en-US" sz="996" b="1" spc="-53" dirty="0">
                  <a:solidFill>
                    <a:srgbClr val="FFFFFF"/>
                  </a:solidFill>
                  <a:latin typeface="EYInterstate-LightBold"/>
                </a:rPr>
                <a:t>t</a:t>
              </a:r>
              <a:r>
                <a:rPr lang="en-US" sz="996" b="1" spc="-47" dirty="0">
                  <a:solidFill>
                    <a:srgbClr val="FFFFFF"/>
                  </a:solidFill>
                  <a:latin typeface="EYInterstate-LightBold"/>
                </a:rPr>
                <a:t>e</a:t>
              </a:r>
              <a:r>
                <a:rPr lang="en-US" sz="996" b="1" spc="-51" dirty="0">
                  <a:solidFill>
                    <a:srgbClr val="FFFFFF"/>
                  </a:solidFill>
                  <a:latin typeface="EYInterstate-LightBold"/>
                </a:rPr>
                <a:t>g</a:t>
              </a:r>
              <a:r>
                <a:rPr lang="en-US" sz="996" b="1" dirty="0">
                  <a:solidFill>
                    <a:srgbClr val="FFFFFF"/>
                  </a:solidFill>
                  <a:latin typeface="EYInterstate-LightBold"/>
                </a:rPr>
                <a:t>y</a:t>
              </a:r>
              <a:endParaRPr lang="en-US" sz="996" b="1" i="0" spc="0" baseline="0" dirty="0">
                <a:solidFill>
                  <a:srgbClr val="FFFFFF"/>
                </a:solidFill>
                <a:latin typeface="EYInterstate-LightBold"/>
              </a:endParaRPr>
            </a:p>
          </p:txBody>
        </p:sp>
      </p:grpSp>
      <p:grpSp>
        <p:nvGrpSpPr>
          <p:cNvPr id="19" name="Group 18"/>
          <p:cNvGrpSpPr/>
          <p:nvPr/>
        </p:nvGrpSpPr>
        <p:grpSpPr>
          <a:xfrm>
            <a:off x="1031974" y="5183067"/>
            <a:ext cx="669036" cy="856052"/>
            <a:chOff x="1577339" y="4603676"/>
            <a:chExt cx="669036" cy="856052"/>
          </a:xfrm>
        </p:grpSpPr>
        <p:grpSp>
          <p:nvGrpSpPr>
            <p:cNvPr id="7" name="Group 6"/>
            <p:cNvGrpSpPr/>
            <p:nvPr/>
          </p:nvGrpSpPr>
          <p:grpSpPr>
            <a:xfrm>
              <a:off x="1577339" y="4603676"/>
              <a:ext cx="669036" cy="665986"/>
              <a:chOff x="1577339" y="4603676"/>
              <a:chExt cx="669036" cy="665986"/>
            </a:xfrm>
          </p:grpSpPr>
          <p:sp>
            <p:nvSpPr>
              <p:cNvPr id="50" name="Freeform 386"/>
              <p:cNvSpPr/>
              <p:nvPr/>
            </p:nvSpPr>
            <p:spPr>
              <a:xfrm>
                <a:off x="1577339" y="4603676"/>
                <a:ext cx="669036" cy="665986"/>
              </a:xfrm>
              <a:custGeom>
                <a:avLst/>
                <a:gdLst/>
                <a:ahLst/>
                <a:cxnLst/>
                <a:rect l="0" t="0" r="0" b="0"/>
                <a:pathLst>
                  <a:path w="669036" h="665986">
                    <a:moveTo>
                      <a:pt x="0" y="332993"/>
                    </a:moveTo>
                    <a:cubicBezTo>
                      <a:pt x="0" y="149085"/>
                      <a:pt x="149771" y="0"/>
                      <a:pt x="334518" y="0"/>
                    </a:cubicBezTo>
                    <a:cubicBezTo>
                      <a:pt x="519264" y="0"/>
                      <a:pt x="669036" y="149085"/>
                      <a:pt x="669036" y="332993"/>
                    </a:cubicBezTo>
                    <a:cubicBezTo>
                      <a:pt x="669036" y="516901"/>
                      <a:pt x="519264" y="665986"/>
                      <a:pt x="334518" y="665986"/>
                    </a:cubicBezTo>
                    <a:cubicBezTo>
                      <a:pt x="149771"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51" name="Freeform 387"/>
              <p:cNvSpPr/>
              <p:nvPr/>
            </p:nvSpPr>
            <p:spPr>
              <a:xfrm>
                <a:off x="1676396" y="4791128"/>
                <a:ext cx="470915" cy="278891"/>
              </a:xfrm>
              <a:custGeom>
                <a:avLst/>
                <a:gdLst/>
                <a:ahLst/>
                <a:cxnLst/>
                <a:rect l="0" t="0" r="0" b="0"/>
                <a:pathLst>
                  <a:path w="470915" h="278891">
                    <a:moveTo>
                      <a:pt x="189725" y="0"/>
                    </a:moveTo>
                    <a:lnTo>
                      <a:pt x="281203" y="0"/>
                    </a:lnTo>
                    <a:cubicBezTo>
                      <a:pt x="291363" y="0"/>
                      <a:pt x="298132" y="6807"/>
                      <a:pt x="298132" y="13601"/>
                    </a:cubicBezTo>
                    <a:lnTo>
                      <a:pt x="298132" y="47612"/>
                    </a:lnTo>
                    <a:lnTo>
                      <a:pt x="416712" y="47612"/>
                    </a:lnTo>
                    <a:lnTo>
                      <a:pt x="416712" y="173456"/>
                    </a:lnTo>
                    <a:lnTo>
                      <a:pt x="457364" y="173456"/>
                    </a:lnTo>
                    <a:cubicBezTo>
                      <a:pt x="464146" y="173456"/>
                      <a:pt x="470915" y="180263"/>
                      <a:pt x="470915" y="187058"/>
                    </a:cubicBezTo>
                    <a:lnTo>
                      <a:pt x="470915" y="265290"/>
                    </a:lnTo>
                    <a:cubicBezTo>
                      <a:pt x="470915" y="272084"/>
                      <a:pt x="464146" y="278891"/>
                      <a:pt x="457364" y="278891"/>
                    </a:cubicBezTo>
                    <a:lnTo>
                      <a:pt x="365899" y="278891"/>
                    </a:lnTo>
                    <a:cubicBezTo>
                      <a:pt x="359117" y="278891"/>
                      <a:pt x="352348" y="272084"/>
                      <a:pt x="352348" y="265290"/>
                    </a:cubicBezTo>
                    <a:lnTo>
                      <a:pt x="352348" y="187058"/>
                    </a:lnTo>
                    <a:cubicBezTo>
                      <a:pt x="352348" y="180263"/>
                      <a:pt x="359117" y="173456"/>
                      <a:pt x="365899" y="173456"/>
                    </a:cubicBezTo>
                    <a:lnTo>
                      <a:pt x="406552" y="173456"/>
                    </a:lnTo>
                    <a:lnTo>
                      <a:pt x="406552" y="57823"/>
                    </a:lnTo>
                    <a:lnTo>
                      <a:pt x="298132" y="57823"/>
                    </a:lnTo>
                    <a:lnTo>
                      <a:pt x="298132" y="91833"/>
                    </a:lnTo>
                    <a:cubicBezTo>
                      <a:pt x="298132" y="98628"/>
                      <a:pt x="291363" y="105435"/>
                      <a:pt x="281203" y="105435"/>
                    </a:cubicBezTo>
                    <a:lnTo>
                      <a:pt x="240537" y="105435"/>
                    </a:lnTo>
                    <a:lnTo>
                      <a:pt x="240537" y="173456"/>
                    </a:lnTo>
                    <a:lnTo>
                      <a:pt x="281203" y="173456"/>
                    </a:lnTo>
                    <a:cubicBezTo>
                      <a:pt x="291363" y="173456"/>
                      <a:pt x="298132" y="180263"/>
                      <a:pt x="298132" y="187058"/>
                    </a:cubicBezTo>
                    <a:lnTo>
                      <a:pt x="298132" y="265290"/>
                    </a:lnTo>
                    <a:cubicBezTo>
                      <a:pt x="298132" y="272084"/>
                      <a:pt x="291363" y="278891"/>
                      <a:pt x="281203" y="278891"/>
                    </a:cubicBezTo>
                    <a:lnTo>
                      <a:pt x="189725" y="278891"/>
                    </a:lnTo>
                    <a:cubicBezTo>
                      <a:pt x="182944" y="278891"/>
                      <a:pt x="176175" y="272084"/>
                      <a:pt x="176175" y="265290"/>
                    </a:cubicBezTo>
                    <a:lnTo>
                      <a:pt x="176175" y="187058"/>
                    </a:lnTo>
                    <a:cubicBezTo>
                      <a:pt x="176175" y="180263"/>
                      <a:pt x="182944" y="173456"/>
                      <a:pt x="189725" y="173456"/>
                    </a:cubicBezTo>
                    <a:lnTo>
                      <a:pt x="230377" y="173456"/>
                    </a:lnTo>
                    <a:lnTo>
                      <a:pt x="230377" y="105435"/>
                    </a:lnTo>
                    <a:lnTo>
                      <a:pt x="189725" y="105435"/>
                    </a:lnTo>
                    <a:cubicBezTo>
                      <a:pt x="182944" y="105435"/>
                      <a:pt x="176175" y="98628"/>
                      <a:pt x="176175" y="91833"/>
                    </a:cubicBezTo>
                    <a:lnTo>
                      <a:pt x="176175" y="57823"/>
                    </a:lnTo>
                    <a:lnTo>
                      <a:pt x="67767" y="57823"/>
                    </a:lnTo>
                    <a:lnTo>
                      <a:pt x="67767" y="173456"/>
                    </a:lnTo>
                    <a:lnTo>
                      <a:pt x="108420" y="173456"/>
                    </a:lnTo>
                    <a:cubicBezTo>
                      <a:pt x="115189" y="173456"/>
                      <a:pt x="121971" y="180263"/>
                      <a:pt x="121971" y="187058"/>
                    </a:cubicBezTo>
                    <a:lnTo>
                      <a:pt x="121971" y="265290"/>
                    </a:lnTo>
                    <a:cubicBezTo>
                      <a:pt x="121971" y="272084"/>
                      <a:pt x="115189" y="278891"/>
                      <a:pt x="108420" y="278891"/>
                    </a:cubicBezTo>
                    <a:lnTo>
                      <a:pt x="16942" y="278891"/>
                    </a:lnTo>
                    <a:cubicBezTo>
                      <a:pt x="6782" y="278891"/>
                      <a:pt x="0" y="272084"/>
                      <a:pt x="0" y="265290"/>
                    </a:cubicBezTo>
                    <a:lnTo>
                      <a:pt x="0" y="187058"/>
                    </a:lnTo>
                    <a:cubicBezTo>
                      <a:pt x="0" y="180263"/>
                      <a:pt x="6782" y="173456"/>
                      <a:pt x="16942" y="173456"/>
                    </a:cubicBezTo>
                    <a:lnTo>
                      <a:pt x="57595" y="173456"/>
                    </a:lnTo>
                    <a:lnTo>
                      <a:pt x="57595" y="47612"/>
                    </a:lnTo>
                    <a:lnTo>
                      <a:pt x="176175" y="47612"/>
                    </a:lnTo>
                    <a:lnTo>
                      <a:pt x="176175" y="13601"/>
                    </a:lnTo>
                    <a:cubicBezTo>
                      <a:pt x="176175" y="6807"/>
                      <a:pt x="182944" y="0"/>
                      <a:pt x="189725" y="0"/>
                    </a:cubicBezTo>
                    <a:moveTo>
                      <a:pt x="196506" y="85026"/>
                    </a:moveTo>
                    <a:lnTo>
                      <a:pt x="277812" y="85026"/>
                    </a:lnTo>
                    <a:lnTo>
                      <a:pt x="277812" y="20408"/>
                    </a:lnTo>
                    <a:lnTo>
                      <a:pt x="196506" y="20408"/>
                    </a:lnTo>
                    <a:lnTo>
                      <a:pt x="196506" y="85026"/>
                    </a:lnTo>
                    <a:close/>
                    <a:moveTo>
                      <a:pt x="20333" y="258483"/>
                    </a:moveTo>
                    <a:lnTo>
                      <a:pt x="101638" y="258483"/>
                    </a:lnTo>
                    <a:lnTo>
                      <a:pt x="101638" y="193865"/>
                    </a:lnTo>
                    <a:lnTo>
                      <a:pt x="20333" y="193865"/>
                    </a:lnTo>
                    <a:lnTo>
                      <a:pt x="20333" y="258483"/>
                    </a:lnTo>
                    <a:close/>
                    <a:moveTo>
                      <a:pt x="196506" y="258483"/>
                    </a:moveTo>
                    <a:lnTo>
                      <a:pt x="277812" y="258483"/>
                    </a:lnTo>
                    <a:lnTo>
                      <a:pt x="277812" y="193865"/>
                    </a:lnTo>
                    <a:lnTo>
                      <a:pt x="196506" y="193865"/>
                    </a:lnTo>
                    <a:lnTo>
                      <a:pt x="196506" y="258483"/>
                    </a:lnTo>
                    <a:close/>
                    <a:moveTo>
                      <a:pt x="372668" y="258483"/>
                    </a:moveTo>
                    <a:lnTo>
                      <a:pt x="450595" y="258483"/>
                    </a:lnTo>
                    <a:lnTo>
                      <a:pt x="450595" y="193865"/>
                    </a:lnTo>
                    <a:lnTo>
                      <a:pt x="372668" y="193865"/>
                    </a:lnTo>
                    <a:lnTo>
                      <a:pt x="372668" y="258483"/>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98" name="Rectangle 435"/>
            <p:cNvSpPr/>
            <p:nvPr/>
          </p:nvSpPr>
          <p:spPr>
            <a:xfrm>
              <a:off x="1602061" y="5306481"/>
              <a:ext cx="619593" cy="153247"/>
            </a:xfrm>
            <a:prstGeom prst="rect">
              <a:avLst/>
            </a:prstGeom>
          </p:spPr>
          <p:txBody>
            <a:bodyPr wrap="none" lIns="0" tIns="0" rIns="0" bIns="0">
              <a:spAutoFit/>
            </a:bodyPr>
            <a:lstStyle/>
            <a:p>
              <a:pPr algn="ctr"/>
              <a:r>
                <a:rPr lang="en-US" sz="996" b="1" spc="-48" dirty="0">
                  <a:solidFill>
                    <a:srgbClr val="FFFFFF"/>
                  </a:solidFill>
                  <a:latin typeface="EYInterstate-LightBold"/>
                </a:rPr>
                <a:t>O</a:t>
              </a:r>
              <a:r>
                <a:rPr lang="en-US" sz="996" b="1" spc="-44" dirty="0">
                  <a:solidFill>
                    <a:srgbClr val="FFFFFF"/>
                  </a:solidFill>
                  <a:latin typeface="EYInterstate-LightBold"/>
                </a:rPr>
                <a:t>r</a:t>
              </a:r>
              <a:r>
                <a:rPr lang="en-US" sz="996" b="1" spc="-51" dirty="0">
                  <a:solidFill>
                    <a:srgbClr val="FFFFFF"/>
                  </a:solidFill>
                  <a:latin typeface="EYInterstate-LightBold"/>
                </a:rPr>
                <a:t>g</a:t>
              </a:r>
              <a:r>
                <a:rPr lang="en-US" sz="996" b="1" spc="-40" dirty="0">
                  <a:solidFill>
                    <a:srgbClr val="FFFFFF"/>
                  </a:solidFill>
                  <a:latin typeface="EYInterstate-LightBold"/>
                </a:rPr>
                <a:t> </a:t>
              </a:r>
              <a:r>
                <a:rPr lang="en-US" sz="996" b="1" spc="-51" dirty="0">
                  <a:solidFill>
                    <a:srgbClr val="FFFFFF"/>
                  </a:solidFill>
                  <a:latin typeface="EYInterstate-LightBold"/>
                </a:rPr>
                <a:t>d</a:t>
              </a:r>
              <a:r>
                <a:rPr lang="en-US" sz="996" b="1" spc="-47" dirty="0">
                  <a:solidFill>
                    <a:srgbClr val="FFFFFF"/>
                  </a:solidFill>
                  <a:latin typeface="EYInterstate-LightBold"/>
                </a:rPr>
                <a:t>e</a:t>
              </a:r>
              <a:r>
                <a:rPr lang="en-US" sz="996" b="1" spc="-52" dirty="0">
                  <a:solidFill>
                    <a:srgbClr val="FFFFFF"/>
                  </a:solidFill>
                  <a:latin typeface="EYInterstate-LightBold"/>
                </a:rPr>
                <a:t>s</a:t>
              </a:r>
              <a:r>
                <a:rPr lang="en-US" sz="996" b="1" spc="-47" dirty="0">
                  <a:solidFill>
                    <a:srgbClr val="FFFFFF"/>
                  </a:solidFill>
                  <a:latin typeface="EYInterstate-LightBold"/>
                </a:rPr>
                <a:t>i</a:t>
              </a:r>
              <a:r>
                <a:rPr lang="en-US" sz="996" b="1" spc="-51" dirty="0">
                  <a:solidFill>
                    <a:srgbClr val="FFFFFF"/>
                  </a:solidFill>
                  <a:latin typeface="EYInterstate-LightBold"/>
                </a:rPr>
                <a:t>g</a:t>
              </a:r>
              <a:r>
                <a:rPr lang="en-US" sz="996" b="1" dirty="0">
                  <a:solidFill>
                    <a:srgbClr val="FFFFFF"/>
                  </a:solidFill>
                  <a:latin typeface="EYInterstate-LightBold"/>
                </a:rPr>
                <a:t>n</a:t>
              </a:r>
              <a:endParaRPr lang="en-US" sz="996" b="1" i="0" spc="0" baseline="0" dirty="0">
                <a:solidFill>
                  <a:srgbClr val="FFFFFF"/>
                </a:solidFill>
                <a:latin typeface="EYInterstate-LightBold"/>
              </a:endParaRPr>
            </a:p>
          </p:txBody>
        </p:sp>
      </p:grpSp>
      <p:grpSp>
        <p:nvGrpSpPr>
          <p:cNvPr id="25" name="Group 24"/>
          <p:cNvGrpSpPr/>
          <p:nvPr/>
        </p:nvGrpSpPr>
        <p:grpSpPr>
          <a:xfrm>
            <a:off x="5194908" y="5189526"/>
            <a:ext cx="665987" cy="884108"/>
            <a:chOff x="7186431" y="4603676"/>
            <a:chExt cx="665987" cy="884108"/>
          </a:xfrm>
        </p:grpSpPr>
        <p:sp>
          <p:nvSpPr>
            <p:cNvPr id="48" name="Freeform 384"/>
            <p:cNvSpPr/>
            <p:nvPr/>
          </p:nvSpPr>
          <p:spPr>
            <a:xfrm>
              <a:off x="7508757" y="5469496"/>
              <a:ext cx="21335" cy="18288"/>
            </a:xfrm>
            <a:custGeom>
              <a:avLst/>
              <a:gdLst/>
              <a:ahLst/>
              <a:cxnLst/>
              <a:rect l="0" t="0" r="0" b="0"/>
              <a:pathLst>
                <a:path w="21335" h="18288">
                  <a:moveTo>
                    <a:pt x="0" y="9144"/>
                  </a:moveTo>
                  <a:cubicBezTo>
                    <a:pt x="0" y="4090"/>
                    <a:pt x="4775" y="0"/>
                    <a:pt x="10667" y="0"/>
                  </a:cubicBezTo>
                  <a:cubicBezTo>
                    <a:pt x="16560" y="0"/>
                    <a:pt x="21335" y="4090"/>
                    <a:pt x="21335" y="9144"/>
                  </a:cubicBezTo>
                  <a:cubicBezTo>
                    <a:pt x="21335" y="14198"/>
                    <a:pt x="16560" y="18288"/>
                    <a:pt x="10667" y="18288"/>
                  </a:cubicBezTo>
                  <a:cubicBezTo>
                    <a:pt x="4775" y="18288"/>
                    <a:pt x="0" y="14198"/>
                    <a:pt x="0" y="9144"/>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nvGrpSpPr>
            <p:cNvPr id="13" name="Group 12"/>
            <p:cNvGrpSpPr/>
            <p:nvPr/>
          </p:nvGrpSpPr>
          <p:grpSpPr>
            <a:xfrm>
              <a:off x="7186431" y="4603676"/>
              <a:ext cx="665987" cy="665986"/>
              <a:chOff x="7158228" y="4603676"/>
              <a:chExt cx="665987" cy="665986"/>
            </a:xfrm>
          </p:grpSpPr>
          <p:sp>
            <p:nvSpPr>
              <p:cNvPr id="46" name="Freeform 382"/>
              <p:cNvSpPr/>
              <p:nvPr/>
            </p:nvSpPr>
            <p:spPr>
              <a:xfrm>
                <a:off x="7158228" y="4603676"/>
                <a:ext cx="665987" cy="665986"/>
              </a:xfrm>
              <a:custGeom>
                <a:avLst/>
                <a:gdLst/>
                <a:ahLst/>
                <a:cxnLst/>
                <a:rect l="0" t="0" r="0" b="0"/>
                <a:pathLst>
                  <a:path w="665987" h="665986">
                    <a:moveTo>
                      <a:pt x="0" y="332993"/>
                    </a:moveTo>
                    <a:cubicBezTo>
                      <a:pt x="0" y="149085"/>
                      <a:pt x="149085" y="0"/>
                      <a:pt x="332993" y="0"/>
                    </a:cubicBezTo>
                    <a:cubicBezTo>
                      <a:pt x="516902" y="0"/>
                      <a:pt x="665987" y="149085"/>
                      <a:pt x="665987" y="332993"/>
                    </a:cubicBezTo>
                    <a:cubicBezTo>
                      <a:pt x="665987" y="516901"/>
                      <a:pt x="516902" y="665986"/>
                      <a:pt x="332993" y="665986"/>
                    </a:cubicBezTo>
                    <a:cubicBezTo>
                      <a:pt x="149085"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47" name="Freeform 383"/>
              <p:cNvSpPr/>
              <p:nvPr/>
            </p:nvSpPr>
            <p:spPr>
              <a:xfrm>
                <a:off x="7357869" y="4748451"/>
                <a:ext cx="251459" cy="326135"/>
              </a:xfrm>
              <a:custGeom>
                <a:avLst/>
                <a:gdLst/>
                <a:ahLst/>
                <a:cxnLst/>
                <a:rect l="0" t="0" r="0" b="0"/>
                <a:pathLst>
                  <a:path w="251459" h="326135">
                    <a:moveTo>
                      <a:pt x="34544" y="143725"/>
                    </a:moveTo>
                    <a:lnTo>
                      <a:pt x="102247" y="76009"/>
                    </a:lnTo>
                    <a:lnTo>
                      <a:pt x="109156" y="78778"/>
                    </a:lnTo>
                    <a:lnTo>
                      <a:pt x="37312" y="150633"/>
                    </a:lnTo>
                    <a:close/>
                    <a:moveTo>
                      <a:pt x="34544" y="181037"/>
                    </a:moveTo>
                    <a:lnTo>
                      <a:pt x="187909" y="26263"/>
                    </a:lnTo>
                    <a:lnTo>
                      <a:pt x="192049" y="34556"/>
                    </a:lnTo>
                    <a:lnTo>
                      <a:pt x="41452" y="183806"/>
                    </a:lnTo>
                    <a:close/>
                    <a:moveTo>
                      <a:pt x="240410" y="8293"/>
                    </a:moveTo>
                    <a:lnTo>
                      <a:pt x="8294" y="8293"/>
                    </a:lnTo>
                    <a:lnTo>
                      <a:pt x="8294" y="319226"/>
                    </a:lnTo>
                    <a:lnTo>
                      <a:pt x="251459" y="319226"/>
                    </a:lnTo>
                    <a:lnTo>
                      <a:pt x="251459" y="326135"/>
                    </a:lnTo>
                    <a:lnTo>
                      <a:pt x="0" y="326135"/>
                    </a:lnTo>
                    <a:lnTo>
                      <a:pt x="0" y="0"/>
                    </a:lnTo>
                    <a:lnTo>
                      <a:pt x="251459" y="0"/>
                    </a:lnTo>
                    <a:lnTo>
                      <a:pt x="251459" y="301268"/>
                    </a:lnTo>
                    <a:lnTo>
                      <a:pt x="240410" y="301268"/>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49" name="Freeform 385"/>
              <p:cNvSpPr/>
              <p:nvPr/>
            </p:nvSpPr>
            <p:spPr>
              <a:xfrm>
                <a:off x="7325868" y="4716453"/>
                <a:ext cx="316991" cy="409955"/>
              </a:xfrm>
              <a:custGeom>
                <a:avLst/>
                <a:gdLst/>
                <a:ahLst/>
                <a:cxnLst/>
                <a:rect l="0" t="0" r="0" b="0"/>
                <a:pathLst>
                  <a:path w="316991" h="409955">
                    <a:moveTo>
                      <a:pt x="298348" y="391325"/>
                    </a:moveTo>
                    <a:lnTo>
                      <a:pt x="14922" y="391325"/>
                    </a:lnTo>
                    <a:lnTo>
                      <a:pt x="14922" y="18643"/>
                    </a:lnTo>
                    <a:lnTo>
                      <a:pt x="298348" y="18643"/>
                    </a:lnTo>
                    <a:lnTo>
                      <a:pt x="298348" y="391325"/>
                    </a:lnTo>
                    <a:close/>
                    <a:moveTo>
                      <a:pt x="294614" y="0"/>
                    </a:moveTo>
                    <a:lnTo>
                      <a:pt x="18643" y="0"/>
                    </a:lnTo>
                    <a:cubicBezTo>
                      <a:pt x="7454" y="0"/>
                      <a:pt x="0" y="11175"/>
                      <a:pt x="0" y="22364"/>
                    </a:cubicBezTo>
                    <a:lnTo>
                      <a:pt x="0" y="387591"/>
                    </a:lnTo>
                    <a:cubicBezTo>
                      <a:pt x="0" y="398780"/>
                      <a:pt x="7454" y="409955"/>
                      <a:pt x="18643" y="409955"/>
                    </a:cubicBezTo>
                    <a:lnTo>
                      <a:pt x="294614" y="409955"/>
                    </a:lnTo>
                    <a:cubicBezTo>
                      <a:pt x="305803" y="409955"/>
                      <a:pt x="316991" y="398780"/>
                      <a:pt x="316991" y="387591"/>
                    </a:cubicBezTo>
                    <a:lnTo>
                      <a:pt x="316991" y="22364"/>
                    </a:lnTo>
                    <a:cubicBezTo>
                      <a:pt x="316991" y="11175"/>
                      <a:pt x="305803" y="0"/>
                      <a:pt x="294614" y="0"/>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99" name="Rectangle 435"/>
            <p:cNvSpPr/>
            <p:nvPr/>
          </p:nvSpPr>
          <p:spPr>
            <a:xfrm>
              <a:off x="7189334" y="5306481"/>
              <a:ext cx="660181" cy="153247"/>
            </a:xfrm>
            <a:prstGeom prst="rect">
              <a:avLst/>
            </a:prstGeom>
          </p:spPr>
          <p:txBody>
            <a:bodyPr wrap="none" lIns="0" tIns="0" rIns="0" bIns="0">
              <a:spAutoFit/>
            </a:bodyPr>
            <a:lstStyle/>
            <a:p>
              <a:pPr algn="ctr"/>
              <a:r>
                <a:rPr lang="en-US" sz="996" b="1" spc="-52" dirty="0">
                  <a:solidFill>
                    <a:srgbClr val="FFFFFF"/>
                  </a:solidFill>
                  <a:latin typeface="EYInterstate-LightBold"/>
                </a:rPr>
                <a:t>T</a:t>
              </a:r>
              <a:r>
                <a:rPr lang="en-US" sz="996" b="1" spc="-47" dirty="0">
                  <a:solidFill>
                    <a:srgbClr val="FFFFFF"/>
                  </a:solidFill>
                  <a:latin typeface="EYInterstate-LightBold"/>
                </a:rPr>
                <a:t>e</a:t>
              </a:r>
              <a:r>
                <a:rPr lang="en-US" sz="996" b="1" spc="-51" dirty="0">
                  <a:solidFill>
                    <a:srgbClr val="FFFFFF"/>
                  </a:solidFill>
                  <a:latin typeface="EYInterstate-LightBold"/>
                </a:rPr>
                <a:t>chno</a:t>
              </a:r>
              <a:r>
                <a:rPr lang="en-US" sz="996" b="1" spc="-47" dirty="0">
                  <a:solidFill>
                    <a:srgbClr val="FFFFFF"/>
                  </a:solidFill>
                  <a:latin typeface="EYInterstate-LightBold"/>
                </a:rPr>
                <a:t>l</a:t>
              </a:r>
              <a:r>
                <a:rPr lang="en-US" sz="996" b="1" spc="-51" dirty="0">
                  <a:solidFill>
                    <a:srgbClr val="FFFFFF"/>
                  </a:solidFill>
                  <a:latin typeface="EYInterstate-LightBold"/>
                </a:rPr>
                <a:t>og</a:t>
              </a:r>
              <a:r>
                <a:rPr lang="en-US" sz="996" b="1" dirty="0">
                  <a:solidFill>
                    <a:srgbClr val="FFFFFF"/>
                  </a:solidFill>
                  <a:latin typeface="EYInterstate-LightBold"/>
                </a:rPr>
                <a:t>y</a:t>
              </a:r>
              <a:endParaRPr lang="en-US" sz="996" b="1" i="0" spc="0" baseline="0" dirty="0">
                <a:solidFill>
                  <a:srgbClr val="FFFFFF"/>
                </a:solidFill>
                <a:latin typeface="EYInterstate-LightBold"/>
              </a:endParaRPr>
            </a:p>
          </p:txBody>
        </p:sp>
      </p:grpSp>
      <p:grpSp>
        <p:nvGrpSpPr>
          <p:cNvPr id="24" name="Group 23"/>
          <p:cNvGrpSpPr/>
          <p:nvPr/>
        </p:nvGrpSpPr>
        <p:grpSpPr>
          <a:xfrm>
            <a:off x="4403297" y="4107443"/>
            <a:ext cx="665987" cy="856052"/>
            <a:chOff x="6228588" y="4603676"/>
            <a:chExt cx="665987" cy="856052"/>
          </a:xfrm>
        </p:grpSpPr>
        <p:grpSp>
          <p:nvGrpSpPr>
            <p:cNvPr id="12" name="Group 11"/>
            <p:cNvGrpSpPr/>
            <p:nvPr/>
          </p:nvGrpSpPr>
          <p:grpSpPr>
            <a:xfrm>
              <a:off x="6228588" y="4603676"/>
              <a:ext cx="665987" cy="665986"/>
              <a:chOff x="6228588" y="4603676"/>
              <a:chExt cx="665987" cy="665986"/>
            </a:xfrm>
          </p:grpSpPr>
          <p:sp>
            <p:nvSpPr>
              <p:cNvPr id="69" name="Freeform 405"/>
              <p:cNvSpPr/>
              <p:nvPr/>
            </p:nvSpPr>
            <p:spPr>
              <a:xfrm>
                <a:off x="6228588" y="4603676"/>
                <a:ext cx="665987" cy="665986"/>
              </a:xfrm>
              <a:custGeom>
                <a:avLst/>
                <a:gdLst/>
                <a:ahLst/>
                <a:cxnLst/>
                <a:rect l="0" t="0" r="0" b="0"/>
                <a:pathLst>
                  <a:path w="665987" h="665986">
                    <a:moveTo>
                      <a:pt x="0" y="332993"/>
                    </a:moveTo>
                    <a:cubicBezTo>
                      <a:pt x="0" y="149085"/>
                      <a:pt x="149085" y="0"/>
                      <a:pt x="332993" y="0"/>
                    </a:cubicBezTo>
                    <a:cubicBezTo>
                      <a:pt x="516902" y="0"/>
                      <a:pt x="665987" y="149085"/>
                      <a:pt x="665987" y="332993"/>
                    </a:cubicBezTo>
                    <a:cubicBezTo>
                      <a:pt x="665987" y="516901"/>
                      <a:pt x="516902" y="665986"/>
                      <a:pt x="332993" y="665986"/>
                    </a:cubicBezTo>
                    <a:cubicBezTo>
                      <a:pt x="149085"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70" name="Freeform 406"/>
              <p:cNvSpPr/>
              <p:nvPr/>
            </p:nvSpPr>
            <p:spPr>
              <a:xfrm>
                <a:off x="6330697" y="4742357"/>
                <a:ext cx="483107" cy="400811"/>
              </a:xfrm>
              <a:custGeom>
                <a:avLst/>
                <a:gdLst/>
                <a:ahLst/>
                <a:cxnLst/>
                <a:rect l="0" t="0" r="0" b="0"/>
                <a:pathLst>
                  <a:path w="483107" h="400811">
                    <a:moveTo>
                      <a:pt x="361378" y="251942"/>
                    </a:moveTo>
                    <a:cubicBezTo>
                      <a:pt x="319532" y="251942"/>
                      <a:pt x="285293" y="217589"/>
                      <a:pt x="285293" y="175603"/>
                    </a:cubicBezTo>
                    <a:cubicBezTo>
                      <a:pt x="285293" y="133604"/>
                      <a:pt x="319532" y="99250"/>
                      <a:pt x="361378" y="99250"/>
                    </a:cubicBezTo>
                    <a:cubicBezTo>
                      <a:pt x="403224" y="99250"/>
                      <a:pt x="437463" y="133604"/>
                      <a:pt x="437463" y="175603"/>
                    </a:cubicBezTo>
                    <a:cubicBezTo>
                      <a:pt x="437463" y="217589"/>
                      <a:pt x="403224" y="251942"/>
                      <a:pt x="361378" y="251942"/>
                    </a:cubicBezTo>
                    <a:moveTo>
                      <a:pt x="483107" y="187045"/>
                    </a:moveTo>
                    <a:lnTo>
                      <a:pt x="483107" y="160325"/>
                    </a:lnTo>
                    <a:lnTo>
                      <a:pt x="456475" y="156515"/>
                    </a:lnTo>
                    <a:cubicBezTo>
                      <a:pt x="452678" y="152692"/>
                      <a:pt x="452678" y="145059"/>
                      <a:pt x="452678" y="141237"/>
                    </a:cubicBezTo>
                    <a:lnTo>
                      <a:pt x="471690" y="122161"/>
                    </a:lnTo>
                    <a:lnTo>
                      <a:pt x="460285" y="103073"/>
                    </a:lnTo>
                    <a:lnTo>
                      <a:pt x="433653" y="110706"/>
                    </a:lnTo>
                    <a:cubicBezTo>
                      <a:pt x="429843" y="106883"/>
                      <a:pt x="426046" y="103073"/>
                      <a:pt x="422236" y="99250"/>
                    </a:cubicBezTo>
                    <a:lnTo>
                      <a:pt x="429843" y="76352"/>
                    </a:lnTo>
                    <a:lnTo>
                      <a:pt x="407021" y="61074"/>
                    </a:lnTo>
                    <a:lnTo>
                      <a:pt x="391807" y="83985"/>
                    </a:lnTo>
                    <a:cubicBezTo>
                      <a:pt x="384199" y="80162"/>
                      <a:pt x="380402" y="80162"/>
                      <a:pt x="376592" y="80162"/>
                    </a:cubicBezTo>
                    <a:lnTo>
                      <a:pt x="368985" y="53441"/>
                    </a:lnTo>
                    <a:lnTo>
                      <a:pt x="346164" y="53441"/>
                    </a:lnTo>
                    <a:lnTo>
                      <a:pt x="338557" y="80162"/>
                    </a:lnTo>
                    <a:cubicBezTo>
                      <a:pt x="334747" y="80162"/>
                      <a:pt x="330949" y="83985"/>
                      <a:pt x="323342" y="83985"/>
                    </a:cubicBezTo>
                    <a:lnTo>
                      <a:pt x="308127" y="64897"/>
                    </a:lnTo>
                    <a:lnTo>
                      <a:pt x="285293" y="76352"/>
                    </a:lnTo>
                    <a:lnTo>
                      <a:pt x="292900" y="103073"/>
                    </a:lnTo>
                    <a:cubicBezTo>
                      <a:pt x="289103" y="106883"/>
                      <a:pt x="289103" y="110706"/>
                      <a:pt x="285293" y="114516"/>
                    </a:cubicBezTo>
                    <a:lnTo>
                      <a:pt x="258674" y="106883"/>
                    </a:lnTo>
                    <a:lnTo>
                      <a:pt x="247256" y="129794"/>
                    </a:lnTo>
                    <a:lnTo>
                      <a:pt x="266281" y="145059"/>
                    </a:lnTo>
                    <a:cubicBezTo>
                      <a:pt x="266281" y="152692"/>
                      <a:pt x="266281" y="156515"/>
                      <a:pt x="262471" y="160325"/>
                    </a:cubicBezTo>
                    <a:lnTo>
                      <a:pt x="235852" y="167957"/>
                    </a:lnTo>
                    <a:lnTo>
                      <a:pt x="235852" y="190868"/>
                    </a:lnTo>
                    <a:lnTo>
                      <a:pt x="266281" y="198501"/>
                    </a:lnTo>
                    <a:cubicBezTo>
                      <a:pt x="266281" y="202324"/>
                      <a:pt x="266281" y="206134"/>
                      <a:pt x="270078" y="209956"/>
                    </a:cubicBezTo>
                    <a:lnTo>
                      <a:pt x="247256" y="229044"/>
                    </a:lnTo>
                    <a:lnTo>
                      <a:pt x="262471" y="251942"/>
                    </a:lnTo>
                    <a:lnTo>
                      <a:pt x="289103" y="240487"/>
                    </a:lnTo>
                    <a:cubicBezTo>
                      <a:pt x="289103" y="244310"/>
                      <a:pt x="292900" y="248120"/>
                      <a:pt x="296710" y="251942"/>
                    </a:cubicBezTo>
                    <a:lnTo>
                      <a:pt x="289103" y="278662"/>
                    </a:lnTo>
                    <a:lnTo>
                      <a:pt x="311925" y="290118"/>
                    </a:lnTo>
                    <a:lnTo>
                      <a:pt x="330949" y="271030"/>
                    </a:lnTo>
                    <a:cubicBezTo>
                      <a:pt x="334747" y="271030"/>
                      <a:pt x="338557" y="271030"/>
                      <a:pt x="346164" y="274840"/>
                    </a:cubicBezTo>
                    <a:lnTo>
                      <a:pt x="349961" y="301560"/>
                    </a:lnTo>
                    <a:lnTo>
                      <a:pt x="376592" y="301560"/>
                    </a:lnTo>
                    <a:lnTo>
                      <a:pt x="380402" y="271030"/>
                    </a:lnTo>
                    <a:cubicBezTo>
                      <a:pt x="384199" y="271030"/>
                      <a:pt x="391807" y="271030"/>
                      <a:pt x="395617" y="267207"/>
                    </a:cubicBezTo>
                    <a:lnTo>
                      <a:pt x="410831" y="290118"/>
                    </a:lnTo>
                    <a:lnTo>
                      <a:pt x="433653" y="274840"/>
                    </a:lnTo>
                    <a:lnTo>
                      <a:pt x="426046" y="248120"/>
                    </a:lnTo>
                    <a:cubicBezTo>
                      <a:pt x="429843" y="244310"/>
                      <a:pt x="433653" y="244310"/>
                      <a:pt x="437463" y="236677"/>
                    </a:cubicBezTo>
                    <a:lnTo>
                      <a:pt x="460285" y="248120"/>
                    </a:lnTo>
                    <a:lnTo>
                      <a:pt x="475500" y="225222"/>
                    </a:lnTo>
                    <a:lnTo>
                      <a:pt x="452678" y="206134"/>
                    </a:lnTo>
                    <a:cubicBezTo>
                      <a:pt x="452678" y="202324"/>
                      <a:pt x="456475" y="198501"/>
                      <a:pt x="456475" y="190868"/>
                    </a:cubicBezTo>
                    <a:close/>
                    <a:moveTo>
                      <a:pt x="361378" y="217589"/>
                    </a:moveTo>
                    <a:cubicBezTo>
                      <a:pt x="338557" y="217589"/>
                      <a:pt x="319532" y="198501"/>
                      <a:pt x="319532" y="175603"/>
                    </a:cubicBezTo>
                    <a:cubicBezTo>
                      <a:pt x="319532" y="152692"/>
                      <a:pt x="338557" y="137427"/>
                      <a:pt x="361378" y="137427"/>
                    </a:cubicBezTo>
                    <a:cubicBezTo>
                      <a:pt x="384199" y="137427"/>
                      <a:pt x="399414" y="152692"/>
                      <a:pt x="399414" y="175603"/>
                    </a:cubicBezTo>
                    <a:cubicBezTo>
                      <a:pt x="399414" y="198501"/>
                      <a:pt x="384199" y="217589"/>
                      <a:pt x="361378" y="217589"/>
                    </a:cubicBezTo>
                    <a:moveTo>
                      <a:pt x="361378" y="118338"/>
                    </a:moveTo>
                    <a:cubicBezTo>
                      <a:pt x="327139" y="118338"/>
                      <a:pt x="304317" y="145059"/>
                      <a:pt x="304317" y="175603"/>
                    </a:cubicBezTo>
                    <a:cubicBezTo>
                      <a:pt x="304317" y="209956"/>
                      <a:pt x="327139" y="232854"/>
                      <a:pt x="361378" y="232854"/>
                    </a:cubicBezTo>
                    <a:cubicBezTo>
                      <a:pt x="391807" y="232854"/>
                      <a:pt x="418439" y="209956"/>
                      <a:pt x="418439" y="175603"/>
                    </a:cubicBezTo>
                    <a:cubicBezTo>
                      <a:pt x="418439" y="145059"/>
                      <a:pt x="391807" y="118338"/>
                      <a:pt x="361378" y="118338"/>
                    </a:cubicBezTo>
                    <a:moveTo>
                      <a:pt x="136944" y="351192"/>
                    </a:moveTo>
                    <a:cubicBezTo>
                      <a:pt x="91300" y="351192"/>
                      <a:pt x="57061" y="316839"/>
                      <a:pt x="57061" y="274840"/>
                    </a:cubicBezTo>
                    <a:cubicBezTo>
                      <a:pt x="57061" y="232854"/>
                      <a:pt x="91300" y="194678"/>
                      <a:pt x="136944" y="194678"/>
                    </a:cubicBezTo>
                    <a:cubicBezTo>
                      <a:pt x="178791" y="194678"/>
                      <a:pt x="213017" y="232854"/>
                      <a:pt x="213017" y="274840"/>
                    </a:cubicBezTo>
                    <a:cubicBezTo>
                      <a:pt x="213017" y="316839"/>
                      <a:pt x="178791" y="351192"/>
                      <a:pt x="136944" y="351192"/>
                    </a:cubicBezTo>
                    <a:moveTo>
                      <a:pt x="228244" y="236677"/>
                    </a:moveTo>
                    <a:lnTo>
                      <a:pt x="251066" y="221399"/>
                    </a:lnTo>
                    <a:lnTo>
                      <a:pt x="235852" y="198501"/>
                    </a:lnTo>
                    <a:lnTo>
                      <a:pt x="209220" y="206134"/>
                    </a:lnTo>
                    <a:cubicBezTo>
                      <a:pt x="205410" y="202324"/>
                      <a:pt x="201613" y="198501"/>
                      <a:pt x="197802" y="198501"/>
                    </a:cubicBezTo>
                    <a:lnTo>
                      <a:pt x="209220" y="171780"/>
                    </a:lnTo>
                    <a:lnTo>
                      <a:pt x="186398" y="156515"/>
                    </a:lnTo>
                    <a:lnTo>
                      <a:pt x="167373" y="179413"/>
                    </a:lnTo>
                    <a:cubicBezTo>
                      <a:pt x="159766" y="179413"/>
                      <a:pt x="155969" y="175603"/>
                      <a:pt x="152159" y="175603"/>
                    </a:cubicBezTo>
                    <a:lnTo>
                      <a:pt x="144551" y="148882"/>
                    </a:lnTo>
                    <a:lnTo>
                      <a:pt x="117919" y="148882"/>
                    </a:lnTo>
                    <a:lnTo>
                      <a:pt x="114122" y="175603"/>
                    </a:lnTo>
                    <a:cubicBezTo>
                      <a:pt x="110312" y="179413"/>
                      <a:pt x="106515" y="179413"/>
                      <a:pt x="98908" y="179413"/>
                    </a:cubicBezTo>
                    <a:lnTo>
                      <a:pt x="83680" y="160325"/>
                    </a:lnTo>
                    <a:lnTo>
                      <a:pt x="60858" y="171780"/>
                    </a:lnTo>
                    <a:lnTo>
                      <a:pt x="68466" y="198501"/>
                    </a:lnTo>
                    <a:cubicBezTo>
                      <a:pt x="64668" y="202324"/>
                      <a:pt x="60858" y="206134"/>
                      <a:pt x="57061" y="209956"/>
                    </a:cubicBezTo>
                    <a:lnTo>
                      <a:pt x="30429" y="202324"/>
                    </a:lnTo>
                    <a:lnTo>
                      <a:pt x="19025" y="225222"/>
                    </a:lnTo>
                    <a:lnTo>
                      <a:pt x="41847" y="244310"/>
                    </a:lnTo>
                    <a:cubicBezTo>
                      <a:pt x="38037" y="248120"/>
                      <a:pt x="38037" y="251942"/>
                      <a:pt x="38037" y="259574"/>
                    </a:cubicBezTo>
                    <a:lnTo>
                      <a:pt x="11405" y="263397"/>
                    </a:lnTo>
                    <a:lnTo>
                      <a:pt x="11405" y="290118"/>
                    </a:lnTo>
                    <a:lnTo>
                      <a:pt x="38037" y="293928"/>
                    </a:lnTo>
                    <a:cubicBezTo>
                      <a:pt x="38037" y="301560"/>
                      <a:pt x="41847" y="305383"/>
                      <a:pt x="41847" y="309206"/>
                    </a:cubicBezTo>
                    <a:lnTo>
                      <a:pt x="22822" y="328281"/>
                    </a:lnTo>
                    <a:lnTo>
                      <a:pt x="34239" y="351192"/>
                    </a:lnTo>
                    <a:lnTo>
                      <a:pt x="60858" y="339737"/>
                    </a:lnTo>
                    <a:cubicBezTo>
                      <a:pt x="64668" y="343559"/>
                      <a:pt x="68466" y="347369"/>
                      <a:pt x="72276" y="351192"/>
                    </a:cubicBezTo>
                    <a:lnTo>
                      <a:pt x="64668" y="377913"/>
                    </a:lnTo>
                    <a:lnTo>
                      <a:pt x="87490" y="389368"/>
                    </a:lnTo>
                    <a:lnTo>
                      <a:pt x="106515" y="370280"/>
                    </a:lnTo>
                    <a:cubicBezTo>
                      <a:pt x="110312" y="370280"/>
                      <a:pt x="114122" y="370280"/>
                      <a:pt x="117919" y="374090"/>
                    </a:cubicBezTo>
                    <a:lnTo>
                      <a:pt x="125527" y="400811"/>
                    </a:lnTo>
                    <a:lnTo>
                      <a:pt x="152159" y="400811"/>
                    </a:lnTo>
                    <a:lnTo>
                      <a:pt x="155969" y="370280"/>
                    </a:lnTo>
                    <a:cubicBezTo>
                      <a:pt x="159766" y="370280"/>
                      <a:pt x="167373" y="370280"/>
                      <a:pt x="171183" y="366457"/>
                    </a:cubicBezTo>
                    <a:lnTo>
                      <a:pt x="190195" y="389368"/>
                    </a:lnTo>
                    <a:lnTo>
                      <a:pt x="213017" y="374090"/>
                    </a:lnTo>
                    <a:lnTo>
                      <a:pt x="201613" y="347369"/>
                    </a:lnTo>
                    <a:cubicBezTo>
                      <a:pt x="205410" y="343559"/>
                      <a:pt x="209220" y="339737"/>
                      <a:pt x="213017" y="335927"/>
                    </a:cubicBezTo>
                    <a:lnTo>
                      <a:pt x="239649" y="347369"/>
                    </a:lnTo>
                    <a:lnTo>
                      <a:pt x="251066" y="324471"/>
                    </a:lnTo>
                    <a:lnTo>
                      <a:pt x="228244" y="305383"/>
                    </a:lnTo>
                    <a:cubicBezTo>
                      <a:pt x="232042" y="301560"/>
                      <a:pt x="232042" y="293928"/>
                      <a:pt x="232042" y="290118"/>
                    </a:cubicBezTo>
                    <a:lnTo>
                      <a:pt x="262471" y="286295"/>
                    </a:lnTo>
                    <a:lnTo>
                      <a:pt x="262471" y="259574"/>
                    </a:lnTo>
                    <a:lnTo>
                      <a:pt x="232042" y="251942"/>
                    </a:lnTo>
                    <a:cubicBezTo>
                      <a:pt x="232042" y="248120"/>
                      <a:pt x="228244" y="244310"/>
                      <a:pt x="228244" y="236677"/>
                    </a:cubicBezTo>
                    <a:moveTo>
                      <a:pt x="136944" y="316839"/>
                    </a:moveTo>
                    <a:cubicBezTo>
                      <a:pt x="114122" y="316839"/>
                      <a:pt x="95098" y="297750"/>
                      <a:pt x="95098" y="274840"/>
                    </a:cubicBezTo>
                    <a:cubicBezTo>
                      <a:pt x="95098" y="251942"/>
                      <a:pt x="114122" y="232854"/>
                      <a:pt x="136944" y="232854"/>
                    </a:cubicBezTo>
                    <a:cubicBezTo>
                      <a:pt x="159766" y="232854"/>
                      <a:pt x="174981" y="251942"/>
                      <a:pt x="174981" y="274840"/>
                    </a:cubicBezTo>
                    <a:cubicBezTo>
                      <a:pt x="174981" y="297750"/>
                      <a:pt x="159766" y="316839"/>
                      <a:pt x="136944" y="316839"/>
                    </a:cubicBezTo>
                    <a:moveTo>
                      <a:pt x="136944" y="213766"/>
                    </a:moveTo>
                    <a:cubicBezTo>
                      <a:pt x="102705" y="213766"/>
                      <a:pt x="76073" y="240487"/>
                      <a:pt x="76073" y="274840"/>
                    </a:cubicBezTo>
                    <a:cubicBezTo>
                      <a:pt x="76073" y="305383"/>
                      <a:pt x="102705" y="332104"/>
                      <a:pt x="136944" y="332104"/>
                    </a:cubicBezTo>
                    <a:cubicBezTo>
                      <a:pt x="167373" y="332104"/>
                      <a:pt x="194005" y="305383"/>
                      <a:pt x="194005" y="274840"/>
                    </a:cubicBezTo>
                    <a:cubicBezTo>
                      <a:pt x="194005" y="240487"/>
                      <a:pt x="167373" y="213766"/>
                      <a:pt x="136944" y="213766"/>
                    </a:cubicBezTo>
                    <a:moveTo>
                      <a:pt x="95098" y="95440"/>
                    </a:moveTo>
                    <a:cubicBezTo>
                      <a:pt x="102705" y="87795"/>
                      <a:pt x="106515" y="72530"/>
                      <a:pt x="95098" y="61074"/>
                    </a:cubicBezTo>
                    <a:cubicBezTo>
                      <a:pt x="87490" y="49631"/>
                      <a:pt x="72276" y="49631"/>
                      <a:pt x="60858" y="57264"/>
                    </a:cubicBezTo>
                    <a:cubicBezTo>
                      <a:pt x="49454" y="68720"/>
                      <a:pt x="49454" y="83985"/>
                      <a:pt x="60858" y="91618"/>
                    </a:cubicBezTo>
                    <a:cubicBezTo>
                      <a:pt x="68466" y="103073"/>
                      <a:pt x="83680" y="103073"/>
                      <a:pt x="95098" y="95440"/>
                    </a:cubicBezTo>
                    <a:moveTo>
                      <a:pt x="49454" y="41999"/>
                    </a:moveTo>
                    <a:cubicBezTo>
                      <a:pt x="68466" y="26721"/>
                      <a:pt x="95098" y="30543"/>
                      <a:pt x="110312" y="49631"/>
                    </a:cubicBezTo>
                    <a:cubicBezTo>
                      <a:pt x="125527" y="64897"/>
                      <a:pt x="125527" y="95440"/>
                      <a:pt x="106515" y="110706"/>
                    </a:cubicBezTo>
                    <a:cubicBezTo>
                      <a:pt x="87490" y="125971"/>
                      <a:pt x="60858" y="125971"/>
                      <a:pt x="45644" y="106883"/>
                    </a:cubicBezTo>
                    <a:cubicBezTo>
                      <a:pt x="30429" y="87795"/>
                      <a:pt x="30429" y="61074"/>
                      <a:pt x="49454" y="41999"/>
                    </a:cubicBezTo>
                    <a:moveTo>
                      <a:pt x="30429" y="114516"/>
                    </a:moveTo>
                    <a:lnTo>
                      <a:pt x="22822" y="133604"/>
                    </a:lnTo>
                    <a:lnTo>
                      <a:pt x="45644" y="148882"/>
                    </a:lnTo>
                    <a:lnTo>
                      <a:pt x="57061" y="133604"/>
                    </a:lnTo>
                    <a:cubicBezTo>
                      <a:pt x="64668" y="137427"/>
                      <a:pt x="72276" y="137427"/>
                      <a:pt x="79883" y="137427"/>
                    </a:cubicBezTo>
                    <a:lnTo>
                      <a:pt x="87490" y="156515"/>
                    </a:lnTo>
                    <a:lnTo>
                      <a:pt x="110312" y="148882"/>
                    </a:lnTo>
                    <a:lnTo>
                      <a:pt x="110312" y="129794"/>
                    </a:lnTo>
                    <a:cubicBezTo>
                      <a:pt x="114122" y="125971"/>
                      <a:pt x="114122" y="125971"/>
                      <a:pt x="117919" y="122161"/>
                    </a:cubicBezTo>
                    <a:cubicBezTo>
                      <a:pt x="121729" y="122161"/>
                      <a:pt x="121729" y="118338"/>
                      <a:pt x="125527" y="114516"/>
                    </a:cubicBezTo>
                    <a:lnTo>
                      <a:pt x="144551" y="118338"/>
                    </a:lnTo>
                    <a:lnTo>
                      <a:pt x="155969" y="95440"/>
                    </a:lnTo>
                    <a:lnTo>
                      <a:pt x="136944" y="83985"/>
                    </a:lnTo>
                    <a:lnTo>
                      <a:pt x="136944" y="64897"/>
                    </a:lnTo>
                    <a:lnTo>
                      <a:pt x="152159" y="53441"/>
                    </a:lnTo>
                    <a:lnTo>
                      <a:pt x="140741" y="30543"/>
                    </a:lnTo>
                    <a:lnTo>
                      <a:pt x="121729" y="34353"/>
                    </a:lnTo>
                    <a:cubicBezTo>
                      <a:pt x="117919" y="30543"/>
                      <a:pt x="110312" y="26721"/>
                      <a:pt x="106515" y="22911"/>
                    </a:cubicBezTo>
                    <a:lnTo>
                      <a:pt x="106515" y="3823"/>
                    </a:lnTo>
                    <a:lnTo>
                      <a:pt x="79883" y="0"/>
                    </a:lnTo>
                    <a:lnTo>
                      <a:pt x="72276" y="15278"/>
                    </a:lnTo>
                    <a:cubicBezTo>
                      <a:pt x="68466" y="15278"/>
                      <a:pt x="60858" y="19088"/>
                      <a:pt x="53251" y="22911"/>
                    </a:cubicBezTo>
                    <a:lnTo>
                      <a:pt x="38037" y="11455"/>
                    </a:lnTo>
                    <a:lnTo>
                      <a:pt x="19025" y="26721"/>
                    </a:lnTo>
                    <a:lnTo>
                      <a:pt x="26632" y="41999"/>
                    </a:lnTo>
                    <a:cubicBezTo>
                      <a:pt x="22822" y="49631"/>
                      <a:pt x="19025" y="57264"/>
                      <a:pt x="19025" y="64897"/>
                    </a:cubicBezTo>
                    <a:lnTo>
                      <a:pt x="0" y="68720"/>
                    </a:lnTo>
                    <a:lnTo>
                      <a:pt x="3797" y="95440"/>
                    </a:lnTo>
                    <a:lnTo>
                      <a:pt x="19025" y="95440"/>
                    </a:lnTo>
                    <a:cubicBezTo>
                      <a:pt x="22822" y="103073"/>
                      <a:pt x="26632" y="110706"/>
                      <a:pt x="30429" y="114516"/>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00" name="Rectangle 435"/>
            <p:cNvSpPr/>
            <p:nvPr/>
          </p:nvSpPr>
          <p:spPr>
            <a:xfrm>
              <a:off x="6336359" y="5306481"/>
              <a:ext cx="450444" cy="153247"/>
            </a:xfrm>
            <a:prstGeom prst="rect">
              <a:avLst/>
            </a:prstGeom>
          </p:spPr>
          <p:txBody>
            <a:bodyPr wrap="none" lIns="0" tIns="0" rIns="0" bIns="0">
              <a:spAutoFit/>
            </a:bodyPr>
            <a:lstStyle/>
            <a:p>
              <a:pPr marL="0" algn="ctr"/>
              <a:r>
                <a:rPr lang="en-US" sz="996" b="1" i="0" spc="-50" baseline="0" dirty="0" smtClean="0">
                  <a:solidFill>
                    <a:srgbClr val="FFFFFF"/>
                  </a:solidFill>
                  <a:latin typeface="EYInterstate-LightBold"/>
                </a:rPr>
                <a:t>Process</a:t>
              </a:r>
              <a:endParaRPr lang="en-US" sz="996" b="1" i="0" spc="0" baseline="0" dirty="0">
                <a:solidFill>
                  <a:srgbClr val="FFFFFF"/>
                </a:solidFill>
                <a:latin typeface="EYInterstate-LightBold"/>
              </a:endParaRPr>
            </a:p>
          </p:txBody>
        </p:sp>
      </p:grpSp>
      <p:grpSp>
        <p:nvGrpSpPr>
          <p:cNvPr id="28" name="Group 27"/>
          <p:cNvGrpSpPr/>
          <p:nvPr/>
        </p:nvGrpSpPr>
        <p:grpSpPr>
          <a:xfrm>
            <a:off x="8101758" y="4108398"/>
            <a:ext cx="804451" cy="1014563"/>
            <a:chOff x="9988397" y="4603676"/>
            <a:chExt cx="804451" cy="1014563"/>
          </a:xfrm>
        </p:grpSpPr>
        <p:grpSp>
          <p:nvGrpSpPr>
            <p:cNvPr id="16" name="Group 15"/>
            <p:cNvGrpSpPr/>
            <p:nvPr/>
          </p:nvGrpSpPr>
          <p:grpSpPr>
            <a:xfrm>
              <a:off x="10056866" y="4603676"/>
              <a:ext cx="667512" cy="669036"/>
              <a:chOff x="9951719" y="4603676"/>
              <a:chExt cx="667512" cy="669036"/>
            </a:xfrm>
          </p:grpSpPr>
          <p:sp>
            <p:nvSpPr>
              <p:cNvPr id="77" name="Freeform 413"/>
              <p:cNvSpPr/>
              <p:nvPr/>
            </p:nvSpPr>
            <p:spPr>
              <a:xfrm>
                <a:off x="9951719" y="4603676"/>
                <a:ext cx="667512" cy="669036"/>
              </a:xfrm>
              <a:custGeom>
                <a:avLst/>
                <a:gdLst/>
                <a:ahLst/>
                <a:cxnLst/>
                <a:rect l="0" t="0" r="0" b="0"/>
                <a:pathLst>
                  <a:path w="667512" h="669036">
                    <a:moveTo>
                      <a:pt x="0" y="334518"/>
                    </a:moveTo>
                    <a:cubicBezTo>
                      <a:pt x="0" y="149772"/>
                      <a:pt x="149428" y="0"/>
                      <a:pt x="333756" y="0"/>
                    </a:cubicBezTo>
                    <a:cubicBezTo>
                      <a:pt x="518083" y="0"/>
                      <a:pt x="667512" y="149772"/>
                      <a:pt x="667512" y="334518"/>
                    </a:cubicBezTo>
                    <a:cubicBezTo>
                      <a:pt x="667512" y="519264"/>
                      <a:pt x="518083" y="669036"/>
                      <a:pt x="333756" y="669036"/>
                    </a:cubicBezTo>
                    <a:cubicBezTo>
                      <a:pt x="149428" y="669036"/>
                      <a:pt x="0" y="519264"/>
                      <a:pt x="0" y="334518"/>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78" name="Freeform 414"/>
              <p:cNvSpPr/>
              <p:nvPr/>
            </p:nvSpPr>
            <p:spPr>
              <a:xfrm>
                <a:off x="10145268" y="4734740"/>
                <a:ext cx="263652" cy="382524"/>
              </a:xfrm>
              <a:custGeom>
                <a:avLst/>
                <a:gdLst/>
                <a:ahLst/>
                <a:cxnLst/>
                <a:rect l="0" t="0" r="0" b="0"/>
                <a:pathLst>
                  <a:path w="263652" h="382524">
                    <a:moveTo>
                      <a:pt x="0" y="382524"/>
                    </a:moveTo>
                    <a:lnTo>
                      <a:pt x="263652" y="382524"/>
                    </a:lnTo>
                    <a:lnTo>
                      <a:pt x="263652" y="0"/>
                    </a:lnTo>
                    <a:lnTo>
                      <a:pt x="0" y="0"/>
                    </a:lnTo>
                    <a:lnTo>
                      <a:pt x="0" y="382524"/>
                    </a:lnTo>
                    <a:close/>
                    <a:moveTo>
                      <a:pt x="0" y="1"/>
                    </a:moveTo>
                    <a:moveTo>
                      <a:pt x="64414" y="256515"/>
                    </a:moveTo>
                    <a:lnTo>
                      <a:pt x="23964" y="256515"/>
                    </a:lnTo>
                    <a:lnTo>
                      <a:pt x="23964" y="211506"/>
                    </a:lnTo>
                    <a:lnTo>
                      <a:pt x="64414" y="211506"/>
                    </a:lnTo>
                    <a:lnTo>
                      <a:pt x="64414" y="256515"/>
                    </a:lnTo>
                    <a:close/>
                    <a:moveTo>
                      <a:pt x="64414" y="199518"/>
                    </a:moveTo>
                    <a:lnTo>
                      <a:pt x="23964" y="199518"/>
                    </a:lnTo>
                    <a:lnTo>
                      <a:pt x="23964" y="150013"/>
                    </a:lnTo>
                    <a:lnTo>
                      <a:pt x="64414" y="150013"/>
                    </a:lnTo>
                    <a:lnTo>
                      <a:pt x="64414" y="199518"/>
                    </a:lnTo>
                    <a:close/>
                    <a:moveTo>
                      <a:pt x="64414" y="133503"/>
                    </a:moveTo>
                    <a:lnTo>
                      <a:pt x="23964" y="133503"/>
                    </a:lnTo>
                    <a:lnTo>
                      <a:pt x="23964" y="88494"/>
                    </a:lnTo>
                    <a:lnTo>
                      <a:pt x="64414" y="88494"/>
                    </a:lnTo>
                    <a:lnTo>
                      <a:pt x="64414" y="133503"/>
                    </a:lnTo>
                    <a:close/>
                    <a:moveTo>
                      <a:pt x="64414" y="73508"/>
                    </a:moveTo>
                    <a:lnTo>
                      <a:pt x="23964" y="73508"/>
                    </a:lnTo>
                    <a:lnTo>
                      <a:pt x="23964" y="28499"/>
                    </a:lnTo>
                    <a:lnTo>
                      <a:pt x="64414" y="28499"/>
                    </a:lnTo>
                    <a:lnTo>
                      <a:pt x="64414" y="73508"/>
                    </a:lnTo>
                    <a:close/>
                    <a:moveTo>
                      <a:pt x="121335" y="256515"/>
                    </a:moveTo>
                    <a:lnTo>
                      <a:pt x="83883" y="256515"/>
                    </a:lnTo>
                    <a:lnTo>
                      <a:pt x="83883" y="211506"/>
                    </a:lnTo>
                    <a:lnTo>
                      <a:pt x="121335" y="211506"/>
                    </a:lnTo>
                    <a:lnTo>
                      <a:pt x="121335" y="256515"/>
                    </a:lnTo>
                    <a:close/>
                    <a:moveTo>
                      <a:pt x="121335" y="199518"/>
                    </a:moveTo>
                    <a:lnTo>
                      <a:pt x="83883" y="199518"/>
                    </a:lnTo>
                    <a:lnTo>
                      <a:pt x="83883" y="150013"/>
                    </a:lnTo>
                    <a:lnTo>
                      <a:pt x="121335" y="150013"/>
                    </a:lnTo>
                    <a:lnTo>
                      <a:pt x="121335" y="199518"/>
                    </a:lnTo>
                    <a:close/>
                    <a:moveTo>
                      <a:pt x="121335" y="133503"/>
                    </a:moveTo>
                    <a:lnTo>
                      <a:pt x="83883" y="133503"/>
                    </a:lnTo>
                    <a:lnTo>
                      <a:pt x="83883" y="88494"/>
                    </a:lnTo>
                    <a:lnTo>
                      <a:pt x="121335" y="88494"/>
                    </a:lnTo>
                    <a:lnTo>
                      <a:pt x="121335" y="133503"/>
                    </a:lnTo>
                    <a:close/>
                    <a:moveTo>
                      <a:pt x="121335" y="73508"/>
                    </a:moveTo>
                    <a:lnTo>
                      <a:pt x="83883" y="73508"/>
                    </a:lnTo>
                    <a:lnTo>
                      <a:pt x="83883" y="28499"/>
                    </a:lnTo>
                    <a:lnTo>
                      <a:pt x="121335" y="28499"/>
                    </a:lnTo>
                    <a:lnTo>
                      <a:pt x="121335" y="73508"/>
                    </a:lnTo>
                    <a:close/>
                    <a:moveTo>
                      <a:pt x="178270" y="256515"/>
                    </a:moveTo>
                    <a:lnTo>
                      <a:pt x="145313" y="256515"/>
                    </a:lnTo>
                    <a:lnTo>
                      <a:pt x="145313" y="211506"/>
                    </a:lnTo>
                    <a:lnTo>
                      <a:pt x="178270" y="211506"/>
                    </a:lnTo>
                    <a:lnTo>
                      <a:pt x="178270" y="256515"/>
                    </a:lnTo>
                    <a:close/>
                    <a:moveTo>
                      <a:pt x="178270" y="199518"/>
                    </a:moveTo>
                    <a:lnTo>
                      <a:pt x="145313" y="199518"/>
                    </a:lnTo>
                    <a:lnTo>
                      <a:pt x="145313" y="150013"/>
                    </a:lnTo>
                    <a:lnTo>
                      <a:pt x="178270" y="150013"/>
                    </a:lnTo>
                    <a:lnTo>
                      <a:pt x="178270" y="199518"/>
                    </a:lnTo>
                    <a:close/>
                    <a:moveTo>
                      <a:pt x="178270" y="133503"/>
                    </a:moveTo>
                    <a:lnTo>
                      <a:pt x="145313" y="133503"/>
                    </a:lnTo>
                    <a:lnTo>
                      <a:pt x="145313" y="88494"/>
                    </a:lnTo>
                    <a:lnTo>
                      <a:pt x="178270" y="88494"/>
                    </a:lnTo>
                    <a:lnTo>
                      <a:pt x="178270" y="133503"/>
                    </a:lnTo>
                    <a:close/>
                    <a:moveTo>
                      <a:pt x="178270" y="73508"/>
                    </a:moveTo>
                    <a:lnTo>
                      <a:pt x="145313" y="73508"/>
                    </a:lnTo>
                    <a:lnTo>
                      <a:pt x="145313" y="28499"/>
                    </a:lnTo>
                    <a:lnTo>
                      <a:pt x="178270" y="28499"/>
                    </a:lnTo>
                    <a:lnTo>
                      <a:pt x="178270" y="73508"/>
                    </a:lnTo>
                    <a:close/>
                    <a:moveTo>
                      <a:pt x="239687" y="256515"/>
                    </a:moveTo>
                    <a:lnTo>
                      <a:pt x="202234" y="256515"/>
                    </a:lnTo>
                    <a:lnTo>
                      <a:pt x="202234" y="211506"/>
                    </a:lnTo>
                    <a:lnTo>
                      <a:pt x="239687" y="211506"/>
                    </a:lnTo>
                    <a:lnTo>
                      <a:pt x="239687" y="256515"/>
                    </a:lnTo>
                    <a:close/>
                    <a:moveTo>
                      <a:pt x="239687" y="199518"/>
                    </a:moveTo>
                    <a:lnTo>
                      <a:pt x="202234" y="199518"/>
                    </a:lnTo>
                    <a:lnTo>
                      <a:pt x="202234" y="150013"/>
                    </a:lnTo>
                    <a:lnTo>
                      <a:pt x="239687" y="150013"/>
                    </a:lnTo>
                    <a:lnTo>
                      <a:pt x="239687" y="199518"/>
                    </a:lnTo>
                    <a:close/>
                    <a:moveTo>
                      <a:pt x="239687" y="133503"/>
                    </a:moveTo>
                    <a:lnTo>
                      <a:pt x="202234" y="133503"/>
                    </a:lnTo>
                    <a:lnTo>
                      <a:pt x="202234" y="88494"/>
                    </a:lnTo>
                    <a:lnTo>
                      <a:pt x="239687" y="88494"/>
                    </a:lnTo>
                    <a:lnTo>
                      <a:pt x="239687" y="133503"/>
                    </a:lnTo>
                    <a:close/>
                    <a:moveTo>
                      <a:pt x="239687" y="73508"/>
                    </a:moveTo>
                    <a:lnTo>
                      <a:pt x="202234" y="73508"/>
                    </a:lnTo>
                    <a:lnTo>
                      <a:pt x="202234" y="28499"/>
                    </a:lnTo>
                    <a:lnTo>
                      <a:pt x="239687" y="28499"/>
                    </a:lnTo>
                    <a:lnTo>
                      <a:pt x="239687" y="73508"/>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02" name="Rectangle 436"/>
            <p:cNvSpPr/>
            <p:nvPr/>
          </p:nvSpPr>
          <p:spPr>
            <a:xfrm>
              <a:off x="9988397" y="5311745"/>
              <a:ext cx="804451" cy="306494"/>
            </a:xfrm>
            <a:prstGeom prst="rect">
              <a:avLst/>
            </a:prstGeom>
          </p:spPr>
          <p:txBody>
            <a:bodyPr wrap="none" lIns="0" tIns="0" rIns="0" bIns="0">
              <a:spAutoFit/>
            </a:bodyPr>
            <a:lstStyle/>
            <a:p>
              <a:pPr marL="94489" algn="ctr"/>
              <a:r>
                <a:rPr lang="en-US" sz="996" b="1" i="0" spc="-52" baseline="0" dirty="0" smtClean="0">
                  <a:solidFill>
                    <a:srgbClr val="FFFFFF"/>
                  </a:solidFill>
                  <a:latin typeface="EYInterstate-LightBold"/>
                </a:rPr>
                <a:t>Physical</a:t>
              </a:r>
            </a:p>
            <a:p>
              <a:pPr marL="94489" algn="ctr"/>
              <a:r>
                <a:rPr lang="en-US" sz="996" b="1" spc="-52" dirty="0" smtClean="0">
                  <a:solidFill>
                    <a:srgbClr val="FFFFFF"/>
                  </a:solidFill>
                  <a:latin typeface="EYInterstate-LightBold"/>
                </a:rPr>
                <a:t>Environment</a:t>
              </a:r>
              <a:endParaRPr lang="en-US" sz="996" b="1" i="0" spc="0" baseline="0" dirty="0">
                <a:solidFill>
                  <a:srgbClr val="FFFFFF"/>
                </a:solidFill>
                <a:latin typeface="EYInterstate-LightBold"/>
              </a:endParaRPr>
            </a:p>
          </p:txBody>
        </p:sp>
      </p:grpSp>
      <p:grpSp>
        <p:nvGrpSpPr>
          <p:cNvPr id="26" name="Group 25"/>
          <p:cNvGrpSpPr/>
          <p:nvPr/>
        </p:nvGrpSpPr>
        <p:grpSpPr>
          <a:xfrm>
            <a:off x="3603398" y="4092356"/>
            <a:ext cx="667512" cy="1014563"/>
            <a:chOff x="8087033" y="4603676"/>
            <a:chExt cx="667512" cy="1014563"/>
          </a:xfrm>
        </p:grpSpPr>
        <p:grpSp>
          <p:nvGrpSpPr>
            <p:cNvPr id="14" name="Group 13"/>
            <p:cNvGrpSpPr/>
            <p:nvPr/>
          </p:nvGrpSpPr>
          <p:grpSpPr>
            <a:xfrm>
              <a:off x="8087033" y="4603676"/>
              <a:ext cx="667512" cy="665986"/>
              <a:chOff x="8087868" y="4603676"/>
              <a:chExt cx="667512" cy="665986"/>
            </a:xfrm>
          </p:grpSpPr>
          <p:sp>
            <p:nvSpPr>
              <p:cNvPr id="67" name="Freeform 403"/>
              <p:cNvSpPr/>
              <p:nvPr/>
            </p:nvSpPr>
            <p:spPr>
              <a:xfrm>
                <a:off x="8087868" y="4603676"/>
                <a:ext cx="667512" cy="665986"/>
              </a:xfrm>
              <a:custGeom>
                <a:avLst/>
                <a:gdLst/>
                <a:ahLst/>
                <a:cxnLst/>
                <a:rect l="0" t="0" r="0" b="0"/>
                <a:pathLst>
                  <a:path w="667512" h="665986">
                    <a:moveTo>
                      <a:pt x="0" y="332993"/>
                    </a:moveTo>
                    <a:cubicBezTo>
                      <a:pt x="0" y="149085"/>
                      <a:pt x="149428" y="0"/>
                      <a:pt x="333756" y="0"/>
                    </a:cubicBezTo>
                    <a:cubicBezTo>
                      <a:pt x="518083" y="0"/>
                      <a:pt x="667512" y="149085"/>
                      <a:pt x="667512" y="332993"/>
                    </a:cubicBezTo>
                    <a:cubicBezTo>
                      <a:pt x="667512" y="516901"/>
                      <a:pt x="518083" y="665986"/>
                      <a:pt x="333756" y="665986"/>
                    </a:cubicBezTo>
                    <a:cubicBezTo>
                      <a:pt x="149428"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68" name="Freeform 404"/>
              <p:cNvSpPr/>
              <p:nvPr/>
            </p:nvSpPr>
            <p:spPr>
              <a:xfrm>
                <a:off x="8218931" y="4724072"/>
                <a:ext cx="394716" cy="396241"/>
              </a:xfrm>
              <a:custGeom>
                <a:avLst/>
                <a:gdLst/>
                <a:ahLst/>
                <a:cxnLst/>
                <a:rect l="0" t="0" r="0" b="0"/>
                <a:pathLst>
                  <a:path w="394716" h="396241">
                    <a:moveTo>
                      <a:pt x="339890" y="355880"/>
                    </a:moveTo>
                    <a:lnTo>
                      <a:pt x="321615" y="355880"/>
                    </a:lnTo>
                    <a:lnTo>
                      <a:pt x="321615" y="396241"/>
                    </a:lnTo>
                    <a:lnTo>
                      <a:pt x="339890" y="396241"/>
                    </a:lnTo>
                    <a:lnTo>
                      <a:pt x="339890" y="355880"/>
                    </a:lnTo>
                    <a:close/>
                    <a:moveTo>
                      <a:pt x="306998" y="355880"/>
                    </a:moveTo>
                    <a:lnTo>
                      <a:pt x="288722" y="355880"/>
                    </a:lnTo>
                    <a:lnTo>
                      <a:pt x="288722" y="396241"/>
                    </a:lnTo>
                    <a:lnTo>
                      <a:pt x="306998" y="396241"/>
                    </a:lnTo>
                    <a:lnTo>
                      <a:pt x="306998" y="355880"/>
                    </a:lnTo>
                    <a:close/>
                    <a:moveTo>
                      <a:pt x="274104" y="355880"/>
                    </a:moveTo>
                    <a:lnTo>
                      <a:pt x="255829" y="355880"/>
                    </a:lnTo>
                    <a:lnTo>
                      <a:pt x="255829" y="396241"/>
                    </a:lnTo>
                    <a:lnTo>
                      <a:pt x="274104" y="396241"/>
                    </a:lnTo>
                    <a:lnTo>
                      <a:pt x="274104" y="355880"/>
                    </a:lnTo>
                    <a:close/>
                    <a:moveTo>
                      <a:pt x="237567" y="355880"/>
                    </a:moveTo>
                    <a:lnTo>
                      <a:pt x="222949" y="355880"/>
                    </a:lnTo>
                    <a:lnTo>
                      <a:pt x="222949" y="396241"/>
                    </a:lnTo>
                    <a:lnTo>
                      <a:pt x="237567" y="396241"/>
                    </a:lnTo>
                    <a:lnTo>
                      <a:pt x="237567" y="355880"/>
                    </a:lnTo>
                    <a:close/>
                    <a:moveTo>
                      <a:pt x="204674" y="355880"/>
                    </a:moveTo>
                    <a:lnTo>
                      <a:pt x="186398" y="355880"/>
                    </a:lnTo>
                    <a:lnTo>
                      <a:pt x="186398" y="396241"/>
                    </a:lnTo>
                    <a:lnTo>
                      <a:pt x="204674" y="396241"/>
                    </a:lnTo>
                    <a:lnTo>
                      <a:pt x="204674" y="355880"/>
                    </a:lnTo>
                    <a:close/>
                    <a:moveTo>
                      <a:pt x="171780" y="355880"/>
                    </a:moveTo>
                    <a:lnTo>
                      <a:pt x="153505" y="355880"/>
                    </a:lnTo>
                    <a:lnTo>
                      <a:pt x="153505" y="396241"/>
                    </a:lnTo>
                    <a:lnTo>
                      <a:pt x="171780" y="396241"/>
                    </a:lnTo>
                    <a:lnTo>
                      <a:pt x="171780" y="355880"/>
                    </a:lnTo>
                    <a:close/>
                    <a:moveTo>
                      <a:pt x="138888" y="355880"/>
                    </a:moveTo>
                    <a:lnTo>
                      <a:pt x="120613" y="355880"/>
                    </a:lnTo>
                    <a:lnTo>
                      <a:pt x="120613" y="396241"/>
                    </a:lnTo>
                    <a:lnTo>
                      <a:pt x="138888" y="396241"/>
                    </a:lnTo>
                    <a:lnTo>
                      <a:pt x="138888" y="355880"/>
                    </a:lnTo>
                    <a:close/>
                    <a:moveTo>
                      <a:pt x="102337" y="355880"/>
                    </a:moveTo>
                    <a:lnTo>
                      <a:pt x="87720" y="355880"/>
                    </a:lnTo>
                    <a:lnTo>
                      <a:pt x="87720" y="396241"/>
                    </a:lnTo>
                    <a:lnTo>
                      <a:pt x="102337" y="396241"/>
                    </a:lnTo>
                    <a:lnTo>
                      <a:pt x="102337" y="355880"/>
                    </a:lnTo>
                    <a:close/>
                    <a:moveTo>
                      <a:pt x="69444" y="355880"/>
                    </a:moveTo>
                    <a:lnTo>
                      <a:pt x="54826" y="355880"/>
                    </a:lnTo>
                    <a:lnTo>
                      <a:pt x="54826" y="396241"/>
                    </a:lnTo>
                    <a:lnTo>
                      <a:pt x="69444" y="396241"/>
                    </a:lnTo>
                    <a:lnTo>
                      <a:pt x="69444" y="355880"/>
                    </a:lnTo>
                    <a:close/>
                    <a:moveTo>
                      <a:pt x="339890" y="0"/>
                    </a:moveTo>
                    <a:lnTo>
                      <a:pt x="321615" y="0"/>
                    </a:lnTo>
                    <a:lnTo>
                      <a:pt x="321615" y="44031"/>
                    </a:lnTo>
                    <a:lnTo>
                      <a:pt x="339890" y="44031"/>
                    </a:lnTo>
                    <a:lnTo>
                      <a:pt x="339890" y="0"/>
                    </a:lnTo>
                    <a:close/>
                    <a:moveTo>
                      <a:pt x="306998" y="0"/>
                    </a:moveTo>
                    <a:lnTo>
                      <a:pt x="288722" y="0"/>
                    </a:lnTo>
                    <a:lnTo>
                      <a:pt x="288722" y="44031"/>
                    </a:lnTo>
                    <a:lnTo>
                      <a:pt x="306998" y="44031"/>
                    </a:lnTo>
                    <a:lnTo>
                      <a:pt x="306998" y="0"/>
                    </a:lnTo>
                    <a:close/>
                    <a:moveTo>
                      <a:pt x="274104" y="0"/>
                    </a:moveTo>
                    <a:lnTo>
                      <a:pt x="255829" y="0"/>
                    </a:lnTo>
                    <a:lnTo>
                      <a:pt x="255829" y="44031"/>
                    </a:lnTo>
                    <a:lnTo>
                      <a:pt x="274104" y="44031"/>
                    </a:lnTo>
                    <a:lnTo>
                      <a:pt x="274104" y="0"/>
                    </a:lnTo>
                    <a:close/>
                    <a:moveTo>
                      <a:pt x="237567" y="0"/>
                    </a:moveTo>
                    <a:lnTo>
                      <a:pt x="222949" y="0"/>
                    </a:lnTo>
                    <a:lnTo>
                      <a:pt x="222949" y="44031"/>
                    </a:lnTo>
                    <a:lnTo>
                      <a:pt x="237567" y="44031"/>
                    </a:lnTo>
                    <a:lnTo>
                      <a:pt x="237567" y="0"/>
                    </a:lnTo>
                    <a:close/>
                    <a:moveTo>
                      <a:pt x="204674" y="0"/>
                    </a:moveTo>
                    <a:lnTo>
                      <a:pt x="186398" y="0"/>
                    </a:lnTo>
                    <a:lnTo>
                      <a:pt x="186398" y="44031"/>
                    </a:lnTo>
                    <a:lnTo>
                      <a:pt x="204674" y="44031"/>
                    </a:lnTo>
                    <a:lnTo>
                      <a:pt x="204674" y="0"/>
                    </a:lnTo>
                    <a:close/>
                    <a:moveTo>
                      <a:pt x="171780" y="0"/>
                    </a:moveTo>
                    <a:lnTo>
                      <a:pt x="153505" y="0"/>
                    </a:lnTo>
                    <a:lnTo>
                      <a:pt x="153505" y="44031"/>
                    </a:lnTo>
                    <a:lnTo>
                      <a:pt x="171780" y="44031"/>
                    </a:lnTo>
                    <a:lnTo>
                      <a:pt x="171780" y="0"/>
                    </a:lnTo>
                    <a:close/>
                    <a:moveTo>
                      <a:pt x="138888" y="0"/>
                    </a:moveTo>
                    <a:lnTo>
                      <a:pt x="120613" y="0"/>
                    </a:lnTo>
                    <a:lnTo>
                      <a:pt x="120613" y="44031"/>
                    </a:lnTo>
                    <a:lnTo>
                      <a:pt x="138888" y="44031"/>
                    </a:lnTo>
                    <a:lnTo>
                      <a:pt x="138888" y="0"/>
                    </a:lnTo>
                    <a:close/>
                    <a:moveTo>
                      <a:pt x="102337" y="0"/>
                    </a:moveTo>
                    <a:lnTo>
                      <a:pt x="87720" y="0"/>
                    </a:lnTo>
                    <a:lnTo>
                      <a:pt x="87720" y="44031"/>
                    </a:lnTo>
                    <a:lnTo>
                      <a:pt x="102337" y="44031"/>
                    </a:lnTo>
                    <a:lnTo>
                      <a:pt x="102337" y="0"/>
                    </a:lnTo>
                    <a:close/>
                    <a:moveTo>
                      <a:pt x="69444" y="44031"/>
                    </a:moveTo>
                    <a:lnTo>
                      <a:pt x="54826" y="44031"/>
                    </a:lnTo>
                    <a:lnTo>
                      <a:pt x="54826" y="1"/>
                    </a:lnTo>
                    <a:lnTo>
                      <a:pt x="69444" y="1"/>
                    </a:lnTo>
                    <a:lnTo>
                      <a:pt x="69444" y="44031"/>
                    </a:lnTo>
                    <a:close/>
                    <a:moveTo>
                      <a:pt x="350863" y="73381"/>
                    </a:moveTo>
                    <a:lnTo>
                      <a:pt x="394716" y="73381"/>
                    </a:lnTo>
                    <a:lnTo>
                      <a:pt x="394716" y="55042"/>
                    </a:lnTo>
                    <a:lnTo>
                      <a:pt x="350863" y="55042"/>
                    </a:lnTo>
                    <a:lnTo>
                      <a:pt x="350863" y="73381"/>
                    </a:lnTo>
                    <a:close/>
                    <a:moveTo>
                      <a:pt x="350863" y="106401"/>
                    </a:moveTo>
                    <a:lnTo>
                      <a:pt x="394716" y="106401"/>
                    </a:lnTo>
                    <a:lnTo>
                      <a:pt x="394716" y="88062"/>
                    </a:lnTo>
                    <a:lnTo>
                      <a:pt x="350863" y="88062"/>
                    </a:lnTo>
                    <a:lnTo>
                      <a:pt x="350863" y="106401"/>
                    </a:lnTo>
                    <a:close/>
                    <a:moveTo>
                      <a:pt x="350863" y="139421"/>
                    </a:moveTo>
                    <a:lnTo>
                      <a:pt x="394716" y="139421"/>
                    </a:lnTo>
                    <a:lnTo>
                      <a:pt x="394716" y="124740"/>
                    </a:lnTo>
                    <a:lnTo>
                      <a:pt x="350863" y="124740"/>
                    </a:lnTo>
                    <a:lnTo>
                      <a:pt x="350863" y="139421"/>
                    </a:lnTo>
                    <a:close/>
                    <a:moveTo>
                      <a:pt x="350863" y="172441"/>
                    </a:moveTo>
                    <a:lnTo>
                      <a:pt x="394716" y="172441"/>
                    </a:lnTo>
                    <a:lnTo>
                      <a:pt x="394716" y="157760"/>
                    </a:lnTo>
                    <a:lnTo>
                      <a:pt x="350863" y="157760"/>
                    </a:lnTo>
                    <a:lnTo>
                      <a:pt x="350863" y="172441"/>
                    </a:lnTo>
                    <a:close/>
                    <a:moveTo>
                      <a:pt x="350863" y="209131"/>
                    </a:moveTo>
                    <a:lnTo>
                      <a:pt x="394716" y="209131"/>
                    </a:lnTo>
                    <a:lnTo>
                      <a:pt x="394716" y="190793"/>
                    </a:lnTo>
                    <a:lnTo>
                      <a:pt x="350863" y="190793"/>
                    </a:lnTo>
                    <a:lnTo>
                      <a:pt x="350863" y="209131"/>
                    </a:lnTo>
                    <a:close/>
                    <a:moveTo>
                      <a:pt x="350863" y="242151"/>
                    </a:moveTo>
                    <a:lnTo>
                      <a:pt x="394716" y="242151"/>
                    </a:lnTo>
                    <a:lnTo>
                      <a:pt x="394716" y="223813"/>
                    </a:lnTo>
                    <a:lnTo>
                      <a:pt x="350863" y="223813"/>
                    </a:lnTo>
                    <a:lnTo>
                      <a:pt x="350863" y="242151"/>
                    </a:lnTo>
                    <a:close/>
                    <a:moveTo>
                      <a:pt x="350863" y="275171"/>
                    </a:moveTo>
                    <a:lnTo>
                      <a:pt x="394716" y="275171"/>
                    </a:lnTo>
                    <a:lnTo>
                      <a:pt x="394716" y="260490"/>
                    </a:lnTo>
                    <a:lnTo>
                      <a:pt x="350863" y="260490"/>
                    </a:lnTo>
                    <a:lnTo>
                      <a:pt x="350863" y="275171"/>
                    </a:lnTo>
                    <a:close/>
                    <a:moveTo>
                      <a:pt x="350863" y="308191"/>
                    </a:moveTo>
                    <a:lnTo>
                      <a:pt x="394716" y="308191"/>
                    </a:lnTo>
                    <a:lnTo>
                      <a:pt x="394716" y="293510"/>
                    </a:lnTo>
                    <a:lnTo>
                      <a:pt x="350863" y="293510"/>
                    </a:lnTo>
                    <a:lnTo>
                      <a:pt x="350863" y="308191"/>
                    </a:lnTo>
                    <a:close/>
                    <a:moveTo>
                      <a:pt x="350863" y="344882"/>
                    </a:moveTo>
                    <a:lnTo>
                      <a:pt x="394716" y="344882"/>
                    </a:lnTo>
                    <a:lnTo>
                      <a:pt x="394716" y="326543"/>
                    </a:lnTo>
                    <a:lnTo>
                      <a:pt x="350863" y="326543"/>
                    </a:lnTo>
                    <a:lnTo>
                      <a:pt x="350863" y="344882"/>
                    </a:lnTo>
                    <a:close/>
                    <a:moveTo>
                      <a:pt x="0" y="73381"/>
                    </a:moveTo>
                    <a:lnTo>
                      <a:pt x="43853" y="73381"/>
                    </a:lnTo>
                    <a:lnTo>
                      <a:pt x="43853" y="55042"/>
                    </a:lnTo>
                    <a:lnTo>
                      <a:pt x="0" y="55042"/>
                    </a:lnTo>
                    <a:lnTo>
                      <a:pt x="0" y="73381"/>
                    </a:lnTo>
                    <a:close/>
                    <a:moveTo>
                      <a:pt x="0" y="106401"/>
                    </a:moveTo>
                    <a:lnTo>
                      <a:pt x="43853" y="106401"/>
                    </a:lnTo>
                    <a:lnTo>
                      <a:pt x="43853" y="88062"/>
                    </a:lnTo>
                    <a:lnTo>
                      <a:pt x="0" y="88062"/>
                    </a:lnTo>
                    <a:lnTo>
                      <a:pt x="0" y="106401"/>
                    </a:lnTo>
                    <a:close/>
                    <a:moveTo>
                      <a:pt x="0" y="139421"/>
                    </a:moveTo>
                    <a:lnTo>
                      <a:pt x="43853" y="139421"/>
                    </a:lnTo>
                    <a:lnTo>
                      <a:pt x="43853" y="124740"/>
                    </a:lnTo>
                    <a:lnTo>
                      <a:pt x="0" y="124740"/>
                    </a:lnTo>
                    <a:lnTo>
                      <a:pt x="0" y="139421"/>
                    </a:lnTo>
                    <a:close/>
                    <a:moveTo>
                      <a:pt x="0" y="172441"/>
                    </a:moveTo>
                    <a:lnTo>
                      <a:pt x="43853" y="172441"/>
                    </a:lnTo>
                    <a:lnTo>
                      <a:pt x="43853" y="157760"/>
                    </a:lnTo>
                    <a:lnTo>
                      <a:pt x="0" y="157760"/>
                    </a:lnTo>
                    <a:lnTo>
                      <a:pt x="0" y="172441"/>
                    </a:lnTo>
                    <a:close/>
                    <a:moveTo>
                      <a:pt x="0" y="209131"/>
                    </a:moveTo>
                    <a:lnTo>
                      <a:pt x="43853" y="209131"/>
                    </a:lnTo>
                    <a:lnTo>
                      <a:pt x="43853" y="190793"/>
                    </a:lnTo>
                    <a:lnTo>
                      <a:pt x="0" y="190793"/>
                    </a:lnTo>
                    <a:lnTo>
                      <a:pt x="0" y="209131"/>
                    </a:lnTo>
                    <a:close/>
                    <a:moveTo>
                      <a:pt x="0" y="242151"/>
                    </a:moveTo>
                    <a:lnTo>
                      <a:pt x="43853" y="242151"/>
                    </a:lnTo>
                    <a:lnTo>
                      <a:pt x="43853" y="223813"/>
                    </a:lnTo>
                    <a:lnTo>
                      <a:pt x="0" y="223813"/>
                    </a:lnTo>
                    <a:lnTo>
                      <a:pt x="0" y="242151"/>
                    </a:lnTo>
                    <a:close/>
                    <a:moveTo>
                      <a:pt x="0" y="275171"/>
                    </a:moveTo>
                    <a:lnTo>
                      <a:pt x="43853" y="275171"/>
                    </a:lnTo>
                    <a:lnTo>
                      <a:pt x="43853" y="260490"/>
                    </a:lnTo>
                    <a:lnTo>
                      <a:pt x="0" y="260490"/>
                    </a:lnTo>
                    <a:lnTo>
                      <a:pt x="0" y="275171"/>
                    </a:lnTo>
                    <a:close/>
                    <a:moveTo>
                      <a:pt x="0" y="308191"/>
                    </a:moveTo>
                    <a:lnTo>
                      <a:pt x="43853" y="308191"/>
                    </a:lnTo>
                    <a:lnTo>
                      <a:pt x="43853" y="293510"/>
                    </a:lnTo>
                    <a:lnTo>
                      <a:pt x="0" y="293510"/>
                    </a:lnTo>
                    <a:lnTo>
                      <a:pt x="0" y="308191"/>
                    </a:lnTo>
                    <a:close/>
                    <a:moveTo>
                      <a:pt x="43853" y="344882"/>
                    </a:moveTo>
                    <a:lnTo>
                      <a:pt x="0" y="344882"/>
                    </a:lnTo>
                    <a:lnTo>
                      <a:pt x="0" y="326543"/>
                    </a:lnTo>
                    <a:lnTo>
                      <a:pt x="43853" y="326543"/>
                    </a:lnTo>
                    <a:lnTo>
                      <a:pt x="43853" y="344882"/>
                    </a:lnTo>
                    <a:close/>
                    <a:moveTo>
                      <a:pt x="131573" y="135751"/>
                    </a:moveTo>
                    <a:lnTo>
                      <a:pt x="259487" y="135751"/>
                    </a:lnTo>
                    <a:lnTo>
                      <a:pt x="259487" y="172441"/>
                    </a:lnTo>
                    <a:cubicBezTo>
                      <a:pt x="252185" y="190780"/>
                      <a:pt x="230251" y="216459"/>
                      <a:pt x="197359" y="209131"/>
                    </a:cubicBezTo>
                    <a:cubicBezTo>
                      <a:pt x="164465" y="205461"/>
                      <a:pt x="142533" y="216459"/>
                      <a:pt x="131573" y="227470"/>
                    </a:cubicBezTo>
                    <a:close/>
                    <a:moveTo>
                      <a:pt x="116955" y="282499"/>
                    </a:moveTo>
                    <a:lnTo>
                      <a:pt x="277762" y="282499"/>
                    </a:lnTo>
                    <a:lnTo>
                      <a:pt x="277762" y="117399"/>
                    </a:lnTo>
                    <a:lnTo>
                      <a:pt x="116955" y="117399"/>
                    </a:lnTo>
                    <a:lnTo>
                      <a:pt x="116955" y="282499"/>
                    </a:lnTo>
                    <a:close/>
                    <a:moveTo>
                      <a:pt x="69444" y="330200"/>
                    </a:moveTo>
                    <a:lnTo>
                      <a:pt x="325273" y="330200"/>
                    </a:lnTo>
                    <a:lnTo>
                      <a:pt x="325273" y="69711"/>
                    </a:lnTo>
                    <a:lnTo>
                      <a:pt x="69444" y="69711"/>
                    </a:lnTo>
                    <a:lnTo>
                      <a:pt x="69444" y="330200"/>
                    </a:lnTo>
                    <a:close/>
                    <a:moveTo>
                      <a:pt x="343548" y="344882"/>
                    </a:moveTo>
                    <a:lnTo>
                      <a:pt x="51169" y="344882"/>
                    </a:lnTo>
                    <a:lnTo>
                      <a:pt x="51169" y="55042"/>
                    </a:lnTo>
                    <a:lnTo>
                      <a:pt x="343548" y="55042"/>
                    </a:lnTo>
                    <a:lnTo>
                      <a:pt x="343548" y="344882"/>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03" name="Rectangle 435"/>
            <p:cNvSpPr/>
            <p:nvPr/>
          </p:nvSpPr>
          <p:spPr>
            <a:xfrm>
              <a:off x="8090699" y="5311745"/>
              <a:ext cx="660181" cy="306494"/>
            </a:xfrm>
            <a:prstGeom prst="rect">
              <a:avLst/>
            </a:prstGeom>
          </p:spPr>
          <p:txBody>
            <a:bodyPr wrap="none" lIns="0" tIns="0" rIns="0" bIns="0">
              <a:spAutoFit/>
            </a:bodyPr>
            <a:lstStyle/>
            <a:p>
              <a:pPr algn="ctr"/>
              <a:r>
                <a:rPr lang="en-US" sz="996" b="1" spc="-52" dirty="0" smtClean="0">
                  <a:solidFill>
                    <a:srgbClr val="FFFFFF"/>
                  </a:solidFill>
                  <a:latin typeface="EYInterstate-LightBold"/>
                </a:rPr>
                <a:t>T</a:t>
              </a:r>
              <a:r>
                <a:rPr lang="en-US" sz="996" b="1" spc="-47" dirty="0" smtClean="0">
                  <a:solidFill>
                    <a:srgbClr val="FFFFFF"/>
                  </a:solidFill>
                  <a:latin typeface="EYInterstate-LightBold"/>
                </a:rPr>
                <a:t>e</a:t>
              </a:r>
              <a:r>
                <a:rPr lang="en-US" sz="996" b="1" spc="-51" dirty="0" smtClean="0">
                  <a:solidFill>
                    <a:srgbClr val="FFFFFF"/>
                  </a:solidFill>
                  <a:latin typeface="EYInterstate-LightBold"/>
                </a:rPr>
                <a:t>chno</a:t>
              </a:r>
              <a:r>
                <a:rPr lang="en-US" sz="996" b="1" spc="-47" dirty="0" smtClean="0">
                  <a:solidFill>
                    <a:srgbClr val="FFFFFF"/>
                  </a:solidFill>
                  <a:latin typeface="EYInterstate-LightBold"/>
                </a:rPr>
                <a:t>l</a:t>
              </a:r>
              <a:r>
                <a:rPr lang="en-US" sz="996" b="1" spc="-51" dirty="0" smtClean="0">
                  <a:solidFill>
                    <a:srgbClr val="FFFFFF"/>
                  </a:solidFill>
                  <a:latin typeface="EYInterstate-LightBold"/>
                </a:rPr>
                <a:t>og</a:t>
              </a:r>
              <a:r>
                <a:rPr lang="en-US" sz="996" b="1" dirty="0" smtClean="0">
                  <a:solidFill>
                    <a:srgbClr val="FFFFFF"/>
                  </a:solidFill>
                  <a:latin typeface="EYInterstate-LightBold"/>
                </a:rPr>
                <a:t>y</a:t>
              </a:r>
            </a:p>
            <a:p>
              <a:pPr algn="ctr"/>
              <a:r>
                <a:rPr lang="en-US" sz="996" b="1" i="0" spc="0" baseline="0" dirty="0" smtClean="0">
                  <a:solidFill>
                    <a:srgbClr val="FFFFFF"/>
                  </a:solidFill>
                  <a:latin typeface="EYInterstate-LightBold"/>
                </a:rPr>
                <a:t>experience</a:t>
              </a:r>
              <a:endParaRPr lang="en-US" sz="996" b="1" i="0" spc="0" baseline="0" dirty="0">
                <a:solidFill>
                  <a:srgbClr val="FFFFFF"/>
                </a:solidFill>
                <a:latin typeface="EYInterstate-LightBold"/>
              </a:endParaRPr>
            </a:p>
          </p:txBody>
        </p:sp>
      </p:grpSp>
      <p:grpSp>
        <p:nvGrpSpPr>
          <p:cNvPr id="23" name="Group 22"/>
          <p:cNvGrpSpPr/>
          <p:nvPr/>
        </p:nvGrpSpPr>
        <p:grpSpPr>
          <a:xfrm>
            <a:off x="6971396" y="5175184"/>
            <a:ext cx="665987" cy="856051"/>
            <a:chOff x="5291778" y="4603677"/>
            <a:chExt cx="665987" cy="856051"/>
          </a:xfrm>
        </p:grpSpPr>
        <p:grpSp>
          <p:nvGrpSpPr>
            <p:cNvPr id="11" name="Group 10"/>
            <p:cNvGrpSpPr/>
            <p:nvPr/>
          </p:nvGrpSpPr>
          <p:grpSpPr>
            <a:xfrm>
              <a:off x="5291778" y="4603677"/>
              <a:ext cx="665987" cy="667512"/>
              <a:chOff x="5298947" y="4603677"/>
              <a:chExt cx="665987" cy="667512"/>
            </a:xfrm>
          </p:grpSpPr>
          <p:sp>
            <p:nvSpPr>
              <p:cNvPr id="73" name="Freeform 409"/>
              <p:cNvSpPr/>
              <p:nvPr/>
            </p:nvSpPr>
            <p:spPr>
              <a:xfrm>
                <a:off x="5298947" y="4603677"/>
                <a:ext cx="665987" cy="667512"/>
              </a:xfrm>
              <a:custGeom>
                <a:avLst/>
                <a:gdLst/>
                <a:ahLst/>
                <a:cxnLst/>
                <a:rect l="0" t="0" r="0" b="0"/>
                <a:pathLst>
                  <a:path w="665987" h="667512">
                    <a:moveTo>
                      <a:pt x="0" y="333756"/>
                    </a:moveTo>
                    <a:cubicBezTo>
                      <a:pt x="0" y="149429"/>
                      <a:pt x="149085" y="0"/>
                      <a:pt x="332993" y="0"/>
                    </a:cubicBezTo>
                    <a:cubicBezTo>
                      <a:pt x="516902" y="0"/>
                      <a:pt x="665987" y="149429"/>
                      <a:pt x="665987" y="333756"/>
                    </a:cubicBezTo>
                    <a:cubicBezTo>
                      <a:pt x="665987" y="518083"/>
                      <a:pt x="516902" y="667512"/>
                      <a:pt x="332993" y="667512"/>
                    </a:cubicBezTo>
                    <a:cubicBezTo>
                      <a:pt x="149085" y="667512"/>
                      <a:pt x="0" y="518083"/>
                      <a:pt x="0" y="333756"/>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74" name="Freeform 410"/>
              <p:cNvSpPr/>
              <p:nvPr/>
            </p:nvSpPr>
            <p:spPr>
              <a:xfrm>
                <a:off x="5451353" y="4736265"/>
                <a:ext cx="347472" cy="377951"/>
              </a:xfrm>
              <a:custGeom>
                <a:avLst/>
                <a:gdLst/>
                <a:ahLst/>
                <a:cxnLst/>
                <a:rect l="0" t="0" r="0" b="0"/>
                <a:pathLst>
                  <a:path w="347472" h="377951">
                    <a:moveTo>
                      <a:pt x="222377" y="94488"/>
                    </a:moveTo>
                    <a:cubicBezTo>
                      <a:pt x="218898" y="97993"/>
                      <a:pt x="218898" y="97993"/>
                      <a:pt x="218898" y="101485"/>
                    </a:cubicBezTo>
                    <a:lnTo>
                      <a:pt x="218898" y="94488"/>
                    </a:lnTo>
                    <a:close/>
                    <a:moveTo>
                      <a:pt x="218898" y="45492"/>
                    </a:moveTo>
                    <a:lnTo>
                      <a:pt x="218898" y="38494"/>
                    </a:lnTo>
                    <a:cubicBezTo>
                      <a:pt x="218898" y="41999"/>
                      <a:pt x="215431" y="41999"/>
                      <a:pt x="215431" y="45492"/>
                    </a:cubicBezTo>
                    <a:close/>
                    <a:moveTo>
                      <a:pt x="218898" y="150482"/>
                    </a:moveTo>
                    <a:lnTo>
                      <a:pt x="218898" y="132981"/>
                    </a:lnTo>
                    <a:cubicBezTo>
                      <a:pt x="215431" y="132981"/>
                      <a:pt x="215431" y="136486"/>
                      <a:pt x="211951" y="136486"/>
                    </a:cubicBezTo>
                    <a:cubicBezTo>
                      <a:pt x="211951" y="139979"/>
                      <a:pt x="215431" y="146977"/>
                      <a:pt x="218898" y="150482"/>
                    </a:cubicBezTo>
                    <a:moveTo>
                      <a:pt x="218898" y="339458"/>
                    </a:moveTo>
                    <a:lnTo>
                      <a:pt x="218898" y="332460"/>
                    </a:lnTo>
                    <a:cubicBezTo>
                      <a:pt x="218898" y="335953"/>
                      <a:pt x="215431" y="335953"/>
                      <a:pt x="215431" y="335953"/>
                    </a:cubicBezTo>
                    <a:cubicBezTo>
                      <a:pt x="215431" y="339458"/>
                      <a:pt x="218898" y="339458"/>
                      <a:pt x="218898" y="339458"/>
                    </a:cubicBezTo>
                    <a:moveTo>
                      <a:pt x="218898" y="279958"/>
                    </a:moveTo>
                    <a:lnTo>
                      <a:pt x="218898" y="286969"/>
                    </a:lnTo>
                    <a:lnTo>
                      <a:pt x="222377" y="283464"/>
                    </a:lnTo>
                    <a:cubicBezTo>
                      <a:pt x="218898" y="283464"/>
                      <a:pt x="218898" y="283464"/>
                      <a:pt x="218898" y="279958"/>
                    </a:cubicBezTo>
                    <a:moveTo>
                      <a:pt x="319671" y="234467"/>
                    </a:moveTo>
                    <a:cubicBezTo>
                      <a:pt x="337045" y="223977"/>
                      <a:pt x="347472" y="209969"/>
                      <a:pt x="347472" y="188976"/>
                    </a:cubicBezTo>
                    <a:cubicBezTo>
                      <a:pt x="347472" y="171475"/>
                      <a:pt x="337045" y="153974"/>
                      <a:pt x="323138" y="143484"/>
                    </a:cubicBezTo>
                    <a:cubicBezTo>
                      <a:pt x="330098" y="136486"/>
                      <a:pt x="333565" y="125984"/>
                      <a:pt x="333565" y="115481"/>
                    </a:cubicBezTo>
                    <a:cubicBezTo>
                      <a:pt x="333565" y="94488"/>
                      <a:pt x="319671" y="73495"/>
                      <a:pt x="298818" y="66498"/>
                    </a:cubicBezTo>
                    <a:lnTo>
                      <a:pt x="295351" y="66498"/>
                    </a:lnTo>
                    <a:cubicBezTo>
                      <a:pt x="295351" y="45492"/>
                      <a:pt x="281444" y="27991"/>
                      <a:pt x="260603" y="24499"/>
                    </a:cubicBezTo>
                    <a:cubicBezTo>
                      <a:pt x="253644" y="24499"/>
                      <a:pt x="243230" y="24499"/>
                      <a:pt x="236270" y="27991"/>
                    </a:cubicBezTo>
                    <a:cubicBezTo>
                      <a:pt x="232803" y="17501"/>
                      <a:pt x="225856" y="10503"/>
                      <a:pt x="218898" y="3506"/>
                    </a:cubicBezTo>
                    <a:lnTo>
                      <a:pt x="218898" y="20994"/>
                    </a:lnTo>
                    <a:cubicBezTo>
                      <a:pt x="222377" y="24499"/>
                      <a:pt x="222377" y="27991"/>
                      <a:pt x="225856" y="31496"/>
                    </a:cubicBezTo>
                    <a:lnTo>
                      <a:pt x="225856" y="35002"/>
                    </a:lnTo>
                    <a:cubicBezTo>
                      <a:pt x="222377" y="35002"/>
                      <a:pt x="218898" y="38494"/>
                      <a:pt x="218898" y="38494"/>
                    </a:cubicBezTo>
                    <a:lnTo>
                      <a:pt x="218898" y="45492"/>
                    </a:lnTo>
                    <a:cubicBezTo>
                      <a:pt x="222377" y="48997"/>
                      <a:pt x="222377" y="48997"/>
                      <a:pt x="225856" y="52490"/>
                    </a:cubicBezTo>
                    <a:cubicBezTo>
                      <a:pt x="236270" y="38494"/>
                      <a:pt x="246697" y="35002"/>
                      <a:pt x="264071" y="38494"/>
                    </a:cubicBezTo>
                    <a:cubicBezTo>
                      <a:pt x="274497" y="45492"/>
                      <a:pt x="281444" y="52490"/>
                      <a:pt x="284924" y="66498"/>
                    </a:cubicBezTo>
                    <a:lnTo>
                      <a:pt x="274497" y="66498"/>
                    </a:lnTo>
                    <a:cubicBezTo>
                      <a:pt x="267550" y="66498"/>
                      <a:pt x="260603" y="69990"/>
                      <a:pt x="257124" y="73495"/>
                    </a:cubicBezTo>
                    <a:lnTo>
                      <a:pt x="253644" y="73495"/>
                    </a:lnTo>
                    <a:cubicBezTo>
                      <a:pt x="246697" y="69990"/>
                      <a:pt x="236270" y="66498"/>
                      <a:pt x="229323" y="69990"/>
                    </a:cubicBezTo>
                    <a:lnTo>
                      <a:pt x="225856" y="69990"/>
                    </a:lnTo>
                    <a:cubicBezTo>
                      <a:pt x="229323" y="73495"/>
                      <a:pt x="229323" y="76988"/>
                      <a:pt x="229323" y="83986"/>
                    </a:cubicBezTo>
                    <a:cubicBezTo>
                      <a:pt x="239750" y="80493"/>
                      <a:pt x="246697" y="80493"/>
                      <a:pt x="253644" y="87491"/>
                    </a:cubicBezTo>
                    <a:cubicBezTo>
                      <a:pt x="260603" y="94488"/>
                      <a:pt x="260603" y="104990"/>
                      <a:pt x="257124" y="111988"/>
                    </a:cubicBezTo>
                    <a:cubicBezTo>
                      <a:pt x="264071" y="115481"/>
                      <a:pt x="267550" y="115481"/>
                      <a:pt x="271017" y="118986"/>
                    </a:cubicBezTo>
                    <a:cubicBezTo>
                      <a:pt x="274497" y="104990"/>
                      <a:pt x="271017" y="94488"/>
                      <a:pt x="264071" y="83986"/>
                    </a:cubicBezTo>
                    <a:cubicBezTo>
                      <a:pt x="267550" y="80493"/>
                      <a:pt x="271017" y="80493"/>
                      <a:pt x="274497" y="76988"/>
                    </a:cubicBezTo>
                    <a:cubicBezTo>
                      <a:pt x="295351" y="73495"/>
                      <a:pt x="316191" y="87491"/>
                      <a:pt x="319671" y="108483"/>
                    </a:cubicBezTo>
                    <a:cubicBezTo>
                      <a:pt x="319671" y="118986"/>
                      <a:pt x="319671" y="129489"/>
                      <a:pt x="312724" y="139979"/>
                    </a:cubicBezTo>
                    <a:lnTo>
                      <a:pt x="309245" y="139979"/>
                    </a:lnTo>
                    <a:cubicBezTo>
                      <a:pt x="298818" y="136486"/>
                      <a:pt x="288391" y="139979"/>
                      <a:pt x="277977" y="143484"/>
                    </a:cubicBezTo>
                    <a:cubicBezTo>
                      <a:pt x="274497" y="143484"/>
                      <a:pt x="271017" y="146977"/>
                      <a:pt x="267550" y="150482"/>
                    </a:cubicBezTo>
                    <a:cubicBezTo>
                      <a:pt x="264071" y="153974"/>
                      <a:pt x="257124" y="153974"/>
                      <a:pt x="250177" y="153974"/>
                    </a:cubicBezTo>
                    <a:cubicBezTo>
                      <a:pt x="239750" y="153974"/>
                      <a:pt x="229323" y="146977"/>
                      <a:pt x="225856" y="132981"/>
                    </a:cubicBezTo>
                    <a:lnTo>
                      <a:pt x="222377" y="132981"/>
                    </a:lnTo>
                    <a:lnTo>
                      <a:pt x="218898" y="132981"/>
                    </a:lnTo>
                    <a:lnTo>
                      <a:pt x="218898" y="150482"/>
                    </a:lnTo>
                    <a:cubicBezTo>
                      <a:pt x="225856" y="160985"/>
                      <a:pt x="236270" y="167982"/>
                      <a:pt x="253644" y="167982"/>
                    </a:cubicBezTo>
                    <a:cubicBezTo>
                      <a:pt x="250177" y="174980"/>
                      <a:pt x="246697" y="181978"/>
                      <a:pt x="246697" y="188976"/>
                    </a:cubicBezTo>
                    <a:lnTo>
                      <a:pt x="260603" y="188976"/>
                    </a:lnTo>
                    <a:cubicBezTo>
                      <a:pt x="260603" y="167982"/>
                      <a:pt x="277977" y="150482"/>
                      <a:pt x="298818" y="150482"/>
                    </a:cubicBezTo>
                    <a:cubicBezTo>
                      <a:pt x="319671" y="150482"/>
                      <a:pt x="333565" y="167982"/>
                      <a:pt x="333565" y="185470"/>
                    </a:cubicBezTo>
                    <a:cubicBezTo>
                      <a:pt x="337045" y="195973"/>
                      <a:pt x="333565" y="206476"/>
                      <a:pt x="323138" y="213474"/>
                    </a:cubicBezTo>
                    <a:cubicBezTo>
                      <a:pt x="316191" y="223977"/>
                      <a:pt x="309245" y="227469"/>
                      <a:pt x="298818" y="227469"/>
                    </a:cubicBezTo>
                    <a:lnTo>
                      <a:pt x="298818" y="237972"/>
                    </a:lnTo>
                    <a:lnTo>
                      <a:pt x="305765" y="237972"/>
                    </a:lnTo>
                    <a:lnTo>
                      <a:pt x="309245" y="237972"/>
                    </a:lnTo>
                    <a:cubicBezTo>
                      <a:pt x="326618" y="258965"/>
                      <a:pt x="323138" y="286969"/>
                      <a:pt x="298818" y="297459"/>
                    </a:cubicBezTo>
                    <a:cubicBezTo>
                      <a:pt x="288391" y="304457"/>
                      <a:pt x="277977" y="304457"/>
                      <a:pt x="264071" y="297459"/>
                    </a:cubicBezTo>
                    <a:cubicBezTo>
                      <a:pt x="271017" y="286969"/>
                      <a:pt x="274497" y="276466"/>
                      <a:pt x="271017" y="262470"/>
                    </a:cubicBezTo>
                    <a:cubicBezTo>
                      <a:pt x="267550" y="265963"/>
                      <a:pt x="264071" y="265963"/>
                      <a:pt x="257124" y="265963"/>
                    </a:cubicBezTo>
                    <a:cubicBezTo>
                      <a:pt x="260603" y="276466"/>
                      <a:pt x="260603" y="283464"/>
                      <a:pt x="253644" y="290461"/>
                    </a:cubicBezTo>
                    <a:cubicBezTo>
                      <a:pt x="246697" y="297459"/>
                      <a:pt x="239750" y="300964"/>
                      <a:pt x="229323" y="297459"/>
                    </a:cubicBezTo>
                    <a:cubicBezTo>
                      <a:pt x="229323" y="300964"/>
                      <a:pt x="229323" y="304457"/>
                      <a:pt x="225856" y="307962"/>
                    </a:cubicBezTo>
                    <a:cubicBezTo>
                      <a:pt x="229323" y="311454"/>
                      <a:pt x="232803" y="311454"/>
                      <a:pt x="239750" y="311454"/>
                    </a:cubicBezTo>
                    <a:cubicBezTo>
                      <a:pt x="243230" y="311454"/>
                      <a:pt x="250177" y="307962"/>
                      <a:pt x="253644" y="307962"/>
                    </a:cubicBezTo>
                    <a:lnTo>
                      <a:pt x="257124" y="307962"/>
                    </a:lnTo>
                    <a:cubicBezTo>
                      <a:pt x="264071" y="311454"/>
                      <a:pt x="274497" y="314960"/>
                      <a:pt x="284924" y="314960"/>
                    </a:cubicBezTo>
                    <a:cubicBezTo>
                      <a:pt x="284924" y="325462"/>
                      <a:pt x="274497" y="335953"/>
                      <a:pt x="264071" y="339458"/>
                    </a:cubicBezTo>
                    <a:cubicBezTo>
                      <a:pt x="250177" y="346456"/>
                      <a:pt x="232803" y="342950"/>
                      <a:pt x="225856" y="328955"/>
                    </a:cubicBezTo>
                    <a:cubicBezTo>
                      <a:pt x="222377" y="328955"/>
                      <a:pt x="222377" y="332460"/>
                      <a:pt x="218898" y="332460"/>
                    </a:cubicBezTo>
                    <a:lnTo>
                      <a:pt x="218898" y="339458"/>
                    </a:lnTo>
                    <a:cubicBezTo>
                      <a:pt x="218898" y="342950"/>
                      <a:pt x="222377" y="342950"/>
                      <a:pt x="222377" y="346456"/>
                    </a:cubicBezTo>
                    <a:cubicBezTo>
                      <a:pt x="225856" y="346456"/>
                      <a:pt x="225856" y="346456"/>
                      <a:pt x="225856" y="349961"/>
                    </a:cubicBezTo>
                    <a:cubicBezTo>
                      <a:pt x="222377" y="353453"/>
                      <a:pt x="222377" y="356958"/>
                      <a:pt x="218898" y="360451"/>
                    </a:cubicBezTo>
                    <a:lnTo>
                      <a:pt x="218898" y="374446"/>
                    </a:lnTo>
                    <a:cubicBezTo>
                      <a:pt x="225856" y="370954"/>
                      <a:pt x="232803" y="363956"/>
                      <a:pt x="236270" y="353453"/>
                    </a:cubicBezTo>
                    <a:lnTo>
                      <a:pt x="246697" y="353453"/>
                    </a:lnTo>
                    <a:cubicBezTo>
                      <a:pt x="264071" y="356958"/>
                      <a:pt x="284924" y="346456"/>
                      <a:pt x="291871" y="328955"/>
                    </a:cubicBezTo>
                    <a:cubicBezTo>
                      <a:pt x="295351" y="325462"/>
                      <a:pt x="295351" y="318465"/>
                      <a:pt x="295351" y="314960"/>
                    </a:cubicBezTo>
                    <a:cubicBezTo>
                      <a:pt x="295351" y="311454"/>
                      <a:pt x="298818" y="311454"/>
                      <a:pt x="298818" y="311454"/>
                    </a:cubicBezTo>
                    <a:cubicBezTo>
                      <a:pt x="316191" y="304457"/>
                      <a:pt x="330098" y="290461"/>
                      <a:pt x="330098" y="272961"/>
                    </a:cubicBezTo>
                    <a:cubicBezTo>
                      <a:pt x="333565" y="258965"/>
                      <a:pt x="330098" y="244970"/>
                      <a:pt x="323138" y="234467"/>
                    </a:cubicBezTo>
                    <a:close/>
                    <a:moveTo>
                      <a:pt x="218898" y="360451"/>
                    </a:moveTo>
                    <a:lnTo>
                      <a:pt x="218898" y="374446"/>
                    </a:lnTo>
                    <a:cubicBezTo>
                      <a:pt x="215431" y="374446"/>
                      <a:pt x="215431" y="377951"/>
                      <a:pt x="211951" y="377951"/>
                    </a:cubicBezTo>
                    <a:lnTo>
                      <a:pt x="205004" y="377951"/>
                    </a:lnTo>
                    <a:lnTo>
                      <a:pt x="201524" y="377951"/>
                    </a:lnTo>
                    <a:lnTo>
                      <a:pt x="198057" y="377951"/>
                    </a:lnTo>
                    <a:cubicBezTo>
                      <a:pt x="191110" y="377951"/>
                      <a:pt x="187630" y="374446"/>
                      <a:pt x="180683" y="370954"/>
                    </a:cubicBezTo>
                    <a:cubicBezTo>
                      <a:pt x="177204" y="367449"/>
                      <a:pt x="177204" y="367449"/>
                      <a:pt x="173737" y="363956"/>
                    </a:cubicBezTo>
                    <a:cubicBezTo>
                      <a:pt x="166777" y="370954"/>
                      <a:pt x="163310" y="374446"/>
                      <a:pt x="152883" y="377951"/>
                    </a:cubicBezTo>
                    <a:lnTo>
                      <a:pt x="149403" y="377951"/>
                    </a:lnTo>
                    <a:lnTo>
                      <a:pt x="142456" y="377951"/>
                    </a:lnTo>
                    <a:cubicBezTo>
                      <a:pt x="128563" y="377951"/>
                      <a:pt x="118136" y="370954"/>
                      <a:pt x="114656" y="356958"/>
                    </a:cubicBezTo>
                    <a:lnTo>
                      <a:pt x="111189" y="353453"/>
                    </a:lnTo>
                    <a:lnTo>
                      <a:pt x="107709" y="353453"/>
                    </a:lnTo>
                    <a:cubicBezTo>
                      <a:pt x="97282" y="356958"/>
                      <a:pt x="86868" y="356958"/>
                      <a:pt x="76442" y="349961"/>
                    </a:cubicBezTo>
                    <a:cubicBezTo>
                      <a:pt x="62535" y="342950"/>
                      <a:pt x="52121" y="328955"/>
                      <a:pt x="52121" y="314960"/>
                    </a:cubicBezTo>
                    <a:lnTo>
                      <a:pt x="52121" y="311454"/>
                    </a:lnTo>
                    <a:cubicBezTo>
                      <a:pt x="17374" y="300964"/>
                      <a:pt x="6947" y="262470"/>
                      <a:pt x="27788" y="234467"/>
                    </a:cubicBezTo>
                    <a:lnTo>
                      <a:pt x="27788" y="230974"/>
                    </a:lnTo>
                    <a:cubicBezTo>
                      <a:pt x="13894" y="223977"/>
                      <a:pt x="6947" y="213474"/>
                      <a:pt x="3468" y="199478"/>
                    </a:cubicBezTo>
                    <a:cubicBezTo>
                      <a:pt x="3468" y="199478"/>
                      <a:pt x="3468" y="195973"/>
                      <a:pt x="0" y="192481"/>
                    </a:cubicBezTo>
                    <a:lnTo>
                      <a:pt x="0" y="185470"/>
                    </a:lnTo>
                    <a:lnTo>
                      <a:pt x="3468" y="181978"/>
                    </a:lnTo>
                    <a:cubicBezTo>
                      <a:pt x="3468" y="167982"/>
                      <a:pt x="10414" y="153974"/>
                      <a:pt x="24321" y="146977"/>
                    </a:cubicBezTo>
                    <a:lnTo>
                      <a:pt x="27788" y="143484"/>
                    </a:lnTo>
                    <a:lnTo>
                      <a:pt x="24321" y="143484"/>
                    </a:lnTo>
                    <a:cubicBezTo>
                      <a:pt x="17374" y="132981"/>
                      <a:pt x="13894" y="118986"/>
                      <a:pt x="17374" y="104990"/>
                    </a:cubicBezTo>
                    <a:cubicBezTo>
                      <a:pt x="20841" y="87491"/>
                      <a:pt x="31268" y="73495"/>
                      <a:pt x="52121" y="66498"/>
                    </a:cubicBezTo>
                    <a:cubicBezTo>
                      <a:pt x="52121" y="59487"/>
                      <a:pt x="55588" y="55995"/>
                      <a:pt x="55588" y="48997"/>
                    </a:cubicBezTo>
                    <a:cubicBezTo>
                      <a:pt x="66015" y="35002"/>
                      <a:pt x="83389" y="24499"/>
                      <a:pt x="100762" y="24499"/>
                    </a:cubicBezTo>
                    <a:cubicBezTo>
                      <a:pt x="104242" y="24499"/>
                      <a:pt x="107709" y="24499"/>
                      <a:pt x="111189" y="27991"/>
                    </a:cubicBezTo>
                    <a:lnTo>
                      <a:pt x="111189" y="24499"/>
                    </a:lnTo>
                    <a:cubicBezTo>
                      <a:pt x="118136" y="13996"/>
                      <a:pt x="125083" y="6998"/>
                      <a:pt x="138989" y="3506"/>
                    </a:cubicBezTo>
                    <a:lnTo>
                      <a:pt x="142456" y="0"/>
                    </a:lnTo>
                    <a:lnTo>
                      <a:pt x="149403" y="0"/>
                    </a:lnTo>
                    <a:cubicBezTo>
                      <a:pt x="156363" y="3506"/>
                      <a:pt x="163310" y="6998"/>
                      <a:pt x="170257" y="10503"/>
                    </a:cubicBezTo>
                    <a:cubicBezTo>
                      <a:pt x="170257" y="10503"/>
                      <a:pt x="173737" y="13996"/>
                      <a:pt x="173737" y="17501"/>
                    </a:cubicBezTo>
                    <a:lnTo>
                      <a:pt x="173737" y="13996"/>
                    </a:lnTo>
                    <a:cubicBezTo>
                      <a:pt x="180683" y="6998"/>
                      <a:pt x="187630" y="3506"/>
                      <a:pt x="194577" y="3506"/>
                    </a:cubicBezTo>
                    <a:cubicBezTo>
                      <a:pt x="198057" y="3506"/>
                      <a:pt x="198057" y="0"/>
                      <a:pt x="201524" y="0"/>
                    </a:cubicBezTo>
                    <a:lnTo>
                      <a:pt x="205004" y="0"/>
                    </a:lnTo>
                    <a:cubicBezTo>
                      <a:pt x="211951" y="3506"/>
                      <a:pt x="215431" y="3506"/>
                      <a:pt x="218898" y="3506"/>
                    </a:cubicBezTo>
                    <a:lnTo>
                      <a:pt x="218898" y="20994"/>
                    </a:lnTo>
                    <a:cubicBezTo>
                      <a:pt x="215431" y="17501"/>
                      <a:pt x="211951" y="13996"/>
                      <a:pt x="208484" y="13996"/>
                    </a:cubicBezTo>
                    <a:cubicBezTo>
                      <a:pt x="201524" y="10503"/>
                      <a:pt x="191110" y="13996"/>
                      <a:pt x="187630" y="20994"/>
                    </a:cubicBezTo>
                    <a:cubicBezTo>
                      <a:pt x="180683" y="24499"/>
                      <a:pt x="180683" y="31496"/>
                      <a:pt x="180683" y="38494"/>
                    </a:cubicBezTo>
                    <a:lnTo>
                      <a:pt x="180683" y="97993"/>
                    </a:lnTo>
                    <a:cubicBezTo>
                      <a:pt x="194577" y="90983"/>
                      <a:pt x="205004" y="87491"/>
                      <a:pt x="218898" y="94488"/>
                    </a:cubicBezTo>
                    <a:lnTo>
                      <a:pt x="218898" y="101485"/>
                    </a:lnTo>
                    <a:lnTo>
                      <a:pt x="215431" y="104990"/>
                    </a:lnTo>
                    <a:cubicBezTo>
                      <a:pt x="208484" y="101485"/>
                      <a:pt x="201524" y="101485"/>
                      <a:pt x="194577" y="104990"/>
                    </a:cubicBezTo>
                    <a:cubicBezTo>
                      <a:pt x="184151" y="111988"/>
                      <a:pt x="180683" y="115481"/>
                      <a:pt x="180683" y="125984"/>
                    </a:cubicBezTo>
                    <a:lnTo>
                      <a:pt x="180683" y="255473"/>
                    </a:lnTo>
                    <a:cubicBezTo>
                      <a:pt x="184151" y="269468"/>
                      <a:pt x="198057" y="279958"/>
                      <a:pt x="211951" y="276466"/>
                    </a:cubicBezTo>
                    <a:cubicBezTo>
                      <a:pt x="211951" y="276466"/>
                      <a:pt x="215431" y="276466"/>
                      <a:pt x="215431" y="272961"/>
                    </a:cubicBezTo>
                    <a:cubicBezTo>
                      <a:pt x="215431" y="276466"/>
                      <a:pt x="218898" y="276466"/>
                      <a:pt x="218898" y="279958"/>
                    </a:cubicBezTo>
                    <a:lnTo>
                      <a:pt x="218898" y="286969"/>
                    </a:lnTo>
                    <a:cubicBezTo>
                      <a:pt x="205004" y="290461"/>
                      <a:pt x="191110" y="290461"/>
                      <a:pt x="180683" y="279958"/>
                    </a:cubicBezTo>
                    <a:lnTo>
                      <a:pt x="180683" y="283464"/>
                    </a:lnTo>
                    <a:lnTo>
                      <a:pt x="180683" y="342950"/>
                    </a:lnTo>
                    <a:lnTo>
                      <a:pt x="180683" y="346456"/>
                    </a:lnTo>
                    <a:cubicBezTo>
                      <a:pt x="180683" y="356958"/>
                      <a:pt x="191110" y="367449"/>
                      <a:pt x="201524" y="367449"/>
                    </a:cubicBezTo>
                    <a:cubicBezTo>
                      <a:pt x="208484" y="367449"/>
                      <a:pt x="215431" y="363956"/>
                      <a:pt x="218898" y="360451"/>
                    </a:cubicBezTo>
                    <a:moveTo>
                      <a:pt x="128563" y="283464"/>
                    </a:moveTo>
                    <a:cubicBezTo>
                      <a:pt x="128563" y="279958"/>
                      <a:pt x="132030" y="276466"/>
                      <a:pt x="132030" y="272961"/>
                    </a:cubicBezTo>
                    <a:cubicBezTo>
                      <a:pt x="135509" y="272961"/>
                      <a:pt x="135509" y="272961"/>
                      <a:pt x="135509" y="276466"/>
                    </a:cubicBezTo>
                    <a:lnTo>
                      <a:pt x="152883" y="276466"/>
                    </a:lnTo>
                    <a:cubicBezTo>
                      <a:pt x="159830" y="272961"/>
                      <a:pt x="166777" y="262470"/>
                      <a:pt x="166777" y="251967"/>
                    </a:cubicBezTo>
                    <a:lnTo>
                      <a:pt x="166777" y="125984"/>
                    </a:lnTo>
                    <a:lnTo>
                      <a:pt x="166777" y="122478"/>
                    </a:lnTo>
                    <a:cubicBezTo>
                      <a:pt x="166777" y="108483"/>
                      <a:pt x="152883" y="101485"/>
                      <a:pt x="142456" y="104990"/>
                    </a:cubicBezTo>
                    <a:lnTo>
                      <a:pt x="132030" y="104990"/>
                    </a:lnTo>
                    <a:cubicBezTo>
                      <a:pt x="132030" y="101485"/>
                      <a:pt x="128563" y="97993"/>
                      <a:pt x="128563" y="94488"/>
                    </a:cubicBezTo>
                    <a:cubicBezTo>
                      <a:pt x="142456" y="87491"/>
                      <a:pt x="156363" y="90983"/>
                      <a:pt x="166777" y="97993"/>
                    </a:cubicBezTo>
                    <a:lnTo>
                      <a:pt x="166777" y="35002"/>
                    </a:lnTo>
                    <a:lnTo>
                      <a:pt x="166777" y="31496"/>
                    </a:lnTo>
                    <a:cubicBezTo>
                      <a:pt x="166777" y="20994"/>
                      <a:pt x="156363" y="13996"/>
                      <a:pt x="145936" y="13996"/>
                    </a:cubicBezTo>
                    <a:cubicBezTo>
                      <a:pt x="135509" y="13996"/>
                      <a:pt x="125083" y="20994"/>
                      <a:pt x="125083" y="31496"/>
                    </a:cubicBezTo>
                    <a:lnTo>
                      <a:pt x="125083" y="35002"/>
                    </a:lnTo>
                    <a:cubicBezTo>
                      <a:pt x="128563" y="38494"/>
                      <a:pt x="132030" y="41999"/>
                      <a:pt x="135509" y="45492"/>
                    </a:cubicBezTo>
                    <a:cubicBezTo>
                      <a:pt x="132030" y="45492"/>
                      <a:pt x="128563" y="48997"/>
                      <a:pt x="125083" y="52490"/>
                    </a:cubicBezTo>
                    <a:cubicBezTo>
                      <a:pt x="114656" y="38494"/>
                      <a:pt x="97282" y="35002"/>
                      <a:pt x="83389" y="38494"/>
                    </a:cubicBezTo>
                    <a:cubicBezTo>
                      <a:pt x="72962" y="45492"/>
                      <a:pt x="66015" y="55995"/>
                      <a:pt x="66015" y="66498"/>
                    </a:cubicBezTo>
                    <a:cubicBezTo>
                      <a:pt x="76442" y="66498"/>
                      <a:pt x="83389" y="66498"/>
                      <a:pt x="93815" y="73495"/>
                    </a:cubicBezTo>
                    <a:cubicBezTo>
                      <a:pt x="104242" y="69990"/>
                      <a:pt x="111189" y="66498"/>
                      <a:pt x="121616" y="69990"/>
                    </a:cubicBezTo>
                    <a:cubicBezTo>
                      <a:pt x="121616" y="73495"/>
                      <a:pt x="121616" y="76988"/>
                      <a:pt x="118136" y="83986"/>
                    </a:cubicBezTo>
                    <a:cubicBezTo>
                      <a:pt x="111189" y="80493"/>
                      <a:pt x="100762" y="80493"/>
                      <a:pt x="93815" y="87491"/>
                    </a:cubicBezTo>
                    <a:cubicBezTo>
                      <a:pt x="90336" y="94488"/>
                      <a:pt x="86868" y="104990"/>
                      <a:pt x="90336" y="111988"/>
                    </a:cubicBezTo>
                    <a:cubicBezTo>
                      <a:pt x="86868" y="115481"/>
                      <a:pt x="83389" y="115481"/>
                      <a:pt x="79909" y="118986"/>
                    </a:cubicBezTo>
                    <a:cubicBezTo>
                      <a:pt x="76442" y="111988"/>
                      <a:pt x="76442" y="104990"/>
                      <a:pt x="76442" y="97993"/>
                    </a:cubicBezTo>
                    <a:cubicBezTo>
                      <a:pt x="76442" y="94488"/>
                      <a:pt x="79909" y="87491"/>
                      <a:pt x="83389" y="83986"/>
                    </a:cubicBezTo>
                    <a:lnTo>
                      <a:pt x="83389" y="80493"/>
                    </a:lnTo>
                    <a:cubicBezTo>
                      <a:pt x="69495" y="73495"/>
                      <a:pt x="52121" y="76988"/>
                      <a:pt x="38215" y="87491"/>
                    </a:cubicBezTo>
                    <a:cubicBezTo>
                      <a:pt x="27788" y="101485"/>
                      <a:pt x="24321" y="125984"/>
                      <a:pt x="38215" y="139979"/>
                    </a:cubicBezTo>
                    <a:cubicBezTo>
                      <a:pt x="55588" y="136486"/>
                      <a:pt x="69495" y="139979"/>
                      <a:pt x="83389" y="150482"/>
                    </a:cubicBezTo>
                    <a:cubicBezTo>
                      <a:pt x="100762" y="160985"/>
                      <a:pt x="118136" y="150482"/>
                      <a:pt x="125083" y="132981"/>
                    </a:cubicBezTo>
                    <a:cubicBezTo>
                      <a:pt x="128563" y="132981"/>
                      <a:pt x="132030" y="136486"/>
                      <a:pt x="135509" y="136486"/>
                    </a:cubicBezTo>
                    <a:cubicBezTo>
                      <a:pt x="132030" y="150482"/>
                      <a:pt x="118136" y="167982"/>
                      <a:pt x="97282" y="167982"/>
                    </a:cubicBezTo>
                    <a:cubicBezTo>
                      <a:pt x="100762" y="174980"/>
                      <a:pt x="100762" y="181978"/>
                      <a:pt x="100762" y="188976"/>
                    </a:cubicBezTo>
                    <a:lnTo>
                      <a:pt x="90336" y="188976"/>
                    </a:lnTo>
                    <a:cubicBezTo>
                      <a:pt x="90336" y="167982"/>
                      <a:pt x="72962" y="150482"/>
                      <a:pt x="52121" y="150482"/>
                    </a:cubicBezTo>
                    <a:cubicBezTo>
                      <a:pt x="34748" y="150482"/>
                      <a:pt x="17374" y="164477"/>
                      <a:pt x="13894" y="185470"/>
                    </a:cubicBezTo>
                    <a:cubicBezTo>
                      <a:pt x="13894" y="192481"/>
                      <a:pt x="13894" y="202971"/>
                      <a:pt x="20841" y="209969"/>
                    </a:cubicBezTo>
                    <a:cubicBezTo>
                      <a:pt x="27788" y="220472"/>
                      <a:pt x="38215" y="227469"/>
                      <a:pt x="52121" y="227469"/>
                    </a:cubicBezTo>
                    <a:lnTo>
                      <a:pt x="52121" y="237972"/>
                    </a:lnTo>
                    <a:lnTo>
                      <a:pt x="41695" y="237972"/>
                    </a:lnTo>
                    <a:lnTo>
                      <a:pt x="38215" y="237972"/>
                    </a:lnTo>
                    <a:cubicBezTo>
                      <a:pt x="31268" y="248462"/>
                      <a:pt x="27788" y="258965"/>
                      <a:pt x="31268" y="269468"/>
                    </a:cubicBezTo>
                    <a:cubicBezTo>
                      <a:pt x="31268" y="293966"/>
                      <a:pt x="52121" y="307962"/>
                      <a:pt x="76442" y="300964"/>
                    </a:cubicBezTo>
                    <a:cubicBezTo>
                      <a:pt x="79909" y="300964"/>
                      <a:pt x="79909" y="300964"/>
                      <a:pt x="83389" y="297459"/>
                    </a:cubicBezTo>
                    <a:cubicBezTo>
                      <a:pt x="76442" y="286969"/>
                      <a:pt x="72962" y="276466"/>
                      <a:pt x="79909" y="262470"/>
                    </a:cubicBezTo>
                    <a:cubicBezTo>
                      <a:pt x="83389" y="265963"/>
                      <a:pt x="86868" y="265963"/>
                      <a:pt x="90336" y="265963"/>
                    </a:cubicBezTo>
                    <a:cubicBezTo>
                      <a:pt x="86868" y="276466"/>
                      <a:pt x="90336" y="283464"/>
                      <a:pt x="93815" y="290461"/>
                    </a:cubicBezTo>
                    <a:cubicBezTo>
                      <a:pt x="100762" y="297459"/>
                      <a:pt x="111189" y="300964"/>
                      <a:pt x="118136" y="297459"/>
                    </a:cubicBezTo>
                    <a:cubicBezTo>
                      <a:pt x="121616" y="300964"/>
                      <a:pt x="121616" y="304457"/>
                      <a:pt x="121616" y="307962"/>
                    </a:cubicBezTo>
                    <a:lnTo>
                      <a:pt x="121616" y="311454"/>
                    </a:lnTo>
                    <a:cubicBezTo>
                      <a:pt x="111189" y="311454"/>
                      <a:pt x="104242" y="311454"/>
                      <a:pt x="97282" y="307962"/>
                    </a:cubicBezTo>
                    <a:lnTo>
                      <a:pt x="93815" y="307962"/>
                    </a:lnTo>
                    <a:cubicBezTo>
                      <a:pt x="86868" y="311454"/>
                      <a:pt x="83389" y="311454"/>
                      <a:pt x="76442" y="314960"/>
                    </a:cubicBezTo>
                    <a:lnTo>
                      <a:pt x="66015" y="314960"/>
                    </a:lnTo>
                    <a:cubicBezTo>
                      <a:pt x="66015" y="325462"/>
                      <a:pt x="72962" y="335953"/>
                      <a:pt x="83389" y="339458"/>
                    </a:cubicBezTo>
                    <a:cubicBezTo>
                      <a:pt x="97282" y="346456"/>
                      <a:pt x="114656" y="342950"/>
                      <a:pt x="125083" y="328955"/>
                    </a:cubicBezTo>
                    <a:cubicBezTo>
                      <a:pt x="128563" y="332460"/>
                      <a:pt x="132030" y="332460"/>
                      <a:pt x="135509" y="335953"/>
                    </a:cubicBezTo>
                    <a:cubicBezTo>
                      <a:pt x="132030" y="339458"/>
                      <a:pt x="128563" y="342950"/>
                      <a:pt x="125083" y="346456"/>
                    </a:cubicBezTo>
                    <a:lnTo>
                      <a:pt x="125083" y="349961"/>
                    </a:lnTo>
                    <a:cubicBezTo>
                      <a:pt x="125083" y="360451"/>
                      <a:pt x="135509" y="367449"/>
                      <a:pt x="149403" y="367449"/>
                    </a:cubicBezTo>
                    <a:cubicBezTo>
                      <a:pt x="159830" y="363956"/>
                      <a:pt x="166777" y="356958"/>
                      <a:pt x="166777" y="346456"/>
                    </a:cubicBezTo>
                    <a:lnTo>
                      <a:pt x="166777" y="283464"/>
                    </a:lnTo>
                    <a:lnTo>
                      <a:pt x="166777" y="279958"/>
                    </a:lnTo>
                    <a:cubicBezTo>
                      <a:pt x="156363" y="290461"/>
                      <a:pt x="142456" y="290461"/>
                      <a:pt x="128563" y="283464"/>
                    </a:cubicBezTo>
                    <a:moveTo>
                      <a:pt x="76442" y="220472"/>
                    </a:moveTo>
                    <a:cubicBezTo>
                      <a:pt x="79909" y="223977"/>
                      <a:pt x="79909" y="227469"/>
                      <a:pt x="83389" y="230974"/>
                    </a:cubicBezTo>
                    <a:cubicBezTo>
                      <a:pt x="90336" y="223977"/>
                      <a:pt x="100762" y="223977"/>
                      <a:pt x="107709" y="227469"/>
                    </a:cubicBezTo>
                    <a:cubicBezTo>
                      <a:pt x="118136" y="230974"/>
                      <a:pt x="121616" y="237972"/>
                      <a:pt x="125083" y="248462"/>
                    </a:cubicBezTo>
                    <a:cubicBezTo>
                      <a:pt x="128563" y="244970"/>
                      <a:pt x="132030" y="244970"/>
                      <a:pt x="135509" y="244970"/>
                    </a:cubicBezTo>
                    <a:cubicBezTo>
                      <a:pt x="128563" y="216966"/>
                      <a:pt x="97282" y="206476"/>
                      <a:pt x="76442" y="220472"/>
                    </a:cubicBezTo>
                    <a:moveTo>
                      <a:pt x="211951" y="244970"/>
                    </a:moveTo>
                    <a:lnTo>
                      <a:pt x="218898" y="244970"/>
                    </a:lnTo>
                    <a:lnTo>
                      <a:pt x="218898" y="230974"/>
                    </a:lnTo>
                    <a:cubicBezTo>
                      <a:pt x="215431" y="234467"/>
                      <a:pt x="211951" y="237972"/>
                      <a:pt x="211951" y="244970"/>
                    </a:cubicBezTo>
                    <a:moveTo>
                      <a:pt x="239750" y="227469"/>
                    </a:moveTo>
                    <a:cubicBezTo>
                      <a:pt x="250177" y="223977"/>
                      <a:pt x="257124" y="223977"/>
                      <a:pt x="267550" y="230974"/>
                    </a:cubicBezTo>
                    <a:cubicBezTo>
                      <a:pt x="267550" y="227469"/>
                      <a:pt x="271017" y="223977"/>
                      <a:pt x="271017" y="220472"/>
                    </a:cubicBezTo>
                    <a:cubicBezTo>
                      <a:pt x="264071" y="213474"/>
                      <a:pt x="246697" y="209969"/>
                      <a:pt x="236270" y="216966"/>
                    </a:cubicBezTo>
                    <a:cubicBezTo>
                      <a:pt x="229323" y="220472"/>
                      <a:pt x="222377" y="223977"/>
                      <a:pt x="218898" y="230974"/>
                    </a:cubicBezTo>
                    <a:lnTo>
                      <a:pt x="218898" y="244970"/>
                    </a:lnTo>
                    <a:lnTo>
                      <a:pt x="222377" y="248462"/>
                    </a:lnTo>
                    <a:cubicBezTo>
                      <a:pt x="225856" y="237972"/>
                      <a:pt x="232803" y="230974"/>
                      <a:pt x="239750" y="227469"/>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04" name="Rectangle 435"/>
            <p:cNvSpPr/>
            <p:nvPr/>
          </p:nvSpPr>
          <p:spPr>
            <a:xfrm>
              <a:off x="5406859" y="5306481"/>
              <a:ext cx="435825" cy="153247"/>
            </a:xfrm>
            <a:prstGeom prst="rect">
              <a:avLst/>
            </a:prstGeom>
          </p:spPr>
          <p:txBody>
            <a:bodyPr wrap="none" lIns="0" tIns="0" rIns="0" bIns="0">
              <a:spAutoFit/>
            </a:bodyPr>
            <a:lstStyle/>
            <a:p>
              <a:pPr algn="ctr"/>
              <a:r>
                <a:rPr lang="en-US" sz="996" b="1" spc="-52" dirty="0" smtClean="0">
                  <a:solidFill>
                    <a:srgbClr val="FFFFFF"/>
                  </a:solidFill>
                  <a:latin typeface="EYInterstate-LightBold"/>
                </a:rPr>
                <a:t>Mindset</a:t>
              </a:r>
              <a:endParaRPr lang="en-US" sz="996" b="1" i="0" spc="0" baseline="0" dirty="0">
                <a:solidFill>
                  <a:srgbClr val="FFFFFF"/>
                </a:solidFill>
                <a:latin typeface="EYInterstate-LightBold"/>
              </a:endParaRPr>
            </a:p>
          </p:txBody>
        </p:sp>
      </p:grpSp>
      <p:grpSp>
        <p:nvGrpSpPr>
          <p:cNvPr id="20" name="Group 19"/>
          <p:cNvGrpSpPr/>
          <p:nvPr/>
        </p:nvGrpSpPr>
        <p:grpSpPr>
          <a:xfrm>
            <a:off x="10147669" y="4091401"/>
            <a:ext cx="737381" cy="856052"/>
            <a:chOff x="2519934" y="4603676"/>
            <a:chExt cx="737381" cy="856052"/>
          </a:xfrm>
        </p:grpSpPr>
        <p:grpSp>
          <p:nvGrpSpPr>
            <p:cNvPr id="8" name="Group 7"/>
            <p:cNvGrpSpPr/>
            <p:nvPr/>
          </p:nvGrpSpPr>
          <p:grpSpPr>
            <a:xfrm>
              <a:off x="2554868" y="4603676"/>
              <a:ext cx="667512" cy="665986"/>
              <a:chOff x="2508504" y="4603676"/>
              <a:chExt cx="667512" cy="665986"/>
            </a:xfrm>
          </p:grpSpPr>
          <p:sp>
            <p:nvSpPr>
              <p:cNvPr id="54" name="Freeform 390"/>
              <p:cNvSpPr/>
              <p:nvPr/>
            </p:nvSpPr>
            <p:spPr>
              <a:xfrm>
                <a:off x="2508504" y="4603676"/>
                <a:ext cx="667512" cy="665986"/>
              </a:xfrm>
              <a:custGeom>
                <a:avLst/>
                <a:gdLst/>
                <a:ahLst/>
                <a:cxnLst/>
                <a:rect l="0" t="0" r="0" b="0"/>
                <a:pathLst>
                  <a:path w="667512" h="665986">
                    <a:moveTo>
                      <a:pt x="0" y="332993"/>
                    </a:moveTo>
                    <a:cubicBezTo>
                      <a:pt x="0" y="149085"/>
                      <a:pt x="149428" y="0"/>
                      <a:pt x="333756" y="0"/>
                    </a:cubicBezTo>
                    <a:cubicBezTo>
                      <a:pt x="518083" y="0"/>
                      <a:pt x="667512" y="149085"/>
                      <a:pt x="667512" y="332993"/>
                    </a:cubicBezTo>
                    <a:cubicBezTo>
                      <a:pt x="667512" y="516901"/>
                      <a:pt x="518083" y="665986"/>
                      <a:pt x="333756" y="665986"/>
                    </a:cubicBezTo>
                    <a:cubicBezTo>
                      <a:pt x="149428"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55" name="Freeform 391"/>
              <p:cNvSpPr/>
              <p:nvPr/>
            </p:nvSpPr>
            <p:spPr>
              <a:xfrm>
                <a:off x="2814896" y="4714932"/>
                <a:ext cx="22859" cy="33527"/>
              </a:xfrm>
              <a:custGeom>
                <a:avLst/>
                <a:gdLst/>
                <a:ahLst/>
                <a:cxnLst/>
                <a:rect l="0" t="0" r="0" b="0"/>
                <a:pathLst>
                  <a:path w="22859" h="33527">
                    <a:moveTo>
                      <a:pt x="22859" y="14897"/>
                    </a:moveTo>
                    <a:cubicBezTo>
                      <a:pt x="22859" y="11176"/>
                      <a:pt x="15239" y="3722"/>
                      <a:pt x="11430" y="0"/>
                    </a:cubicBezTo>
                    <a:cubicBezTo>
                      <a:pt x="7619" y="3722"/>
                      <a:pt x="3809" y="11176"/>
                      <a:pt x="0" y="14897"/>
                    </a:cubicBezTo>
                    <a:lnTo>
                      <a:pt x="0" y="33527"/>
                    </a:lnTo>
                    <a:lnTo>
                      <a:pt x="22859" y="33527"/>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56" name="Freeform 392"/>
              <p:cNvSpPr/>
              <p:nvPr/>
            </p:nvSpPr>
            <p:spPr>
              <a:xfrm>
                <a:off x="2723453" y="4842946"/>
                <a:ext cx="205739" cy="79247"/>
              </a:xfrm>
              <a:custGeom>
                <a:avLst/>
                <a:gdLst/>
                <a:ahLst/>
                <a:cxnLst/>
                <a:rect l="0" t="0" r="0" b="0"/>
                <a:pathLst>
                  <a:path w="205739" h="79247">
                    <a:moveTo>
                      <a:pt x="31927" y="28816"/>
                    </a:moveTo>
                    <a:lnTo>
                      <a:pt x="46112" y="28816"/>
                    </a:lnTo>
                    <a:lnTo>
                      <a:pt x="46112" y="68439"/>
                    </a:lnTo>
                    <a:cubicBezTo>
                      <a:pt x="56755" y="68439"/>
                      <a:pt x="63854" y="64833"/>
                      <a:pt x="74497" y="64833"/>
                    </a:cubicBezTo>
                    <a:lnTo>
                      <a:pt x="74497" y="28816"/>
                    </a:lnTo>
                    <a:lnTo>
                      <a:pt x="88683" y="28816"/>
                    </a:lnTo>
                    <a:lnTo>
                      <a:pt x="88683" y="61239"/>
                    </a:lnTo>
                    <a:cubicBezTo>
                      <a:pt x="99325" y="57632"/>
                      <a:pt x="102869" y="57632"/>
                      <a:pt x="102869" y="57632"/>
                    </a:cubicBezTo>
                    <a:cubicBezTo>
                      <a:pt x="102869" y="57632"/>
                      <a:pt x="109968" y="57632"/>
                      <a:pt x="117055" y="61239"/>
                    </a:cubicBezTo>
                    <a:lnTo>
                      <a:pt x="117055" y="28816"/>
                    </a:lnTo>
                    <a:lnTo>
                      <a:pt x="131253" y="28816"/>
                    </a:lnTo>
                    <a:lnTo>
                      <a:pt x="131253" y="64833"/>
                    </a:lnTo>
                    <a:cubicBezTo>
                      <a:pt x="141896" y="64833"/>
                      <a:pt x="152538" y="68439"/>
                      <a:pt x="163168" y="68439"/>
                    </a:cubicBezTo>
                    <a:lnTo>
                      <a:pt x="163168" y="28816"/>
                    </a:lnTo>
                    <a:lnTo>
                      <a:pt x="177367" y="28816"/>
                    </a:lnTo>
                    <a:lnTo>
                      <a:pt x="177367" y="72046"/>
                    </a:lnTo>
                    <a:cubicBezTo>
                      <a:pt x="188009" y="75640"/>
                      <a:pt x="198652" y="75640"/>
                      <a:pt x="205739" y="79247"/>
                    </a:cubicBezTo>
                    <a:lnTo>
                      <a:pt x="205739" y="0"/>
                    </a:lnTo>
                    <a:lnTo>
                      <a:pt x="0" y="0"/>
                    </a:lnTo>
                    <a:lnTo>
                      <a:pt x="0" y="79247"/>
                    </a:lnTo>
                    <a:cubicBezTo>
                      <a:pt x="10642" y="75640"/>
                      <a:pt x="21285" y="75640"/>
                      <a:pt x="31927" y="72046"/>
                    </a:cubicBez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57" name="Freeform 393"/>
              <p:cNvSpPr/>
              <p:nvPr/>
            </p:nvSpPr>
            <p:spPr>
              <a:xfrm>
                <a:off x="2694437" y="4917617"/>
                <a:ext cx="294131" cy="205739"/>
              </a:xfrm>
              <a:custGeom>
                <a:avLst/>
                <a:gdLst/>
                <a:ahLst/>
                <a:cxnLst/>
                <a:rect l="0" t="0" r="0" b="0"/>
                <a:pathLst>
                  <a:path w="294131" h="205739">
                    <a:moveTo>
                      <a:pt x="38976" y="42570"/>
                    </a:moveTo>
                    <a:lnTo>
                      <a:pt x="145287" y="21285"/>
                    </a:lnTo>
                    <a:lnTo>
                      <a:pt x="251599" y="42570"/>
                    </a:lnTo>
                    <a:close/>
                    <a:moveTo>
                      <a:pt x="145287" y="0"/>
                    </a:moveTo>
                    <a:cubicBezTo>
                      <a:pt x="145287" y="0"/>
                      <a:pt x="3544" y="28385"/>
                      <a:pt x="0" y="28385"/>
                    </a:cubicBezTo>
                    <a:lnTo>
                      <a:pt x="0" y="39027"/>
                    </a:lnTo>
                    <a:lnTo>
                      <a:pt x="0" y="46113"/>
                    </a:lnTo>
                    <a:lnTo>
                      <a:pt x="0" y="67398"/>
                    </a:lnTo>
                    <a:lnTo>
                      <a:pt x="0" y="205739"/>
                    </a:lnTo>
                    <a:lnTo>
                      <a:pt x="38976" y="205739"/>
                    </a:lnTo>
                    <a:lnTo>
                      <a:pt x="38976" y="81584"/>
                    </a:lnTo>
                    <a:lnTo>
                      <a:pt x="63779" y="81584"/>
                    </a:lnTo>
                    <a:lnTo>
                      <a:pt x="63779" y="205739"/>
                    </a:lnTo>
                    <a:lnTo>
                      <a:pt x="102768" y="205739"/>
                    </a:lnTo>
                    <a:lnTo>
                      <a:pt x="102768" y="81584"/>
                    </a:lnTo>
                    <a:lnTo>
                      <a:pt x="127571" y="81584"/>
                    </a:lnTo>
                    <a:lnTo>
                      <a:pt x="127571" y="205739"/>
                    </a:lnTo>
                    <a:lnTo>
                      <a:pt x="166547" y="205739"/>
                    </a:lnTo>
                    <a:lnTo>
                      <a:pt x="166547" y="81584"/>
                    </a:lnTo>
                    <a:lnTo>
                      <a:pt x="187820" y="81584"/>
                    </a:lnTo>
                    <a:lnTo>
                      <a:pt x="187820" y="205739"/>
                    </a:lnTo>
                    <a:lnTo>
                      <a:pt x="226796" y="205739"/>
                    </a:lnTo>
                    <a:lnTo>
                      <a:pt x="226796" y="81584"/>
                    </a:lnTo>
                    <a:lnTo>
                      <a:pt x="255142" y="81584"/>
                    </a:lnTo>
                    <a:lnTo>
                      <a:pt x="255142" y="205739"/>
                    </a:lnTo>
                    <a:lnTo>
                      <a:pt x="294131" y="205739"/>
                    </a:lnTo>
                    <a:lnTo>
                      <a:pt x="294131" y="67398"/>
                    </a:lnTo>
                    <a:lnTo>
                      <a:pt x="294131" y="46113"/>
                    </a:lnTo>
                    <a:lnTo>
                      <a:pt x="294131" y="39027"/>
                    </a:lnTo>
                    <a:lnTo>
                      <a:pt x="294131" y="28385"/>
                    </a:lnTo>
                    <a:cubicBezTo>
                      <a:pt x="287045" y="28385"/>
                      <a:pt x="145287" y="0"/>
                      <a:pt x="145287" y="0"/>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58" name="Freeform 394"/>
              <p:cNvSpPr/>
              <p:nvPr/>
            </p:nvSpPr>
            <p:spPr>
              <a:xfrm>
                <a:off x="2729551" y="4765220"/>
                <a:ext cx="192022" cy="64007"/>
              </a:xfrm>
              <a:custGeom>
                <a:avLst/>
                <a:gdLst/>
                <a:ahLst/>
                <a:cxnLst/>
                <a:rect l="0" t="0" r="0" b="0"/>
                <a:pathLst>
                  <a:path w="192022" h="64007">
                    <a:moveTo>
                      <a:pt x="96011" y="0"/>
                    </a:moveTo>
                    <a:cubicBezTo>
                      <a:pt x="53340" y="0"/>
                      <a:pt x="17780" y="24892"/>
                      <a:pt x="0" y="64007"/>
                    </a:cubicBezTo>
                    <a:lnTo>
                      <a:pt x="192022" y="64007"/>
                    </a:lnTo>
                    <a:cubicBezTo>
                      <a:pt x="174242" y="24892"/>
                      <a:pt x="138682" y="0"/>
                      <a:pt x="96011" y="0"/>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05" name="Rectangle 435"/>
            <p:cNvSpPr/>
            <p:nvPr/>
          </p:nvSpPr>
          <p:spPr>
            <a:xfrm>
              <a:off x="2519934" y="5306481"/>
              <a:ext cx="737381" cy="153247"/>
            </a:xfrm>
            <a:prstGeom prst="rect">
              <a:avLst/>
            </a:prstGeom>
          </p:spPr>
          <p:txBody>
            <a:bodyPr wrap="none" lIns="0" tIns="0" rIns="0" bIns="0">
              <a:spAutoFit/>
            </a:bodyPr>
            <a:lstStyle/>
            <a:p>
              <a:pPr algn="ctr"/>
              <a:r>
                <a:rPr lang="en-US" sz="996" b="1" i="0" spc="0" baseline="0" dirty="0" smtClean="0">
                  <a:solidFill>
                    <a:srgbClr val="FFFFFF"/>
                  </a:solidFill>
                  <a:latin typeface="EYInterstate-LightBold"/>
                </a:rPr>
                <a:t>Governance</a:t>
              </a:r>
              <a:endParaRPr lang="en-US" sz="996" b="1" i="0" spc="0" baseline="0" dirty="0">
                <a:solidFill>
                  <a:srgbClr val="FFFFFF"/>
                </a:solidFill>
                <a:latin typeface="EYInterstate-LightBold"/>
              </a:endParaRPr>
            </a:p>
          </p:txBody>
        </p:sp>
      </p:grpSp>
      <p:grpSp>
        <p:nvGrpSpPr>
          <p:cNvPr id="133" name="Group 132"/>
          <p:cNvGrpSpPr/>
          <p:nvPr/>
        </p:nvGrpSpPr>
        <p:grpSpPr>
          <a:xfrm>
            <a:off x="4389528" y="5174667"/>
            <a:ext cx="693524" cy="1020637"/>
            <a:chOff x="4339447" y="4589960"/>
            <a:chExt cx="693524" cy="1020637"/>
          </a:xfrm>
        </p:grpSpPr>
        <p:grpSp>
          <p:nvGrpSpPr>
            <p:cNvPr id="134" name="Group 133"/>
            <p:cNvGrpSpPr/>
            <p:nvPr/>
          </p:nvGrpSpPr>
          <p:grpSpPr>
            <a:xfrm>
              <a:off x="4353216" y="4589960"/>
              <a:ext cx="665987" cy="667512"/>
              <a:chOff x="4369308" y="4589960"/>
              <a:chExt cx="665987" cy="667512"/>
            </a:xfrm>
          </p:grpSpPr>
          <p:sp>
            <p:nvSpPr>
              <p:cNvPr id="136" name="Freeform 411"/>
              <p:cNvSpPr/>
              <p:nvPr/>
            </p:nvSpPr>
            <p:spPr>
              <a:xfrm>
                <a:off x="4369308" y="4589960"/>
                <a:ext cx="665987" cy="667512"/>
              </a:xfrm>
              <a:custGeom>
                <a:avLst/>
                <a:gdLst/>
                <a:ahLst/>
                <a:cxnLst/>
                <a:rect l="0" t="0" r="0" b="0"/>
                <a:pathLst>
                  <a:path w="665987" h="667512">
                    <a:moveTo>
                      <a:pt x="0" y="333756"/>
                    </a:moveTo>
                    <a:cubicBezTo>
                      <a:pt x="0" y="149429"/>
                      <a:pt x="149085" y="0"/>
                      <a:pt x="332993" y="0"/>
                    </a:cubicBezTo>
                    <a:cubicBezTo>
                      <a:pt x="516902" y="0"/>
                      <a:pt x="665987" y="149429"/>
                      <a:pt x="665987" y="333756"/>
                    </a:cubicBezTo>
                    <a:cubicBezTo>
                      <a:pt x="665987" y="518083"/>
                      <a:pt x="516902" y="667512"/>
                      <a:pt x="332993" y="667512"/>
                    </a:cubicBezTo>
                    <a:cubicBezTo>
                      <a:pt x="149085" y="667512"/>
                      <a:pt x="0" y="518083"/>
                      <a:pt x="0" y="333756"/>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37" name="Freeform 412"/>
              <p:cNvSpPr/>
              <p:nvPr/>
            </p:nvSpPr>
            <p:spPr>
              <a:xfrm>
                <a:off x="4469891" y="4781984"/>
                <a:ext cx="458723" cy="320038"/>
              </a:xfrm>
              <a:custGeom>
                <a:avLst/>
                <a:gdLst/>
                <a:ahLst/>
                <a:cxnLst/>
                <a:rect l="0" t="0" r="0" b="0"/>
                <a:pathLst>
                  <a:path w="458723" h="320038">
                    <a:moveTo>
                      <a:pt x="0" y="17779"/>
                    </a:moveTo>
                    <a:cubicBezTo>
                      <a:pt x="0" y="10667"/>
                      <a:pt x="7061" y="0"/>
                      <a:pt x="21170" y="7112"/>
                    </a:cubicBezTo>
                    <a:lnTo>
                      <a:pt x="105854" y="46227"/>
                    </a:lnTo>
                    <a:lnTo>
                      <a:pt x="21170" y="216915"/>
                    </a:lnTo>
                    <a:lnTo>
                      <a:pt x="0" y="206247"/>
                    </a:lnTo>
                    <a:close/>
                    <a:moveTo>
                      <a:pt x="338747" y="224026"/>
                    </a:moveTo>
                    <a:cubicBezTo>
                      <a:pt x="338747" y="224026"/>
                      <a:pt x="338747" y="231138"/>
                      <a:pt x="335216" y="234694"/>
                    </a:cubicBezTo>
                    <a:lnTo>
                      <a:pt x="317576" y="252474"/>
                    </a:lnTo>
                    <a:cubicBezTo>
                      <a:pt x="317576" y="259587"/>
                      <a:pt x="317576" y="263142"/>
                      <a:pt x="314045" y="266699"/>
                    </a:cubicBezTo>
                    <a:lnTo>
                      <a:pt x="292874" y="288035"/>
                    </a:lnTo>
                    <a:cubicBezTo>
                      <a:pt x="285826" y="291590"/>
                      <a:pt x="282295" y="291590"/>
                      <a:pt x="275234" y="291590"/>
                    </a:cubicBezTo>
                    <a:lnTo>
                      <a:pt x="261124" y="302258"/>
                    </a:lnTo>
                    <a:cubicBezTo>
                      <a:pt x="257594" y="305815"/>
                      <a:pt x="254063" y="309370"/>
                      <a:pt x="247002" y="309370"/>
                    </a:cubicBezTo>
                    <a:lnTo>
                      <a:pt x="243471" y="305815"/>
                    </a:lnTo>
                    <a:lnTo>
                      <a:pt x="232892" y="316483"/>
                    </a:lnTo>
                    <a:cubicBezTo>
                      <a:pt x="225831" y="320038"/>
                      <a:pt x="218770" y="320038"/>
                      <a:pt x="211721" y="320038"/>
                    </a:cubicBezTo>
                    <a:lnTo>
                      <a:pt x="165849" y="312926"/>
                    </a:lnTo>
                    <a:cubicBezTo>
                      <a:pt x="155257" y="312926"/>
                      <a:pt x="144678" y="309370"/>
                      <a:pt x="137617" y="302258"/>
                    </a:cubicBezTo>
                    <a:lnTo>
                      <a:pt x="56464" y="209802"/>
                    </a:lnTo>
                    <a:lnTo>
                      <a:pt x="45872" y="206247"/>
                    </a:lnTo>
                    <a:lnTo>
                      <a:pt x="56464" y="188466"/>
                    </a:lnTo>
                    <a:lnTo>
                      <a:pt x="70573" y="195579"/>
                    </a:lnTo>
                    <a:lnTo>
                      <a:pt x="144678" y="280922"/>
                    </a:lnTo>
                    <a:cubicBezTo>
                      <a:pt x="151726" y="288035"/>
                      <a:pt x="155257" y="291590"/>
                      <a:pt x="162318" y="295147"/>
                    </a:cubicBezTo>
                    <a:lnTo>
                      <a:pt x="211721" y="302258"/>
                    </a:lnTo>
                    <a:cubicBezTo>
                      <a:pt x="215252" y="302258"/>
                      <a:pt x="218770" y="302258"/>
                      <a:pt x="222300" y="298703"/>
                    </a:cubicBezTo>
                    <a:lnTo>
                      <a:pt x="232892" y="291590"/>
                    </a:lnTo>
                    <a:cubicBezTo>
                      <a:pt x="236423" y="284479"/>
                      <a:pt x="243471" y="288035"/>
                      <a:pt x="250532" y="288035"/>
                    </a:cubicBezTo>
                    <a:lnTo>
                      <a:pt x="264642" y="277367"/>
                    </a:lnTo>
                    <a:cubicBezTo>
                      <a:pt x="271703" y="270254"/>
                      <a:pt x="278765" y="270254"/>
                      <a:pt x="282295" y="273810"/>
                    </a:cubicBezTo>
                    <a:lnTo>
                      <a:pt x="299935" y="256031"/>
                    </a:lnTo>
                    <a:cubicBezTo>
                      <a:pt x="296405" y="252474"/>
                      <a:pt x="296405" y="245363"/>
                      <a:pt x="303466" y="241806"/>
                    </a:cubicBezTo>
                    <a:lnTo>
                      <a:pt x="317576" y="227583"/>
                    </a:lnTo>
                    <a:cubicBezTo>
                      <a:pt x="321106" y="224026"/>
                      <a:pt x="321106" y="220471"/>
                      <a:pt x="321106" y="216915"/>
                    </a:cubicBezTo>
                    <a:lnTo>
                      <a:pt x="247002" y="142239"/>
                    </a:lnTo>
                    <a:lnTo>
                      <a:pt x="187020" y="163574"/>
                    </a:lnTo>
                    <a:cubicBezTo>
                      <a:pt x="176428" y="167131"/>
                      <a:pt x="169379" y="167131"/>
                      <a:pt x="162318" y="163574"/>
                    </a:cubicBezTo>
                    <a:cubicBezTo>
                      <a:pt x="162318" y="163574"/>
                      <a:pt x="151726" y="156463"/>
                      <a:pt x="148209" y="156463"/>
                    </a:cubicBezTo>
                    <a:lnTo>
                      <a:pt x="194081" y="106679"/>
                    </a:lnTo>
                    <a:lnTo>
                      <a:pt x="109385" y="78231"/>
                    </a:lnTo>
                    <a:lnTo>
                      <a:pt x="119976" y="60450"/>
                    </a:lnTo>
                    <a:lnTo>
                      <a:pt x="197599" y="85343"/>
                    </a:lnTo>
                    <a:cubicBezTo>
                      <a:pt x="201129" y="85343"/>
                      <a:pt x="204660" y="81786"/>
                      <a:pt x="204660" y="81786"/>
                    </a:cubicBezTo>
                    <a:cubicBezTo>
                      <a:pt x="211721" y="74675"/>
                      <a:pt x="218770" y="67563"/>
                      <a:pt x="229361" y="67563"/>
                    </a:cubicBezTo>
                    <a:lnTo>
                      <a:pt x="306997" y="67563"/>
                    </a:lnTo>
                    <a:lnTo>
                      <a:pt x="335216" y="56894"/>
                    </a:lnTo>
                    <a:lnTo>
                      <a:pt x="345808" y="71118"/>
                    </a:lnTo>
                    <a:lnTo>
                      <a:pt x="310515" y="88898"/>
                    </a:lnTo>
                    <a:lnTo>
                      <a:pt x="229361" y="88898"/>
                    </a:lnTo>
                    <a:cubicBezTo>
                      <a:pt x="225831" y="88898"/>
                      <a:pt x="218770" y="92455"/>
                      <a:pt x="215252" y="96010"/>
                    </a:cubicBezTo>
                    <a:lnTo>
                      <a:pt x="162318" y="152907"/>
                    </a:lnTo>
                    <a:cubicBezTo>
                      <a:pt x="165849" y="152907"/>
                      <a:pt x="165849" y="156463"/>
                      <a:pt x="165849" y="156463"/>
                    </a:cubicBezTo>
                    <a:lnTo>
                      <a:pt x="183489" y="156463"/>
                    </a:lnTo>
                    <a:lnTo>
                      <a:pt x="250532" y="131571"/>
                    </a:lnTo>
                    <a:lnTo>
                      <a:pt x="271703" y="152907"/>
                    </a:lnTo>
                    <a:cubicBezTo>
                      <a:pt x="285826" y="156463"/>
                      <a:pt x="299935" y="152907"/>
                      <a:pt x="314045" y="152907"/>
                    </a:cubicBezTo>
                    <a:lnTo>
                      <a:pt x="314045" y="160018"/>
                    </a:lnTo>
                    <a:cubicBezTo>
                      <a:pt x="303466" y="163574"/>
                      <a:pt x="292874" y="163574"/>
                      <a:pt x="282295" y="163574"/>
                    </a:cubicBezTo>
                    <a:close/>
                    <a:moveTo>
                      <a:pt x="109385" y="312926"/>
                    </a:moveTo>
                    <a:lnTo>
                      <a:pt x="88214" y="288035"/>
                    </a:lnTo>
                    <a:lnTo>
                      <a:pt x="81152" y="288035"/>
                    </a:lnTo>
                    <a:cubicBezTo>
                      <a:pt x="63512" y="288035"/>
                      <a:pt x="49403" y="266699"/>
                      <a:pt x="67043" y="252474"/>
                    </a:cubicBezTo>
                    <a:lnTo>
                      <a:pt x="74104" y="259587"/>
                    </a:lnTo>
                    <a:cubicBezTo>
                      <a:pt x="63512" y="266699"/>
                      <a:pt x="70573" y="280922"/>
                      <a:pt x="81152" y="280922"/>
                    </a:cubicBezTo>
                    <a:lnTo>
                      <a:pt x="91744" y="280922"/>
                    </a:lnTo>
                    <a:lnTo>
                      <a:pt x="102336" y="291590"/>
                    </a:lnTo>
                    <a:lnTo>
                      <a:pt x="116446" y="305815"/>
                    </a:lnTo>
                    <a:close/>
                    <a:moveTo>
                      <a:pt x="342277" y="199134"/>
                    </a:moveTo>
                    <a:lnTo>
                      <a:pt x="395211" y="177799"/>
                    </a:lnTo>
                    <a:lnTo>
                      <a:pt x="405790" y="195579"/>
                    </a:lnTo>
                    <a:lnTo>
                      <a:pt x="356387" y="213358"/>
                    </a:lnTo>
                    <a:close/>
                    <a:moveTo>
                      <a:pt x="458723" y="17779"/>
                    </a:moveTo>
                    <a:lnTo>
                      <a:pt x="458723" y="206247"/>
                    </a:lnTo>
                    <a:lnTo>
                      <a:pt x="434022" y="216915"/>
                    </a:lnTo>
                    <a:lnTo>
                      <a:pt x="352869" y="46227"/>
                    </a:lnTo>
                    <a:lnTo>
                      <a:pt x="437553" y="7112"/>
                    </a:lnTo>
                    <a:cubicBezTo>
                      <a:pt x="448132" y="0"/>
                      <a:pt x="458723" y="10667"/>
                      <a:pt x="458723" y="17779"/>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35" name="Rectangle 430"/>
            <p:cNvSpPr/>
            <p:nvPr/>
          </p:nvSpPr>
          <p:spPr>
            <a:xfrm>
              <a:off x="4339447" y="5303462"/>
              <a:ext cx="693524" cy="307135"/>
            </a:xfrm>
            <a:prstGeom prst="rect">
              <a:avLst/>
            </a:prstGeom>
          </p:spPr>
          <p:txBody>
            <a:bodyPr wrap="none" lIns="0" tIns="0" rIns="0" bIns="0">
              <a:spAutoFit/>
            </a:bodyPr>
            <a:lstStyle/>
            <a:p>
              <a:pPr marL="35038" algn="ctr"/>
              <a:r>
                <a:rPr lang="en-US" sz="996" b="1" i="0" spc="-52" baseline="0" dirty="0">
                  <a:solidFill>
                    <a:srgbClr val="FFFFFF"/>
                  </a:solidFill>
                  <a:latin typeface="EYInterstate-LightBold"/>
                </a:rPr>
                <a:t>L</a:t>
              </a:r>
              <a:r>
                <a:rPr lang="en-US" sz="996" b="1" i="0" spc="-47" baseline="0" dirty="0">
                  <a:solidFill>
                    <a:srgbClr val="FFFFFF"/>
                  </a:solidFill>
                  <a:latin typeface="EYInterstate-LightBold"/>
                </a:rPr>
                <a:t>e</a:t>
              </a: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d</a:t>
              </a:r>
              <a:r>
                <a:rPr lang="en-US" sz="996" b="1" i="0" spc="-47" baseline="0" dirty="0">
                  <a:solidFill>
                    <a:srgbClr val="FFFFFF"/>
                  </a:solidFill>
                  <a:latin typeface="EYInterstate-LightBold"/>
                </a:rPr>
                <a:t>e</a:t>
              </a:r>
              <a:r>
                <a:rPr lang="en-US" sz="996" b="1" i="0" spc="-44" baseline="0" dirty="0">
                  <a:solidFill>
                    <a:srgbClr val="FFFFFF"/>
                  </a:solidFill>
                  <a:latin typeface="EYInterstate-LightBold"/>
                </a:rPr>
                <a:t>r</a:t>
              </a:r>
              <a:r>
                <a:rPr lang="en-US" sz="996" b="1" i="0" spc="-52" baseline="0" dirty="0">
                  <a:solidFill>
                    <a:srgbClr val="FFFFFF"/>
                  </a:solidFill>
                  <a:latin typeface="EYInterstate-LightBold"/>
                </a:rPr>
                <a:t>s</a:t>
              </a:r>
              <a:r>
                <a:rPr lang="en-US" sz="996" b="1" i="0" spc="-51" baseline="0" dirty="0">
                  <a:solidFill>
                    <a:srgbClr val="FFFFFF"/>
                  </a:solidFill>
                  <a:latin typeface="EYInterstate-LightBold"/>
                </a:rPr>
                <a:t>h</a:t>
              </a:r>
              <a:r>
                <a:rPr lang="en-US" sz="996" b="1" i="0" spc="-47" baseline="0" dirty="0">
                  <a:solidFill>
                    <a:srgbClr val="FFFFFF"/>
                  </a:solidFill>
                  <a:latin typeface="EYInterstate-LightBold"/>
                </a:rPr>
                <a:t>i</a:t>
              </a:r>
              <a:r>
                <a:rPr lang="en-US" sz="996" b="1" i="0" spc="0" baseline="0" dirty="0">
                  <a:solidFill>
                    <a:srgbClr val="FFFFFF"/>
                  </a:solidFill>
                  <a:latin typeface="EYInterstate-LightBold"/>
                </a:rPr>
                <a:t>p</a:t>
              </a:r>
            </a:p>
            <a:p>
              <a:pPr marL="0" algn="ctr">
                <a:lnSpc>
                  <a:spcPts val="1200"/>
                </a:lnSpc>
              </a:pP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d</a:t>
              </a:r>
              <a:r>
                <a:rPr lang="en-US" sz="996" b="1" i="0" spc="-28" baseline="0" dirty="0">
                  <a:solidFill>
                    <a:srgbClr val="FFFFFF"/>
                  </a:solidFill>
                  <a:latin typeface="EYInterstate-LightBold"/>
                </a:rPr>
                <a:t> </a:t>
              </a:r>
              <a:r>
                <a:rPr lang="en-US" sz="996" b="1" i="0" spc="-53" baseline="0" dirty="0">
                  <a:solidFill>
                    <a:srgbClr val="FFFFFF"/>
                  </a:solidFill>
                  <a:latin typeface="EYInterstate-LightBold"/>
                </a:rPr>
                <a:t>t</a:t>
              </a:r>
              <a:r>
                <a:rPr lang="en-US" sz="996" b="1" i="0" spc="-47" baseline="0" dirty="0">
                  <a:solidFill>
                    <a:srgbClr val="FFFFFF"/>
                  </a:solidFill>
                  <a:latin typeface="EYInterstate-LightBold"/>
                </a:rPr>
                <a:t>e</a:t>
              </a:r>
              <a:r>
                <a:rPr lang="en-US" sz="996" b="1" i="0" spc="-43" baseline="0" dirty="0">
                  <a:solidFill>
                    <a:srgbClr val="FFFFFF"/>
                  </a:solidFill>
                  <a:latin typeface="EYInterstate-LightBold"/>
                </a:rPr>
                <a:t>a</a:t>
              </a:r>
              <a:r>
                <a:rPr lang="en-US" sz="996" b="1" i="0" spc="-53" baseline="0" dirty="0">
                  <a:solidFill>
                    <a:srgbClr val="FFFFFF"/>
                  </a:solidFill>
                  <a:latin typeface="EYInterstate-LightBold"/>
                </a:rPr>
                <a:t>m</a:t>
              </a:r>
              <a:r>
                <a:rPr lang="en-US" sz="996" b="1" i="0" spc="-47" baseline="0" dirty="0">
                  <a:solidFill>
                    <a:srgbClr val="FFFFFF"/>
                  </a:solidFill>
                  <a:latin typeface="EYInterstate-LightBold"/>
                </a:rPr>
                <a:t>i</a:t>
              </a:r>
              <a:r>
                <a:rPr lang="en-US" sz="996" b="1" i="0" spc="-51" baseline="0" dirty="0">
                  <a:solidFill>
                    <a:srgbClr val="FFFFFF"/>
                  </a:solidFill>
                  <a:latin typeface="EYInterstate-LightBold"/>
                </a:rPr>
                <a:t>n</a:t>
              </a:r>
              <a:r>
                <a:rPr lang="en-US" sz="996" b="1" i="0" spc="0" baseline="0" dirty="0">
                  <a:solidFill>
                    <a:srgbClr val="FFFFFF"/>
                  </a:solidFill>
                  <a:latin typeface="EYInterstate-LightBold"/>
                </a:rPr>
                <a:t>g</a:t>
              </a:r>
            </a:p>
          </p:txBody>
        </p:sp>
      </p:grpSp>
      <p:grpSp>
        <p:nvGrpSpPr>
          <p:cNvPr id="138" name="Group 137"/>
          <p:cNvGrpSpPr/>
          <p:nvPr/>
        </p:nvGrpSpPr>
        <p:grpSpPr>
          <a:xfrm>
            <a:off x="5194908" y="4096177"/>
            <a:ext cx="665987" cy="1006921"/>
            <a:chOff x="10882883" y="4603676"/>
            <a:chExt cx="665987" cy="1006921"/>
          </a:xfrm>
        </p:grpSpPr>
        <p:grpSp>
          <p:nvGrpSpPr>
            <p:cNvPr id="139" name="Group 138"/>
            <p:cNvGrpSpPr/>
            <p:nvPr/>
          </p:nvGrpSpPr>
          <p:grpSpPr>
            <a:xfrm>
              <a:off x="10882883" y="4603676"/>
              <a:ext cx="665987" cy="665986"/>
              <a:chOff x="10882883" y="4603676"/>
              <a:chExt cx="665987" cy="665986"/>
            </a:xfrm>
          </p:grpSpPr>
          <p:sp>
            <p:nvSpPr>
              <p:cNvPr id="141" name="Freeform 395"/>
              <p:cNvSpPr/>
              <p:nvPr/>
            </p:nvSpPr>
            <p:spPr>
              <a:xfrm>
                <a:off x="10882883" y="4603676"/>
                <a:ext cx="665987" cy="665986"/>
              </a:xfrm>
              <a:custGeom>
                <a:avLst/>
                <a:gdLst/>
                <a:ahLst/>
                <a:cxnLst/>
                <a:rect l="0" t="0" r="0" b="0"/>
                <a:pathLst>
                  <a:path w="665987" h="665986">
                    <a:moveTo>
                      <a:pt x="0" y="332993"/>
                    </a:moveTo>
                    <a:cubicBezTo>
                      <a:pt x="0" y="149085"/>
                      <a:pt x="149085" y="0"/>
                      <a:pt x="332993" y="0"/>
                    </a:cubicBezTo>
                    <a:cubicBezTo>
                      <a:pt x="516902" y="0"/>
                      <a:pt x="665987" y="149085"/>
                      <a:pt x="665987" y="332993"/>
                    </a:cubicBezTo>
                    <a:cubicBezTo>
                      <a:pt x="665987" y="516901"/>
                      <a:pt x="516902" y="665986"/>
                      <a:pt x="332993" y="665986"/>
                    </a:cubicBezTo>
                    <a:cubicBezTo>
                      <a:pt x="149085"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42" name="Freeform 396"/>
              <p:cNvSpPr/>
              <p:nvPr/>
            </p:nvSpPr>
            <p:spPr>
              <a:xfrm>
                <a:off x="11349227" y="4783503"/>
                <a:ext cx="82295" cy="85343"/>
              </a:xfrm>
              <a:custGeom>
                <a:avLst/>
                <a:gdLst/>
                <a:ahLst/>
                <a:cxnLst/>
                <a:rect l="0" t="0" r="0" b="0"/>
                <a:pathLst>
                  <a:path w="82295" h="85343">
                    <a:moveTo>
                      <a:pt x="58293" y="23901"/>
                    </a:moveTo>
                    <a:cubicBezTo>
                      <a:pt x="68580" y="37553"/>
                      <a:pt x="68580" y="61454"/>
                      <a:pt x="54864" y="71691"/>
                    </a:cubicBezTo>
                    <a:cubicBezTo>
                      <a:pt x="34291" y="85343"/>
                      <a:pt x="17145" y="64871"/>
                      <a:pt x="17145" y="47802"/>
                    </a:cubicBezTo>
                    <a:cubicBezTo>
                      <a:pt x="34291" y="51206"/>
                      <a:pt x="51435" y="40969"/>
                      <a:pt x="58293" y="23901"/>
                    </a:cubicBezTo>
                    <a:moveTo>
                      <a:pt x="0" y="68274"/>
                    </a:moveTo>
                    <a:cubicBezTo>
                      <a:pt x="0" y="75107"/>
                      <a:pt x="6858" y="78523"/>
                      <a:pt x="13717" y="81940"/>
                    </a:cubicBezTo>
                    <a:cubicBezTo>
                      <a:pt x="17145" y="81940"/>
                      <a:pt x="20574" y="78523"/>
                      <a:pt x="24003" y="78523"/>
                    </a:cubicBezTo>
                    <a:cubicBezTo>
                      <a:pt x="27432" y="78523"/>
                      <a:pt x="27432" y="78523"/>
                      <a:pt x="34291" y="81940"/>
                    </a:cubicBezTo>
                    <a:cubicBezTo>
                      <a:pt x="37719" y="81940"/>
                      <a:pt x="44577" y="81940"/>
                      <a:pt x="51435" y="78523"/>
                    </a:cubicBezTo>
                    <a:lnTo>
                      <a:pt x="58293" y="78523"/>
                    </a:lnTo>
                    <a:cubicBezTo>
                      <a:pt x="61722" y="81940"/>
                      <a:pt x="65151" y="81940"/>
                      <a:pt x="68580" y="78523"/>
                    </a:cubicBezTo>
                    <a:cubicBezTo>
                      <a:pt x="75438" y="78523"/>
                      <a:pt x="82295" y="75107"/>
                      <a:pt x="82295" y="68274"/>
                    </a:cubicBezTo>
                    <a:cubicBezTo>
                      <a:pt x="78867" y="68274"/>
                      <a:pt x="75438" y="64871"/>
                      <a:pt x="72009" y="64871"/>
                    </a:cubicBezTo>
                    <a:cubicBezTo>
                      <a:pt x="72009" y="64871"/>
                      <a:pt x="68580" y="64871"/>
                      <a:pt x="68580" y="61454"/>
                    </a:cubicBezTo>
                    <a:cubicBezTo>
                      <a:pt x="68580" y="58038"/>
                      <a:pt x="68580" y="61454"/>
                      <a:pt x="72009" y="58038"/>
                    </a:cubicBezTo>
                    <a:cubicBezTo>
                      <a:pt x="78867" y="54622"/>
                      <a:pt x="75438" y="44386"/>
                      <a:pt x="75438" y="37553"/>
                    </a:cubicBezTo>
                    <a:cubicBezTo>
                      <a:pt x="72009" y="23901"/>
                      <a:pt x="65151" y="10249"/>
                      <a:pt x="48006" y="3416"/>
                    </a:cubicBezTo>
                    <a:cubicBezTo>
                      <a:pt x="34291" y="0"/>
                      <a:pt x="17145" y="6833"/>
                      <a:pt x="10288" y="20485"/>
                    </a:cubicBezTo>
                    <a:cubicBezTo>
                      <a:pt x="6858" y="27317"/>
                      <a:pt x="6858" y="34137"/>
                      <a:pt x="6858" y="44386"/>
                    </a:cubicBezTo>
                    <a:lnTo>
                      <a:pt x="6858" y="54622"/>
                    </a:lnTo>
                    <a:cubicBezTo>
                      <a:pt x="6858" y="58038"/>
                      <a:pt x="13717" y="61454"/>
                      <a:pt x="13717" y="61454"/>
                    </a:cubicBezTo>
                    <a:cubicBezTo>
                      <a:pt x="13717" y="64871"/>
                      <a:pt x="0" y="68274"/>
                      <a:pt x="0" y="68274"/>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43" name="Freeform 397"/>
              <p:cNvSpPr/>
              <p:nvPr/>
            </p:nvSpPr>
            <p:spPr>
              <a:xfrm>
                <a:off x="10968222" y="4855136"/>
                <a:ext cx="492251" cy="219455"/>
              </a:xfrm>
              <a:custGeom>
                <a:avLst/>
                <a:gdLst/>
                <a:ahLst/>
                <a:cxnLst/>
                <a:rect l="0" t="0" r="0" b="0"/>
                <a:pathLst>
                  <a:path w="492251" h="219455">
                    <a:moveTo>
                      <a:pt x="482003" y="48005"/>
                    </a:moveTo>
                    <a:lnTo>
                      <a:pt x="482003" y="164591"/>
                    </a:lnTo>
                    <a:lnTo>
                      <a:pt x="461493" y="164591"/>
                    </a:lnTo>
                    <a:lnTo>
                      <a:pt x="458077" y="144016"/>
                    </a:lnTo>
                    <a:lnTo>
                      <a:pt x="458077" y="85724"/>
                    </a:lnTo>
                    <a:lnTo>
                      <a:pt x="464909" y="54863"/>
                    </a:lnTo>
                    <a:lnTo>
                      <a:pt x="461493" y="51434"/>
                    </a:lnTo>
                    <a:lnTo>
                      <a:pt x="451231" y="85724"/>
                    </a:lnTo>
                    <a:lnTo>
                      <a:pt x="451231" y="144016"/>
                    </a:lnTo>
                    <a:lnTo>
                      <a:pt x="393129" y="144016"/>
                    </a:lnTo>
                    <a:lnTo>
                      <a:pt x="393129" y="85724"/>
                    </a:lnTo>
                    <a:lnTo>
                      <a:pt x="386284" y="51434"/>
                    </a:lnTo>
                    <a:lnTo>
                      <a:pt x="379451" y="54863"/>
                    </a:lnTo>
                    <a:lnTo>
                      <a:pt x="386284" y="85724"/>
                    </a:lnTo>
                    <a:lnTo>
                      <a:pt x="386284" y="144016"/>
                    </a:lnTo>
                    <a:lnTo>
                      <a:pt x="382867" y="164591"/>
                    </a:lnTo>
                    <a:lnTo>
                      <a:pt x="362357" y="164591"/>
                    </a:lnTo>
                    <a:lnTo>
                      <a:pt x="362357" y="85724"/>
                    </a:lnTo>
                    <a:lnTo>
                      <a:pt x="365773" y="65150"/>
                    </a:lnTo>
                    <a:cubicBezTo>
                      <a:pt x="365773" y="61721"/>
                      <a:pt x="365773" y="58292"/>
                      <a:pt x="362357" y="54863"/>
                    </a:cubicBezTo>
                    <a:lnTo>
                      <a:pt x="362357" y="48005"/>
                    </a:lnTo>
                    <a:cubicBezTo>
                      <a:pt x="362357" y="41147"/>
                      <a:pt x="365773" y="34289"/>
                      <a:pt x="382867" y="27431"/>
                    </a:cubicBezTo>
                    <a:lnTo>
                      <a:pt x="399961" y="27431"/>
                    </a:lnTo>
                    <a:lnTo>
                      <a:pt x="420472" y="72007"/>
                    </a:lnTo>
                    <a:lnTo>
                      <a:pt x="444399" y="27431"/>
                    </a:lnTo>
                    <a:cubicBezTo>
                      <a:pt x="444399" y="27431"/>
                      <a:pt x="458077" y="27431"/>
                      <a:pt x="461493" y="30860"/>
                    </a:cubicBezTo>
                    <a:cubicBezTo>
                      <a:pt x="482003" y="30860"/>
                      <a:pt x="482003" y="44576"/>
                      <a:pt x="482003" y="48005"/>
                    </a:cubicBezTo>
                    <a:moveTo>
                      <a:pt x="482003" y="171449"/>
                    </a:moveTo>
                    <a:lnTo>
                      <a:pt x="471755" y="202309"/>
                    </a:lnTo>
                    <a:lnTo>
                      <a:pt x="464909" y="171449"/>
                    </a:lnTo>
                    <a:close/>
                    <a:moveTo>
                      <a:pt x="372618" y="198881"/>
                    </a:moveTo>
                    <a:lnTo>
                      <a:pt x="362357" y="171449"/>
                    </a:lnTo>
                    <a:lnTo>
                      <a:pt x="379451" y="171449"/>
                    </a:lnTo>
                    <a:close/>
                    <a:moveTo>
                      <a:pt x="147003" y="188593"/>
                    </a:moveTo>
                    <a:lnTo>
                      <a:pt x="147003" y="133730"/>
                    </a:lnTo>
                    <a:lnTo>
                      <a:pt x="153835" y="188593"/>
                    </a:lnTo>
                    <a:close/>
                    <a:moveTo>
                      <a:pt x="492251" y="48005"/>
                    </a:moveTo>
                    <a:cubicBezTo>
                      <a:pt x="492251" y="41147"/>
                      <a:pt x="488835" y="24003"/>
                      <a:pt x="464909" y="17144"/>
                    </a:cubicBezTo>
                    <a:cubicBezTo>
                      <a:pt x="451231" y="17144"/>
                      <a:pt x="440982" y="13715"/>
                      <a:pt x="440982" y="13715"/>
                    </a:cubicBezTo>
                    <a:lnTo>
                      <a:pt x="420472" y="58292"/>
                    </a:lnTo>
                    <a:lnTo>
                      <a:pt x="399961" y="13715"/>
                    </a:lnTo>
                    <a:cubicBezTo>
                      <a:pt x="399961" y="13715"/>
                      <a:pt x="386284" y="17144"/>
                      <a:pt x="379451" y="17144"/>
                    </a:cubicBezTo>
                    <a:cubicBezTo>
                      <a:pt x="358941" y="20573"/>
                      <a:pt x="355524" y="37718"/>
                      <a:pt x="352108" y="44576"/>
                    </a:cubicBezTo>
                    <a:cubicBezTo>
                      <a:pt x="348692" y="41147"/>
                      <a:pt x="345263" y="41147"/>
                      <a:pt x="338430" y="37718"/>
                    </a:cubicBezTo>
                    <a:lnTo>
                      <a:pt x="287147" y="20573"/>
                    </a:lnTo>
                    <a:lnTo>
                      <a:pt x="266637" y="123443"/>
                    </a:lnTo>
                    <a:lnTo>
                      <a:pt x="259804" y="41147"/>
                    </a:lnTo>
                    <a:cubicBezTo>
                      <a:pt x="263221" y="41147"/>
                      <a:pt x="263221" y="37718"/>
                      <a:pt x="266637" y="37718"/>
                    </a:cubicBezTo>
                    <a:lnTo>
                      <a:pt x="252972" y="24003"/>
                    </a:lnTo>
                    <a:lnTo>
                      <a:pt x="239294" y="37718"/>
                    </a:lnTo>
                    <a:cubicBezTo>
                      <a:pt x="242710" y="37718"/>
                      <a:pt x="242710" y="41147"/>
                      <a:pt x="246126" y="41147"/>
                    </a:cubicBezTo>
                    <a:lnTo>
                      <a:pt x="239294" y="123443"/>
                    </a:lnTo>
                    <a:lnTo>
                      <a:pt x="222200" y="24003"/>
                    </a:lnTo>
                    <a:lnTo>
                      <a:pt x="222200" y="20573"/>
                    </a:lnTo>
                    <a:lnTo>
                      <a:pt x="184595" y="34289"/>
                    </a:lnTo>
                    <a:cubicBezTo>
                      <a:pt x="181179" y="30860"/>
                      <a:pt x="177762" y="20573"/>
                      <a:pt x="160668" y="13715"/>
                    </a:cubicBezTo>
                    <a:lnTo>
                      <a:pt x="157252" y="13715"/>
                    </a:lnTo>
                    <a:lnTo>
                      <a:pt x="116231" y="0"/>
                    </a:lnTo>
                    <a:lnTo>
                      <a:pt x="112815" y="10286"/>
                    </a:lnTo>
                    <a:lnTo>
                      <a:pt x="153835" y="24003"/>
                    </a:lnTo>
                    <a:cubicBezTo>
                      <a:pt x="153835" y="24003"/>
                      <a:pt x="170930" y="27431"/>
                      <a:pt x="170930" y="37718"/>
                    </a:cubicBezTo>
                    <a:lnTo>
                      <a:pt x="167513" y="41147"/>
                    </a:lnTo>
                    <a:cubicBezTo>
                      <a:pt x="153835" y="44576"/>
                      <a:pt x="140158" y="51434"/>
                      <a:pt x="140158" y="65150"/>
                    </a:cubicBezTo>
                    <a:lnTo>
                      <a:pt x="143574" y="89153"/>
                    </a:lnTo>
                    <a:lnTo>
                      <a:pt x="140158" y="174877"/>
                    </a:lnTo>
                    <a:lnTo>
                      <a:pt x="44450" y="174877"/>
                    </a:lnTo>
                    <a:lnTo>
                      <a:pt x="41021" y="54863"/>
                    </a:lnTo>
                    <a:lnTo>
                      <a:pt x="34189" y="54863"/>
                    </a:lnTo>
                    <a:lnTo>
                      <a:pt x="37605" y="188593"/>
                    </a:lnTo>
                    <a:lnTo>
                      <a:pt x="20511" y="188593"/>
                    </a:lnTo>
                    <a:lnTo>
                      <a:pt x="13678" y="188593"/>
                    </a:lnTo>
                    <a:cubicBezTo>
                      <a:pt x="13678" y="188593"/>
                      <a:pt x="13678" y="51434"/>
                      <a:pt x="10262" y="37718"/>
                    </a:cubicBezTo>
                    <a:cubicBezTo>
                      <a:pt x="10262" y="27431"/>
                      <a:pt x="30773" y="24003"/>
                      <a:pt x="30773" y="24003"/>
                    </a:cubicBezTo>
                    <a:lnTo>
                      <a:pt x="71794" y="10286"/>
                    </a:lnTo>
                    <a:lnTo>
                      <a:pt x="68377" y="0"/>
                    </a:lnTo>
                    <a:lnTo>
                      <a:pt x="27356" y="13715"/>
                    </a:lnTo>
                    <a:lnTo>
                      <a:pt x="23940" y="13715"/>
                    </a:lnTo>
                    <a:cubicBezTo>
                      <a:pt x="23940" y="13715"/>
                      <a:pt x="0" y="20573"/>
                      <a:pt x="0" y="37718"/>
                    </a:cubicBezTo>
                    <a:cubicBezTo>
                      <a:pt x="0" y="58292"/>
                      <a:pt x="3429" y="198881"/>
                      <a:pt x="3429" y="198881"/>
                    </a:cubicBezTo>
                    <a:lnTo>
                      <a:pt x="13678" y="198881"/>
                    </a:lnTo>
                    <a:lnTo>
                      <a:pt x="23940" y="219455"/>
                    </a:lnTo>
                    <a:lnTo>
                      <a:pt x="37605" y="219455"/>
                    </a:lnTo>
                    <a:lnTo>
                      <a:pt x="23940" y="195451"/>
                    </a:lnTo>
                    <a:lnTo>
                      <a:pt x="37605" y="195451"/>
                    </a:lnTo>
                    <a:lnTo>
                      <a:pt x="41021" y="219455"/>
                    </a:lnTo>
                    <a:lnTo>
                      <a:pt x="88888" y="219455"/>
                    </a:lnTo>
                    <a:lnTo>
                      <a:pt x="88888" y="198881"/>
                    </a:lnTo>
                    <a:lnTo>
                      <a:pt x="95720" y="198881"/>
                    </a:lnTo>
                    <a:lnTo>
                      <a:pt x="95720" y="219455"/>
                    </a:lnTo>
                    <a:lnTo>
                      <a:pt x="143574" y="219455"/>
                    </a:lnTo>
                    <a:lnTo>
                      <a:pt x="147003" y="195451"/>
                    </a:lnTo>
                    <a:lnTo>
                      <a:pt x="153835" y="195451"/>
                    </a:lnTo>
                    <a:lnTo>
                      <a:pt x="153835" y="205739"/>
                    </a:lnTo>
                    <a:lnTo>
                      <a:pt x="147003" y="219455"/>
                    </a:lnTo>
                    <a:lnTo>
                      <a:pt x="160668" y="219455"/>
                    </a:lnTo>
                    <a:lnTo>
                      <a:pt x="164084" y="209167"/>
                    </a:lnTo>
                    <a:lnTo>
                      <a:pt x="242710" y="198881"/>
                    </a:lnTo>
                    <a:lnTo>
                      <a:pt x="218783" y="192023"/>
                    </a:lnTo>
                    <a:lnTo>
                      <a:pt x="218783" y="171449"/>
                    </a:lnTo>
                    <a:cubicBezTo>
                      <a:pt x="218783" y="171449"/>
                      <a:pt x="205118" y="164591"/>
                      <a:pt x="194856" y="161161"/>
                    </a:cubicBezTo>
                    <a:cubicBezTo>
                      <a:pt x="188024" y="161161"/>
                      <a:pt x="188024" y="147445"/>
                      <a:pt x="188024" y="144016"/>
                    </a:cubicBezTo>
                    <a:lnTo>
                      <a:pt x="184595" y="92581"/>
                    </a:lnTo>
                    <a:lnTo>
                      <a:pt x="191440" y="89153"/>
                    </a:lnTo>
                    <a:lnTo>
                      <a:pt x="194856" y="133730"/>
                    </a:lnTo>
                    <a:cubicBezTo>
                      <a:pt x="208534" y="126872"/>
                      <a:pt x="222200" y="137158"/>
                      <a:pt x="222200" y="137158"/>
                    </a:cubicBezTo>
                    <a:lnTo>
                      <a:pt x="283731" y="150875"/>
                    </a:lnTo>
                    <a:lnTo>
                      <a:pt x="283731" y="147445"/>
                    </a:lnTo>
                    <a:cubicBezTo>
                      <a:pt x="283731" y="147445"/>
                      <a:pt x="287147" y="137158"/>
                      <a:pt x="297409" y="137158"/>
                    </a:cubicBezTo>
                    <a:lnTo>
                      <a:pt x="314503" y="137158"/>
                    </a:lnTo>
                    <a:lnTo>
                      <a:pt x="321336" y="85724"/>
                    </a:lnTo>
                    <a:lnTo>
                      <a:pt x="324752" y="85724"/>
                    </a:lnTo>
                    <a:lnTo>
                      <a:pt x="324752" y="89153"/>
                    </a:lnTo>
                    <a:lnTo>
                      <a:pt x="317919" y="161161"/>
                    </a:lnTo>
                    <a:lnTo>
                      <a:pt x="229045" y="144016"/>
                    </a:lnTo>
                    <a:lnTo>
                      <a:pt x="225629" y="185165"/>
                    </a:lnTo>
                    <a:lnTo>
                      <a:pt x="331597" y="212597"/>
                    </a:lnTo>
                    <a:lnTo>
                      <a:pt x="352108" y="216025"/>
                    </a:lnTo>
                    <a:lnTo>
                      <a:pt x="355524" y="178307"/>
                    </a:lnTo>
                    <a:lnTo>
                      <a:pt x="365773" y="216025"/>
                    </a:lnTo>
                    <a:lnTo>
                      <a:pt x="365773" y="219455"/>
                    </a:lnTo>
                    <a:lnTo>
                      <a:pt x="478587" y="219455"/>
                    </a:lnTo>
                    <a:lnTo>
                      <a:pt x="478587" y="212597"/>
                    </a:lnTo>
                    <a:lnTo>
                      <a:pt x="492251" y="171449"/>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44" name="Freeform 399"/>
              <p:cNvSpPr/>
              <p:nvPr/>
            </p:nvSpPr>
            <p:spPr>
              <a:xfrm>
                <a:off x="11027664" y="4774363"/>
                <a:ext cx="68580" cy="77723"/>
              </a:xfrm>
              <a:custGeom>
                <a:avLst/>
                <a:gdLst/>
                <a:ahLst/>
                <a:cxnLst/>
                <a:rect l="0" t="0" r="0" b="0"/>
                <a:pathLst>
                  <a:path w="68580" h="77723">
                    <a:moveTo>
                      <a:pt x="10287" y="37172"/>
                    </a:moveTo>
                    <a:lnTo>
                      <a:pt x="10287" y="27038"/>
                    </a:lnTo>
                    <a:cubicBezTo>
                      <a:pt x="13716" y="23660"/>
                      <a:pt x="17145" y="20281"/>
                      <a:pt x="20574" y="20281"/>
                    </a:cubicBezTo>
                    <a:cubicBezTo>
                      <a:pt x="24003" y="23660"/>
                      <a:pt x="27432" y="27038"/>
                      <a:pt x="34289" y="27038"/>
                    </a:cubicBezTo>
                    <a:cubicBezTo>
                      <a:pt x="41148" y="27038"/>
                      <a:pt x="44577" y="23660"/>
                      <a:pt x="48006" y="20281"/>
                    </a:cubicBezTo>
                    <a:cubicBezTo>
                      <a:pt x="51435" y="20281"/>
                      <a:pt x="54863" y="23660"/>
                      <a:pt x="58292" y="27038"/>
                    </a:cubicBezTo>
                    <a:lnTo>
                      <a:pt x="58292" y="37172"/>
                    </a:lnTo>
                    <a:lnTo>
                      <a:pt x="58292" y="43928"/>
                    </a:lnTo>
                    <a:cubicBezTo>
                      <a:pt x="58292" y="60832"/>
                      <a:pt x="48006" y="74344"/>
                      <a:pt x="34289" y="74344"/>
                    </a:cubicBezTo>
                    <a:cubicBezTo>
                      <a:pt x="20574" y="74344"/>
                      <a:pt x="10287" y="60832"/>
                      <a:pt x="10287" y="43928"/>
                    </a:cubicBezTo>
                    <a:close/>
                    <a:moveTo>
                      <a:pt x="3429" y="47306"/>
                    </a:moveTo>
                    <a:cubicBezTo>
                      <a:pt x="3429" y="64210"/>
                      <a:pt x="17145" y="77723"/>
                      <a:pt x="34289" y="77723"/>
                    </a:cubicBezTo>
                    <a:cubicBezTo>
                      <a:pt x="51435" y="77723"/>
                      <a:pt x="65151" y="64210"/>
                      <a:pt x="65151" y="47306"/>
                    </a:cubicBezTo>
                    <a:lnTo>
                      <a:pt x="65151" y="37172"/>
                    </a:lnTo>
                    <a:cubicBezTo>
                      <a:pt x="65151" y="27038"/>
                      <a:pt x="68580" y="13512"/>
                      <a:pt x="61722" y="10134"/>
                    </a:cubicBezTo>
                    <a:cubicBezTo>
                      <a:pt x="58292" y="6756"/>
                      <a:pt x="51435" y="3378"/>
                      <a:pt x="48006" y="6756"/>
                    </a:cubicBezTo>
                    <a:cubicBezTo>
                      <a:pt x="44577" y="3378"/>
                      <a:pt x="37719" y="0"/>
                      <a:pt x="34289" y="0"/>
                    </a:cubicBezTo>
                    <a:cubicBezTo>
                      <a:pt x="24003" y="0"/>
                      <a:pt x="10287" y="6756"/>
                      <a:pt x="3429" y="13512"/>
                    </a:cubicBezTo>
                    <a:cubicBezTo>
                      <a:pt x="0" y="20281"/>
                      <a:pt x="3429" y="30416"/>
                      <a:pt x="3429" y="37172"/>
                    </a:cubicBezTo>
                    <a:lnTo>
                      <a:pt x="3429" y="47306"/>
                    </a:ln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45" name="Freeform 400"/>
              <p:cNvSpPr/>
              <p:nvPr/>
            </p:nvSpPr>
            <p:spPr>
              <a:xfrm>
                <a:off x="11047476" y="4865805"/>
                <a:ext cx="28954" cy="147828"/>
              </a:xfrm>
              <a:custGeom>
                <a:avLst/>
                <a:gdLst/>
                <a:ahLst/>
                <a:cxnLst/>
                <a:rect l="0" t="0" r="0" b="0"/>
                <a:pathLst>
                  <a:path w="28954" h="147828">
                    <a:moveTo>
                      <a:pt x="14477" y="147828"/>
                    </a:moveTo>
                    <a:lnTo>
                      <a:pt x="28954" y="133935"/>
                    </a:lnTo>
                    <a:lnTo>
                      <a:pt x="17105" y="17692"/>
                    </a:lnTo>
                    <a:lnTo>
                      <a:pt x="25005" y="10110"/>
                    </a:lnTo>
                    <a:lnTo>
                      <a:pt x="14477" y="0"/>
                    </a:lnTo>
                    <a:lnTo>
                      <a:pt x="3949" y="10110"/>
                    </a:lnTo>
                    <a:lnTo>
                      <a:pt x="6578" y="17692"/>
                    </a:lnTo>
                    <a:lnTo>
                      <a:pt x="0" y="133935"/>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46" name="Freeform 401"/>
              <p:cNvSpPr/>
              <p:nvPr/>
            </p:nvSpPr>
            <p:spPr>
              <a:xfrm>
                <a:off x="11181587" y="4769792"/>
                <a:ext cx="82296" cy="102107"/>
              </a:xfrm>
              <a:custGeom>
                <a:avLst/>
                <a:gdLst/>
                <a:ahLst/>
                <a:cxnLst/>
                <a:rect l="0" t="0" r="0" b="0"/>
                <a:pathLst>
                  <a:path w="82296" h="102107">
                    <a:moveTo>
                      <a:pt x="6858" y="44246"/>
                    </a:moveTo>
                    <a:cubicBezTo>
                      <a:pt x="6858" y="40843"/>
                      <a:pt x="6858" y="37439"/>
                      <a:pt x="10287" y="34036"/>
                    </a:cubicBezTo>
                    <a:cubicBezTo>
                      <a:pt x="10287" y="27228"/>
                      <a:pt x="13716" y="23825"/>
                      <a:pt x="20574" y="23825"/>
                    </a:cubicBezTo>
                    <a:cubicBezTo>
                      <a:pt x="24003" y="27228"/>
                      <a:pt x="30860" y="30632"/>
                      <a:pt x="37719" y="30632"/>
                    </a:cubicBezTo>
                    <a:cubicBezTo>
                      <a:pt x="48006" y="30632"/>
                      <a:pt x="54863" y="27228"/>
                      <a:pt x="58293" y="20421"/>
                    </a:cubicBezTo>
                    <a:cubicBezTo>
                      <a:pt x="61722" y="23825"/>
                      <a:pt x="68580" y="27228"/>
                      <a:pt x="72009" y="30632"/>
                    </a:cubicBezTo>
                    <a:lnTo>
                      <a:pt x="72009" y="44246"/>
                    </a:lnTo>
                    <a:lnTo>
                      <a:pt x="72009" y="54456"/>
                    </a:lnTo>
                    <a:cubicBezTo>
                      <a:pt x="72009" y="74878"/>
                      <a:pt x="58293" y="91896"/>
                      <a:pt x="41148" y="91896"/>
                    </a:cubicBezTo>
                    <a:cubicBezTo>
                      <a:pt x="20574" y="91896"/>
                      <a:pt x="6858" y="74878"/>
                      <a:pt x="6858" y="54456"/>
                    </a:cubicBezTo>
                    <a:close/>
                    <a:moveTo>
                      <a:pt x="41148" y="102107"/>
                    </a:moveTo>
                    <a:cubicBezTo>
                      <a:pt x="61722" y="102107"/>
                      <a:pt x="78867" y="81685"/>
                      <a:pt x="82296" y="57860"/>
                    </a:cubicBezTo>
                    <a:lnTo>
                      <a:pt x="82296" y="44246"/>
                    </a:lnTo>
                    <a:cubicBezTo>
                      <a:pt x="82296" y="20421"/>
                      <a:pt x="61722" y="0"/>
                      <a:pt x="41148" y="0"/>
                    </a:cubicBezTo>
                    <a:cubicBezTo>
                      <a:pt x="17145" y="0"/>
                      <a:pt x="0" y="20421"/>
                      <a:pt x="0" y="44246"/>
                    </a:cubicBezTo>
                    <a:lnTo>
                      <a:pt x="0" y="57860"/>
                    </a:lnTo>
                    <a:cubicBezTo>
                      <a:pt x="0" y="81685"/>
                      <a:pt x="17145" y="102107"/>
                      <a:pt x="41148" y="102107"/>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40" name="Rectangle 436"/>
            <p:cNvSpPr/>
            <p:nvPr/>
          </p:nvSpPr>
          <p:spPr>
            <a:xfrm>
              <a:off x="10938717" y="5303462"/>
              <a:ext cx="554319" cy="307135"/>
            </a:xfrm>
            <a:prstGeom prst="rect">
              <a:avLst/>
            </a:prstGeom>
          </p:spPr>
          <p:txBody>
            <a:bodyPr wrap="none" lIns="0" tIns="0" rIns="0" bIns="0">
              <a:spAutoFit/>
            </a:bodyPr>
            <a:lstStyle/>
            <a:p>
              <a:pPr algn="ctr"/>
              <a:r>
                <a:rPr lang="en-US" sz="996" b="1" i="0" spc="-52" baseline="0" dirty="0">
                  <a:solidFill>
                    <a:srgbClr val="FFFFFF"/>
                  </a:solidFill>
                  <a:latin typeface="EYInterstate-LightBold"/>
                </a:rPr>
                <a:t>T</a:t>
              </a:r>
              <a:r>
                <a:rPr lang="en-US" sz="996" b="1" i="0" spc="-43" baseline="0" dirty="0">
                  <a:solidFill>
                    <a:srgbClr val="FFFFFF"/>
                  </a:solidFill>
                  <a:latin typeface="EYInterstate-LightBold"/>
                </a:rPr>
                <a:t>a</a:t>
              </a:r>
              <a:r>
                <a:rPr lang="en-US" sz="996" b="1" i="0" spc="-47" baseline="0" dirty="0">
                  <a:solidFill>
                    <a:srgbClr val="FFFFFF"/>
                  </a:solidFill>
                  <a:latin typeface="EYInterstate-LightBold"/>
                </a:rPr>
                <a:t>le</a:t>
              </a:r>
              <a:r>
                <a:rPr lang="en-US" sz="996" b="1" i="0" spc="-51" baseline="0" dirty="0">
                  <a:solidFill>
                    <a:srgbClr val="FFFFFF"/>
                  </a:solidFill>
                  <a:latin typeface="EYInterstate-LightBold"/>
                </a:rPr>
                <a:t>n</a:t>
              </a:r>
              <a:r>
                <a:rPr lang="en-US" sz="996" b="1" i="0" spc="0" baseline="0" dirty="0">
                  <a:solidFill>
                    <a:srgbClr val="FFFFFF"/>
                  </a:solidFill>
                  <a:latin typeface="EYInterstate-LightBold"/>
                </a:rPr>
                <a:t>t</a:t>
              </a:r>
            </a:p>
            <a:p>
              <a:pPr marL="0" algn="ctr">
                <a:lnSpc>
                  <a:spcPts val="1200"/>
                </a:lnSpc>
              </a:pPr>
              <a:r>
                <a:rPr lang="en-US" sz="996" b="1" i="0" spc="-43" baseline="0" dirty="0">
                  <a:solidFill>
                    <a:srgbClr val="FFFFFF"/>
                  </a:solidFill>
                  <a:latin typeface="EYInterstate-LightBold"/>
                </a:rPr>
                <a:t>a</a:t>
              </a:r>
              <a:r>
                <a:rPr lang="en-US" sz="996" b="1" i="0" spc="-47" baseline="0" dirty="0">
                  <a:solidFill>
                    <a:srgbClr val="FFFFFF"/>
                  </a:solidFill>
                  <a:latin typeface="EYInterstate-LightBold"/>
                </a:rPr>
                <a:t>li</a:t>
              </a:r>
              <a:r>
                <a:rPr lang="en-US" sz="996" b="1" i="0" spc="-51" baseline="0" dirty="0">
                  <a:solidFill>
                    <a:srgbClr val="FFFFFF"/>
                  </a:solidFill>
                  <a:latin typeface="EYInterstate-LightBold"/>
                </a:rPr>
                <a:t>gn</a:t>
              </a:r>
              <a:r>
                <a:rPr lang="en-US" sz="996" b="1" i="0" spc="-53" baseline="0" dirty="0">
                  <a:solidFill>
                    <a:srgbClr val="FFFFFF"/>
                  </a:solidFill>
                  <a:latin typeface="EYInterstate-LightBold"/>
                </a:rPr>
                <a:t>m</a:t>
              </a:r>
              <a:r>
                <a:rPr lang="en-US" sz="996" b="1" i="0" spc="-47" baseline="0" dirty="0">
                  <a:solidFill>
                    <a:srgbClr val="FFFFFF"/>
                  </a:solidFill>
                  <a:latin typeface="EYInterstate-LightBold"/>
                </a:rPr>
                <a:t>e</a:t>
              </a:r>
              <a:r>
                <a:rPr lang="en-US" sz="996" b="1" i="0" spc="-51" baseline="0" dirty="0">
                  <a:solidFill>
                    <a:srgbClr val="FFFFFF"/>
                  </a:solidFill>
                  <a:latin typeface="EYInterstate-LightBold"/>
                </a:rPr>
                <a:t>n</a:t>
              </a:r>
              <a:r>
                <a:rPr lang="en-US" sz="996" b="1" i="0" spc="0" baseline="0" dirty="0">
                  <a:solidFill>
                    <a:srgbClr val="FFFFFF"/>
                  </a:solidFill>
                  <a:latin typeface="EYInterstate-LightBold"/>
                </a:rPr>
                <a:t>t</a:t>
              </a:r>
            </a:p>
          </p:txBody>
        </p:sp>
      </p:grpSp>
      <p:grpSp>
        <p:nvGrpSpPr>
          <p:cNvPr id="147" name="Group 146"/>
          <p:cNvGrpSpPr/>
          <p:nvPr/>
        </p:nvGrpSpPr>
        <p:grpSpPr>
          <a:xfrm>
            <a:off x="7366360" y="4105361"/>
            <a:ext cx="693524" cy="1020637"/>
            <a:chOff x="4339447" y="4589960"/>
            <a:chExt cx="693524" cy="1020637"/>
          </a:xfrm>
        </p:grpSpPr>
        <p:grpSp>
          <p:nvGrpSpPr>
            <p:cNvPr id="148" name="Group 147"/>
            <p:cNvGrpSpPr/>
            <p:nvPr/>
          </p:nvGrpSpPr>
          <p:grpSpPr>
            <a:xfrm>
              <a:off x="4353216" y="4589960"/>
              <a:ext cx="665987" cy="667512"/>
              <a:chOff x="4369308" y="4589960"/>
              <a:chExt cx="665987" cy="667512"/>
            </a:xfrm>
          </p:grpSpPr>
          <p:sp>
            <p:nvSpPr>
              <p:cNvPr id="150" name="Freeform 411"/>
              <p:cNvSpPr/>
              <p:nvPr/>
            </p:nvSpPr>
            <p:spPr>
              <a:xfrm>
                <a:off x="4369308" y="4589960"/>
                <a:ext cx="665987" cy="667512"/>
              </a:xfrm>
              <a:custGeom>
                <a:avLst/>
                <a:gdLst/>
                <a:ahLst/>
                <a:cxnLst/>
                <a:rect l="0" t="0" r="0" b="0"/>
                <a:pathLst>
                  <a:path w="665987" h="667512">
                    <a:moveTo>
                      <a:pt x="0" y="333756"/>
                    </a:moveTo>
                    <a:cubicBezTo>
                      <a:pt x="0" y="149429"/>
                      <a:pt x="149085" y="0"/>
                      <a:pt x="332993" y="0"/>
                    </a:cubicBezTo>
                    <a:cubicBezTo>
                      <a:pt x="516902" y="0"/>
                      <a:pt x="665987" y="149429"/>
                      <a:pt x="665987" y="333756"/>
                    </a:cubicBezTo>
                    <a:cubicBezTo>
                      <a:pt x="665987" y="518083"/>
                      <a:pt x="516902" y="667512"/>
                      <a:pt x="332993" y="667512"/>
                    </a:cubicBezTo>
                    <a:cubicBezTo>
                      <a:pt x="149085" y="667512"/>
                      <a:pt x="0" y="518083"/>
                      <a:pt x="0" y="333756"/>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51" name="Freeform 412"/>
              <p:cNvSpPr/>
              <p:nvPr/>
            </p:nvSpPr>
            <p:spPr>
              <a:xfrm>
                <a:off x="4469891" y="4781984"/>
                <a:ext cx="458723" cy="320038"/>
              </a:xfrm>
              <a:custGeom>
                <a:avLst/>
                <a:gdLst/>
                <a:ahLst/>
                <a:cxnLst/>
                <a:rect l="0" t="0" r="0" b="0"/>
                <a:pathLst>
                  <a:path w="458723" h="320038">
                    <a:moveTo>
                      <a:pt x="0" y="17779"/>
                    </a:moveTo>
                    <a:cubicBezTo>
                      <a:pt x="0" y="10667"/>
                      <a:pt x="7061" y="0"/>
                      <a:pt x="21170" y="7112"/>
                    </a:cubicBezTo>
                    <a:lnTo>
                      <a:pt x="105854" y="46227"/>
                    </a:lnTo>
                    <a:lnTo>
                      <a:pt x="21170" y="216915"/>
                    </a:lnTo>
                    <a:lnTo>
                      <a:pt x="0" y="206247"/>
                    </a:lnTo>
                    <a:close/>
                    <a:moveTo>
                      <a:pt x="338747" y="224026"/>
                    </a:moveTo>
                    <a:cubicBezTo>
                      <a:pt x="338747" y="224026"/>
                      <a:pt x="338747" y="231138"/>
                      <a:pt x="335216" y="234694"/>
                    </a:cubicBezTo>
                    <a:lnTo>
                      <a:pt x="317576" y="252474"/>
                    </a:lnTo>
                    <a:cubicBezTo>
                      <a:pt x="317576" y="259587"/>
                      <a:pt x="317576" y="263142"/>
                      <a:pt x="314045" y="266699"/>
                    </a:cubicBezTo>
                    <a:lnTo>
                      <a:pt x="292874" y="288035"/>
                    </a:lnTo>
                    <a:cubicBezTo>
                      <a:pt x="285826" y="291590"/>
                      <a:pt x="282295" y="291590"/>
                      <a:pt x="275234" y="291590"/>
                    </a:cubicBezTo>
                    <a:lnTo>
                      <a:pt x="261124" y="302258"/>
                    </a:lnTo>
                    <a:cubicBezTo>
                      <a:pt x="257594" y="305815"/>
                      <a:pt x="254063" y="309370"/>
                      <a:pt x="247002" y="309370"/>
                    </a:cubicBezTo>
                    <a:lnTo>
                      <a:pt x="243471" y="305815"/>
                    </a:lnTo>
                    <a:lnTo>
                      <a:pt x="232892" y="316483"/>
                    </a:lnTo>
                    <a:cubicBezTo>
                      <a:pt x="225831" y="320038"/>
                      <a:pt x="218770" y="320038"/>
                      <a:pt x="211721" y="320038"/>
                    </a:cubicBezTo>
                    <a:lnTo>
                      <a:pt x="165849" y="312926"/>
                    </a:lnTo>
                    <a:cubicBezTo>
                      <a:pt x="155257" y="312926"/>
                      <a:pt x="144678" y="309370"/>
                      <a:pt x="137617" y="302258"/>
                    </a:cubicBezTo>
                    <a:lnTo>
                      <a:pt x="56464" y="209802"/>
                    </a:lnTo>
                    <a:lnTo>
                      <a:pt x="45872" y="206247"/>
                    </a:lnTo>
                    <a:lnTo>
                      <a:pt x="56464" y="188466"/>
                    </a:lnTo>
                    <a:lnTo>
                      <a:pt x="70573" y="195579"/>
                    </a:lnTo>
                    <a:lnTo>
                      <a:pt x="144678" y="280922"/>
                    </a:lnTo>
                    <a:cubicBezTo>
                      <a:pt x="151726" y="288035"/>
                      <a:pt x="155257" y="291590"/>
                      <a:pt x="162318" y="295147"/>
                    </a:cubicBezTo>
                    <a:lnTo>
                      <a:pt x="211721" y="302258"/>
                    </a:lnTo>
                    <a:cubicBezTo>
                      <a:pt x="215252" y="302258"/>
                      <a:pt x="218770" y="302258"/>
                      <a:pt x="222300" y="298703"/>
                    </a:cubicBezTo>
                    <a:lnTo>
                      <a:pt x="232892" y="291590"/>
                    </a:lnTo>
                    <a:cubicBezTo>
                      <a:pt x="236423" y="284479"/>
                      <a:pt x="243471" y="288035"/>
                      <a:pt x="250532" y="288035"/>
                    </a:cubicBezTo>
                    <a:lnTo>
                      <a:pt x="264642" y="277367"/>
                    </a:lnTo>
                    <a:cubicBezTo>
                      <a:pt x="271703" y="270254"/>
                      <a:pt x="278765" y="270254"/>
                      <a:pt x="282295" y="273810"/>
                    </a:cubicBezTo>
                    <a:lnTo>
                      <a:pt x="299935" y="256031"/>
                    </a:lnTo>
                    <a:cubicBezTo>
                      <a:pt x="296405" y="252474"/>
                      <a:pt x="296405" y="245363"/>
                      <a:pt x="303466" y="241806"/>
                    </a:cubicBezTo>
                    <a:lnTo>
                      <a:pt x="317576" y="227583"/>
                    </a:lnTo>
                    <a:cubicBezTo>
                      <a:pt x="321106" y="224026"/>
                      <a:pt x="321106" y="220471"/>
                      <a:pt x="321106" y="216915"/>
                    </a:cubicBezTo>
                    <a:lnTo>
                      <a:pt x="247002" y="142239"/>
                    </a:lnTo>
                    <a:lnTo>
                      <a:pt x="187020" y="163574"/>
                    </a:lnTo>
                    <a:cubicBezTo>
                      <a:pt x="176428" y="167131"/>
                      <a:pt x="169379" y="167131"/>
                      <a:pt x="162318" y="163574"/>
                    </a:cubicBezTo>
                    <a:cubicBezTo>
                      <a:pt x="162318" y="163574"/>
                      <a:pt x="151726" y="156463"/>
                      <a:pt x="148209" y="156463"/>
                    </a:cubicBezTo>
                    <a:lnTo>
                      <a:pt x="194081" y="106679"/>
                    </a:lnTo>
                    <a:lnTo>
                      <a:pt x="109385" y="78231"/>
                    </a:lnTo>
                    <a:lnTo>
                      <a:pt x="119976" y="60450"/>
                    </a:lnTo>
                    <a:lnTo>
                      <a:pt x="197599" y="85343"/>
                    </a:lnTo>
                    <a:cubicBezTo>
                      <a:pt x="201129" y="85343"/>
                      <a:pt x="204660" y="81786"/>
                      <a:pt x="204660" y="81786"/>
                    </a:cubicBezTo>
                    <a:cubicBezTo>
                      <a:pt x="211721" y="74675"/>
                      <a:pt x="218770" y="67563"/>
                      <a:pt x="229361" y="67563"/>
                    </a:cubicBezTo>
                    <a:lnTo>
                      <a:pt x="306997" y="67563"/>
                    </a:lnTo>
                    <a:lnTo>
                      <a:pt x="335216" y="56894"/>
                    </a:lnTo>
                    <a:lnTo>
                      <a:pt x="345808" y="71118"/>
                    </a:lnTo>
                    <a:lnTo>
                      <a:pt x="310515" y="88898"/>
                    </a:lnTo>
                    <a:lnTo>
                      <a:pt x="229361" y="88898"/>
                    </a:lnTo>
                    <a:cubicBezTo>
                      <a:pt x="225831" y="88898"/>
                      <a:pt x="218770" y="92455"/>
                      <a:pt x="215252" y="96010"/>
                    </a:cubicBezTo>
                    <a:lnTo>
                      <a:pt x="162318" y="152907"/>
                    </a:lnTo>
                    <a:cubicBezTo>
                      <a:pt x="165849" y="152907"/>
                      <a:pt x="165849" y="156463"/>
                      <a:pt x="165849" y="156463"/>
                    </a:cubicBezTo>
                    <a:lnTo>
                      <a:pt x="183489" y="156463"/>
                    </a:lnTo>
                    <a:lnTo>
                      <a:pt x="250532" y="131571"/>
                    </a:lnTo>
                    <a:lnTo>
                      <a:pt x="271703" y="152907"/>
                    </a:lnTo>
                    <a:cubicBezTo>
                      <a:pt x="285826" y="156463"/>
                      <a:pt x="299935" y="152907"/>
                      <a:pt x="314045" y="152907"/>
                    </a:cubicBezTo>
                    <a:lnTo>
                      <a:pt x="314045" y="160018"/>
                    </a:lnTo>
                    <a:cubicBezTo>
                      <a:pt x="303466" y="163574"/>
                      <a:pt x="292874" y="163574"/>
                      <a:pt x="282295" y="163574"/>
                    </a:cubicBezTo>
                    <a:close/>
                    <a:moveTo>
                      <a:pt x="109385" y="312926"/>
                    </a:moveTo>
                    <a:lnTo>
                      <a:pt x="88214" y="288035"/>
                    </a:lnTo>
                    <a:lnTo>
                      <a:pt x="81152" y="288035"/>
                    </a:lnTo>
                    <a:cubicBezTo>
                      <a:pt x="63512" y="288035"/>
                      <a:pt x="49403" y="266699"/>
                      <a:pt x="67043" y="252474"/>
                    </a:cubicBezTo>
                    <a:lnTo>
                      <a:pt x="74104" y="259587"/>
                    </a:lnTo>
                    <a:cubicBezTo>
                      <a:pt x="63512" y="266699"/>
                      <a:pt x="70573" y="280922"/>
                      <a:pt x="81152" y="280922"/>
                    </a:cubicBezTo>
                    <a:lnTo>
                      <a:pt x="91744" y="280922"/>
                    </a:lnTo>
                    <a:lnTo>
                      <a:pt x="102336" y="291590"/>
                    </a:lnTo>
                    <a:lnTo>
                      <a:pt x="116446" y="305815"/>
                    </a:lnTo>
                    <a:close/>
                    <a:moveTo>
                      <a:pt x="342277" y="199134"/>
                    </a:moveTo>
                    <a:lnTo>
                      <a:pt x="395211" y="177799"/>
                    </a:lnTo>
                    <a:lnTo>
                      <a:pt x="405790" y="195579"/>
                    </a:lnTo>
                    <a:lnTo>
                      <a:pt x="356387" y="213358"/>
                    </a:lnTo>
                    <a:close/>
                    <a:moveTo>
                      <a:pt x="458723" y="17779"/>
                    </a:moveTo>
                    <a:lnTo>
                      <a:pt x="458723" y="206247"/>
                    </a:lnTo>
                    <a:lnTo>
                      <a:pt x="434022" y="216915"/>
                    </a:lnTo>
                    <a:lnTo>
                      <a:pt x="352869" y="46227"/>
                    </a:lnTo>
                    <a:lnTo>
                      <a:pt x="437553" y="7112"/>
                    </a:lnTo>
                    <a:cubicBezTo>
                      <a:pt x="448132" y="0"/>
                      <a:pt x="458723" y="10667"/>
                      <a:pt x="458723" y="17779"/>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49" name="Rectangle 430"/>
            <p:cNvSpPr/>
            <p:nvPr/>
          </p:nvSpPr>
          <p:spPr>
            <a:xfrm>
              <a:off x="4339447" y="5303462"/>
              <a:ext cx="693524" cy="307135"/>
            </a:xfrm>
            <a:prstGeom prst="rect">
              <a:avLst/>
            </a:prstGeom>
          </p:spPr>
          <p:txBody>
            <a:bodyPr wrap="none" lIns="0" tIns="0" rIns="0" bIns="0">
              <a:spAutoFit/>
            </a:bodyPr>
            <a:lstStyle/>
            <a:p>
              <a:pPr marL="35038" algn="ctr"/>
              <a:r>
                <a:rPr lang="en-US" sz="996" b="1" i="0" spc="-52" baseline="0" dirty="0">
                  <a:solidFill>
                    <a:srgbClr val="FFFFFF"/>
                  </a:solidFill>
                  <a:latin typeface="EYInterstate-LightBold"/>
                </a:rPr>
                <a:t>L</a:t>
              </a:r>
              <a:r>
                <a:rPr lang="en-US" sz="996" b="1" i="0" spc="-47" baseline="0" dirty="0">
                  <a:solidFill>
                    <a:srgbClr val="FFFFFF"/>
                  </a:solidFill>
                  <a:latin typeface="EYInterstate-LightBold"/>
                </a:rPr>
                <a:t>e</a:t>
              </a: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d</a:t>
              </a:r>
              <a:r>
                <a:rPr lang="en-US" sz="996" b="1" i="0" spc="-47" baseline="0" dirty="0">
                  <a:solidFill>
                    <a:srgbClr val="FFFFFF"/>
                  </a:solidFill>
                  <a:latin typeface="EYInterstate-LightBold"/>
                </a:rPr>
                <a:t>e</a:t>
              </a:r>
              <a:r>
                <a:rPr lang="en-US" sz="996" b="1" i="0" spc="-44" baseline="0" dirty="0">
                  <a:solidFill>
                    <a:srgbClr val="FFFFFF"/>
                  </a:solidFill>
                  <a:latin typeface="EYInterstate-LightBold"/>
                </a:rPr>
                <a:t>r</a:t>
              </a:r>
              <a:r>
                <a:rPr lang="en-US" sz="996" b="1" i="0" spc="-52" baseline="0" dirty="0">
                  <a:solidFill>
                    <a:srgbClr val="FFFFFF"/>
                  </a:solidFill>
                  <a:latin typeface="EYInterstate-LightBold"/>
                </a:rPr>
                <a:t>s</a:t>
              </a:r>
              <a:r>
                <a:rPr lang="en-US" sz="996" b="1" i="0" spc="-51" baseline="0" dirty="0">
                  <a:solidFill>
                    <a:srgbClr val="FFFFFF"/>
                  </a:solidFill>
                  <a:latin typeface="EYInterstate-LightBold"/>
                </a:rPr>
                <a:t>h</a:t>
              </a:r>
              <a:r>
                <a:rPr lang="en-US" sz="996" b="1" i="0" spc="-47" baseline="0" dirty="0">
                  <a:solidFill>
                    <a:srgbClr val="FFFFFF"/>
                  </a:solidFill>
                  <a:latin typeface="EYInterstate-LightBold"/>
                </a:rPr>
                <a:t>i</a:t>
              </a:r>
              <a:r>
                <a:rPr lang="en-US" sz="996" b="1" i="0" spc="0" baseline="0" dirty="0">
                  <a:solidFill>
                    <a:srgbClr val="FFFFFF"/>
                  </a:solidFill>
                  <a:latin typeface="EYInterstate-LightBold"/>
                </a:rPr>
                <a:t>p</a:t>
              </a:r>
            </a:p>
            <a:p>
              <a:pPr marL="0" algn="ctr">
                <a:lnSpc>
                  <a:spcPts val="1200"/>
                </a:lnSpc>
              </a:pP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d</a:t>
              </a:r>
              <a:r>
                <a:rPr lang="en-US" sz="996" b="1" i="0" spc="-28" baseline="0" dirty="0">
                  <a:solidFill>
                    <a:srgbClr val="FFFFFF"/>
                  </a:solidFill>
                  <a:latin typeface="EYInterstate-LightBold"/>
                </a:rPr>
                <a:t> </a:t>
              </a:r>
              <a:r>
                <a:rPr lang="en-US" sz="996" b="1" i="0" spc="-53" baseline="0" dirty="0">
                  <a:solidFill>
                    <a:srgbClr val="FFFFFF"/>
                  </a:solidFill>
                  <a:latin typeface="EYInterstate-LightBold"/>
                </a:rPr>
                <a:t>t</a:t>
              </a:r>
              <a:r>
                <a:rPr lang="en-US" sz="996" b="1" i="0" spc="-47" baseline="0" dirty="0">
                  <a:solidFill>
                    <a:srgbClr val="FFFFFF"/>
                  </a:solidFill>
                  <a:latin typeface="EYInterstate-LightBold"/>
                </a:rPr>
                <a:t>e</a:t>
              </a:r>
              <a:r>
                <a:rPr lang="en-US" sz="996" b="1" i="0" spc="-43" baseline="0" dirty="0">
                  <a:solidFill>
                    <a:srgbClr val="FFFFFF"/>
                  </a:solidFill>
                  <a:latin typeface="EYInterstate-LightBold"/>
                </a:rPr>
                <a:t>a</a:t>
              </a:r>
              <a:r>
                <a:rPr lang="en-US" sz="996" b="1" i="0" spc="-53" baseline="0" dirty="0">
                  <a:solidFill>
                    <a:srgbClr val="FFFFFF"/>
                  </a:solidFill>
                  <a:latin typeface="EYInterstate-LightBold"/>
                </a:rPr>
                <a:t>m</a:t>
              </a:r>
              <a:r>
                <a:rPr lang="en-US" sz="996" b="1" i="0" spc="-47" baseline="0" dirty="0">
                  <a:solidFill>
                    <a:srgbClr val="FFFFFF"/>
                  </a:solidFill>
                  <a:latin typeface="EYInterstate-LightBold"/>
                </a:rPr>
                <a:t>i</a:t>
              </a:r>
              <a:r>
                <a:rPr lang="en-US" sz="996" b="1" i="0" spc="-51" baseline="0" dirty="0">
                  <a:solidFill>
                    <a:srgbClr val="FFFFFF"/>
                  </a:solidFill>
                  <a:latin typeface="EYInterstate-LightBold"/>
                </a:rPr>
                <a:t>n</a:t>
              </a:r>
              <a:r>
                <a:rPr lang="en-US" sz="996" b="1" i="0" spc="0" baseline="0" dirty="0">
                  <a:solidFill>
                    <a:srgbClr val="FFFFFF"/>
                  </a:solidFill>
                  <a:latin typeface="EYInterstate-LightBold"/>
                </a:rPr>
                <a:t>g</a:t>
              </a:r>
            </a:p>
          </p:txBody>
        </p:sp>
      </p:grpSp>
      <p:grpSp>
        <p:nvGrpSpPr>
          <p:cNvPr id="152" name="Group 151"/>
          <p:cNvGrpSpPr/>
          <p:nvPr/>
        </p:nvGrpSpPr>
        <p:grpSpPr>
          <a:xfrm>
            <a:off x="7759149" y="5187411"/>
            <a:ext cx="718851" cy="1006920"/>
            <a:chOff x="8999307" y="4603677"/>
            <a:chExt cx="718851" cy="1006920"/>
          </a:xfrm>
        </p:grpSpPr>
        <p:grpSp>
          <p:nvGrpSpPr>
            <p:cNvPr id="153" name="Group 152"/>
            <p:cNvGrpSpPr/>
            <p:nvPr/>
          </p:nvGrpSpPr>
          <p:grpSpPr>
            <a:xfrm>
              <a:off x="9024214" y="4603677"/>
              <a:ext cx="669036" cy="667512"/>
              <a:chOff x="9019031" y="4603677"/>
              <a:chExt cx="669036" cy="667512"/>
            </a:xfrm>
          </p:grpSpPr>
          <p:sp>
            <p:nvSpPr>
              <p:cNvPr id="155" name="Freeform 407"/>
              <p:cNvSpPr/>
              <p:nvPr/>
            </p:nvSpPr>
            <p:spPr>
              <a:xfrm>
                <a:off x="9019031" y="4603677"/>
                <a:ext cx="669036" cy="667512"/>
              </a:xfrm>
              <a:custGeom>
                <a:avLst/>
                <a:gdLst/>
                <a:ahLst/>
                <a:cxnLst/>
                <a:rect l="0" t="0" r="0" b="0"/>
                <a:pathLst>
                  <a:path w="669036" h="667512">
                    <a:moveTo>
                      <a:pt x="0" y="333756"/>
                    </a:moveTo>
                    <a:cubicBezTo>
                      <a:pt x="0" y="149429"/>
                      <a:pt x="149771" y="0"/>
                      <a:pt x="334518" y="0"/>
                    </a:cubicBezTo>
                    <a:cubicBezTo>
                      <a:pt x="519264" y="0"/>
                      <a:pt x="669036" y="149429"/>
                      <a:pt x="669036" y="333756"/>
                    </a:cubicBezTo>
                    <a:cubicBezTo>
                      <a:pt x="669036" y="518083"/>
                      <a:pt x="519264" y="667512"/>
                      <a:pt x="334518" y="667512"/>
                    </a:cubicBezTo>
                    <a:cubicBezTo>
                      <a:pt x="149771" y="667512"/>
                      <a:pt x="0" y="518083"/>
                      <a:pt x="0" y="333756"/>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56" name="Freeform 408"/>
              <p:cNvSpPr/>
              <p:nvPr/>
            </p:nvSpPr>
            <p:spPr>
              <a:xfrm>
                <a:off x="9156189" y="4727120"/>
                <a:ext cx="377951" cy="403859"/>
              </a:xfrm>
              <a:custGeom>
                <a:avLst/>
                <a:gdLst/>
                <a:ahLst/>
                <a:cxnLst/>
                <a:rect l="0" t="0" r="0" b="0"/>
                <a:pathLst>
                  <a:path w="377951" h="403859">
                    <a:moveTo>
                      <a:pt x="349808" y="12115"/>
                    </a:moveTo>
                    <a:cubicBezTo>
                      <a:pt x="341769" y="4038"/>
                      <a:pt x="325679" y="0"/>
                      <a:pt x="313626" y="0"/>
                    </a:cubicBezTo>
                    <a:cubicBezTo>
                      <a:pt x="285470" y="0"/>
                      <a:pt x="277431" y="24230"/>
                      <a:pt x="273418" y="32308"/>
                    </a:cubicBezTo>
                    <a:lnTo>
                      <a:pt x="104546" y="32308"/>
                    </a:lnTo>
                    <a:cubicBezTo>
                      <a:pt x="100520" y="24230"/>
                      <a:pt x="92481" y="0"/>
                      <a:pt x="64338" y="0"/>
                    </a:cubicBezTo>
                    <a:cubicBezTo>
                      <a:pt x="52273" y="0"/>
                      <a:pt x="36195" y="4038"/>
                      <a:pt x="28143" y="12115"/>
                    </a:cubicBezTo>
                    <a:cubicBezTo>
                      <a:pt x="12065" y="32308"/>
                      <a:pt x="0" y="80771"/>
                      <a:pt x="36195" y="153466"/>
                    </a:cubicBezTo>
                    <a:cubicBezTo>
                      <a:pt x="48247" y="177697"/>
                      <a:pt x="60312" y="197890"/>
                      <a:pt x="76390" y="214044"/>
                    </a:cubicBezTo>
                    <a:cubicBezTo>
                      <a:pt x="92481" y="234237"/>
                      <a:pt x="108559" y="242315"/>
                      <a:pt x="112585" y="246353"/>
                    </a:cubicBezTo>
                    <a:cubicBezTo>
                      <a:pt x="108559" y="234237"/>
                      <a:pt x="108559" y="226160"/>
                      <a:pt x="104546" y="214044"/>
                    </a:cubicBezTo>
                    <a:cubicBezTo>
                      <a:pt x="96507" y="210006"/>
                      <a:pt x="88455" y="201929"/>
                      <a:pt x="80416" y="189813"/>
                    </a:cubicBezTo>
                    <a:cubicBezTo>
                      <a:pt x="56286" y="157504"/>
                      <a:pt x="28143" y="113079"/>
                      <a:pt x="32169" y="52501"/>
                    </a:cubicBezTo>
                    <a:cubicBezTo>
                      <a:pt x="32169" y="24230"/>
                      <a:pt x="56286" y="12115"/>
                      <a:pt x="72377" y="20192"/>
                    </a:cubicBezTo>
                    <a:lnTo>
                      <a:pt x="84442" y="32308"/>
                    </a:lnTo>
                    <a:lnTo>
                      <a:pt x="72377" y="32308"/>
                    </a:lnTo>
                    <a:lnTo>
                      <a:pt x="72377" y="48462"/>
                    </a:lnTo>
                    <a:lnTo>
                      <a:pt x="305574" y="48462"/>
                    </a:lnTo>
                    <a:lnTo>
                      <a:pt x="305574" y="32308"/>
                    </a:lnTo>
                    <a:lnTo>
                      <a:pt x="293522" y="32308"/>
                    </a:lnTo>
                    <a:lnTo>
                      <a:pt x="305574" y="20192"/>
                    </a:lnTo>
                    <a:cubicBezTo>
                      <a:pt x="321665" y="12115"/>
                      <a:pt x="345783" y="24230"/>
                      <a:pt x="345783" y="52501"/>
                    </a:cubicBezTo>
                    <a:cubicBezTo>
                      <a:pt x="349808" y="113079"/>
                      <a:pt x="321665" y="157504"/>
                      <a:pt x="297535" y="189813"/>
                    </a:cubicBezTo>
                    <a:cubicBezTo>
                      <a:pt x="289496" y="201929"/>
                      <a:pt x="281457" y="210006"/>
                      <a:pt x="273418" y="214044"/>
                    </a:cubicBezTo>
                    <a:cubicBezTo>
                      <a:pt x="269392" y="226160"/>
                      <a:pt x="265379" y="234237"/>
                      <a:pt x="265379" y="246353"/>
                    </a:cubicBezTo>
                    <a:cubicBezTo>
                      <a:pt x="269392" y="242315"/>
                      <a:pt x="285470" y="234237"/>
                      <a:pt x="305574" y="214044"/>
                    </a:cubicBezTo>
                    <a:cubicBezTo>
                      <a:pt x="317639" y="197890"/>
                      <a:pt x="333730" y="177697"/>
                      <a:pt x="341769" y="153466"/>
                    </a:cubicBezTo>
                    <a:cubicBezTo>
                      <a:pt x="377951" y="80771"/>
                      <a:pt x="365886" y="32308"/>
                      <a:pt x="349808" y="12115"/>
                    </a:cubicBezTo>
                    <a:moveTo>
                      <a:pt x="116598" y="306932"/>
                    </a:moveTo>
                    <a:lnTo>
                      <a:pt x="116598" y="327125"/>
                    </a:lnTo>
                    <a:lnTo>
                      <a:pt x="261353" y="327125"/>
                    </a:lnTo>
                    <a:lnTo>
                      <a:pt x="261353" y="306932"/>
                    </a:lnTo>
                    <a:lnTo>
                      <a:pt x="221145" y="306932"/>
                    </a:lnTo>
                    <a:lnTo>
                      <a:pt x="221145" y="286739"/>
                    </a:lnTo>
                    <a:cubicBezTo>
                      <a:pt x="285470" y="201929"/>
                      <a:pt x="277431" y="64616"/>
                      <a:pt x="277431" y="64616"/>
                    </a:cubicBezTo>
                    <a:lnTo>
                      <a:pt x="100520" y="64616"/>
                    </a:lnTo>
                    <a:cubicBezTo>
                      <a:pt x="92481" y="193852"/>
                      <a:pt x="148768" y="278662"/>
                      <a:pt x="152793" y="286739"/>
                    </a:cubicBezTo>
                    <a:lnTo>
                      <a:pt x="152793" y="306932"/>
                    </a:lnTo>
                    <a:close/>
                    <a:moveTo>
                      <a:pt x="72377" y="343280"/>
                    </a:moveTo>
                    <a:lnTo>
                      <a:pt x="44234" y="359434"/>
                    </a:lnTo>
                    <a:lnTo>
                      <a:pt x="44234" y="403859"/>
                    </a:lnTo>
                    <a:lnTo>
                      <a:pt x="337744" y="403859"/>
                    </a:lnTo>
                    <a:lnTo>
                      <a:pt x="337744" y="359434"/>
                    </a:lnTo>
                    <a:lnTo>
                      <a:pt x="301561" y="343280"/>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54" name="Rectangle 435"/>
            <p:cNvSpPr/>
            <p:nvPr/>
          </p:nvSpPr>
          <p:spPr>
            <a:xfrm>
              <a:off x="8999307" y="5303462"/>
              <a:ext cx="718851" cy="307135"/>
            </a:xfrm>
            <a:prstGeom prst="rect">
              <a:avLst/>
            </a:prstGeom>
          </p:spPr>
          <p:txBody>
            <a:bodyPr wrap="none" lIns="0" tIns="0" rIns="0" bIns="0">
              <a:spAutoFit/>
            </a:bodyPr>
            <a:lstStyle/>
            <a:p>
              <a:pPr marL="0" algn="ctr"/>
              <a:r>
                <a:rPr lang="en-US" sz="996" b="1" i="0" spc="-50" baseline="0" dirty="0">
                  <a:solidFill>
                    <a:srgbClr val="FFFFFF"/>
                  </a:solidFill>
                  <a:latin typeface="EYInterstate-LightBold"/>
                </a:rPr>
                <a:t>P</a:t>
              </a:r>
              <a:r>
                <a:rPr lang="en-US" sz="996" b="1" i="0" spc="-47" baseline="0" dirty="0">
                  <a:solidFill>
                    <a:srgbClr val="FFFFFF"/>
                  </a:solidFill>
                  <a:latin typeface="EYInterstate-LightBold"/>
                </a:rPr>
                <a:t>e</a:t>
              </a:r>
              <a:r>
                <a:rPr lang="en-US" sz="996" b="1" i="0" spc="-44" baseline="0" dirty="0">
                  <a:solidFill>
                    <a:srgbClr val="FFFFFF"/>
                  </a:solidFill>
                  <a:latin typeface="EYInterstate-LightBold"/>
                </a:rPr>
                <a:t>r</a:t>
              </a:r>
              <a:r>
                <a:rPr lang="en-US" sz="996" b="1" i="0" spc="-48" baseline="0" dirty="0">
                  <a:solidFill>
                    <a:srgbClr val="FFFFFF"/>
                  </a:solidFill>
                  <a:latin typeface="EYInterstate-LightBold"/>
                </a:rPr>
                <a:t>f</a:t>
              </a:r>
              <a:r>
                <a:rPr lang="en-US" sz="996" b="1" i="0" spc="-51" baseline="0" dirty="0">
                  <a:solidFill>
                    <a:srgbClr val="FFFFFF"/>
                  </a:solidFill>
                  <a:latin typeface="EYInterstate-LightBold"/>
                </a:rPr>
                <a:t>o</a:t>
              </a:r>
              <a:r>
                <a:rPr lang="en-US" sz="996" b="1" i="0" spc="-44" baseline="0" dirty="0">
                  <a:solidFill>
                    <a:srgbClr val="FFFFFF"/>
                  </a:solidFill>
                  <a:latin typeface="EYInterstate-LightBold"/>
                </a:rPr>
                <a:t>r</a:t>
              </a:r>
              <a:r>
                <a:rPr lang="en-US" sz="996" b="1" i="0" spc="-53" baseline="0" dirty="0">
                  <a:solidFill>
                    <a:srgbClr val="FFFFFF"/>
                  </a:solidFill>
                  <a:latin typeface="EYInterstate-LightBold"/>
                </a:rPr>
                <a:t>m</a:t>
              </a: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c</a:t>
              </a:r>
              <a:r>
                <a:rPr lang="en-US" sz="996" b="1" i="0" spc="0" baseline="0" dirty="0">
                  <a:solidFill>
                    <a:srgbClr val="FFFFFF"/>
                  </a:solidFill>
                  <a:latin typeface="EYInterstate-LightBold"/>
                </a:rPr>
                <a:t>e</a:t>
              </a:r>
            </a:p>
            <a:p>
              <a:pPr marL="18341" algn="ctr">
                <a:lnSpc>
                  <a:spcPts val="1200"/>
                </a:lnSpc>
              </a:pPr>
              <a:r>
                <a:rPr lang="en-US" sz="996" b="1" i="0" spc="-43" baseline="0" dirty="0">
                  <a:solidFill>
                    <a:srgbClr val="FFFFFF"/>
                  </a:solidFill>
                  <a:latin typeface="EYInterstate-LightBold"/>
                </a:rPr>
                <a:t>a</a:t>
              </a:r>
              <a:r>
                <a:rPr lang="en-US" sz="996" b="1" i="0" spc="-51" baseline="0" dirty="0">
                  <a:solidFill>
                    <a:srgbClr val="FFFFFF"/>
                  </a:solidFill>
                  <a:latin typeface="EYInterstate-LightBold"/>
                </a:rPr>
                <a:t>nd</a:t>
              </a:r>
              <a:r>
                <a:rPr lang="en-US" sz="996" b="1" i="0" spc="-28" baseline="0" dirty="0">
                  <a:solidFill>
                    <a:srgbClr val="FFFFFF"/>
                  </a:solidFill>
                  <a:latin typeface="EYInterstate-LightBold"/>
                </a:rPr>
                <a:t> </a:t>
              </a:r>
              <a:r>
                <a:rPr lang="en-US" sz="996" b="1" i="0" spc="-44" baseline="0" dirty="0">
                  <a:solidFill>
                    <a:srgbClr val="FFFFFF"/>
                  </a:solidFill>
                  <a:latin typeface="EYInterstate-LightBold"/>
                </a:rPr>
                <a:t>r</a:t>
              </a:r>
              <a:r>
                <a:rPr lang="en-US" sz="996" b="1" i="0" spc="-47" baseline="0" dirty="0">
                  <a:solidFill>
                    <a:srgbClr val="FFFFFF"/>
                  </a:solidFill>
                  <a:latin typeface="EYInterstate-LightBold"/>
                </a:rPr>
                <a:t>e</a:t>
              </a:r>
              <a:r>
                <a:rPr lang="en-US" sz="996" b="1" i="0" spc="-42" baseline="0" dirty="0">
                  <a:solidFill>
                    <a:srgbClr val="FFFFFF"/>
                  </a:solidFill>
                  <a:latin typeface="EYInterstate-LightBold"/>
                </a:rPr>
                <a:t>w</a:t>
              </a:r>
              <a:r>
                <a:rPr lang="en-US" sz="996" b="1" i="0" spc="-43" baseline="0" dirty="0">
                  <a:solidFill>
                    <a:srgbClr val="FFFFFF"/>
                  </a:solidFill>
                  <a:latin typeface="EYInterstate-LightBold"/>
                </a:rPr>
                <a:t>a</a:t>
              </a:r>
              <a:r>
                <a:rPr lang="en-US" sz="996" b="1" i="0" spc="-44" baseline="0" dirty="0">
                  <a:solidFill>
                    <a:srgbClr val="FFFFFF"/>
                  </a:solidFill>
                  <a:latin typeface="EYInterstate-LightBold"/>
                </a:rPr>
                <a:t>r</a:t>
              </a:r>
              <a:r>
                <a:rPr lang="en-US" sz="996" b="1" i="0" spc="-51" baseline="0" dirty="0">
                  <a:solidFill>
                    <a:srgbClr val="FFFFFF"/>
                  </a:solidFill>
                  <a:latin typeface="EYInterstate-LightBold"/>
                </a:rPr>
                <a:t>d</a:t>
              </a:r>
              <a:r>
                <a:rPr lang="en-US" sz="996" b="1" i="0" spc="0" baseline="0" dirty="0">
                  <a:solidFill>
                    <a:srgbClr val="FFFFFF"/>
                  </a:solidFill>
                  <a:latin typeface="EYInterstate-LightBold"/>
                </a:rPr>
                <a:t>s</a:t>
              </a:r>
            </a:p>
          </p:txBody>
        </p:sp>
      </p:grpSp>
      <p:grpSp>
        <p:nvGrpSpPr>
          <p:cNvPr id="157" name="Group 156"/>
          <p:cNvGrpSpPr/>
          <p:nvPr/>
        </p:nvGrpSpPr>
        <p:grpSpPr>
          <a:xfrm>
            <a:off x="9409359" y="4091401"/>
            <a:ext cx="665987" cy="856052"/>
            <a:chOff x="6228588" y="4603676"/>
            <a:chExt cx="665987" cy="856052"/>
          </a:xfrm>
        </p:grpSpPr>
        <p:grpSp>
          <p:nvGrpSpPr>
            <p:cNvPr id="158" name="Group 157"/>
            <p:cNvGrpSpPr/>
            <p:nvPr/>
          </p:nvGrpSpPr>
          <p:grpSpPr>
            <a:xfrm>
              <a:off x="6228588" y="4603676"/>
              <a:ext cx="665987" cy="665986"/>
              <a:chOff x="6228588" y="4603676"/>
              <a:chExt cx="665987" cy="665986"/>
            </a:xfrm>
          </p:grpSpPr>
          <p:sp>
            <p:nvSpPr>
              <p:cNvPr id="160" name="Freeform 405"/>
              <p:cNvSpPr/>
              <p:nvPr/>
            </p:nvSpPr>
            <p:spPr>
              <a:xfrm>
                <a:off x="6228588" y="4603676"/>
                <a:ext cx="665987" cy="665986"/>
              </a:xfrm>
              <a:custGeom>
                <a:avLst/>
                <a:gdLst/>
                <a:ahLst/>
                <a:cxnLst/>
                <a:rect l="0" t="0" r="0" b="0"/>
                <a:pathLst>
                  <a:path w="665987" h="665986">
                    <a:moveTo>
                      <a:pt x="0" y="332993"/>
                    </a:moveTo>
                    <a:cubicBezTo>
                      <a:pt x="0" y="149085"/>
                      <a:pt x="149085" y="0"/>
                      <a:pt x="332993" y="0"/>
                    </a:cubicBezTo>
                    <a:cubicBezTo>
                      <a:pt x="516902" y="0"/>
                      <a:pt x="665987" y="149085"/>
                      <a:pt x="665987" y="332993"/>
                    </a:cubicBezTo>
                    <a:cubicBezTo>
                      <a:pt x="665987" y="516901"/>
                      <a:pt x="516902" y="665986"/>
                      <a:pt x="332993" y="665986"/>
                    </a:cubicBezTo>
                    <a:cubicBezTo>
                      <a:pt x="149085"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61" name="Freeform 406"/>
              <p:cNvSpPr/>
              <p:nvPr/>
            </p:nvSpPr>
            <p:spPr>
              <a:xfrm>
                <a:off x="6330697" y="4742357"/>
                <a:ext cx="483107" cy="400811"/>
              </a:xfrm>
              <a:custGeom>
                <a:avLst/>
                <a:gdLst/>
                <a:ahLst/>
                <a:cxnLst/>
                <a:rect l="0" t="0" r="0" b="0"/>
                <a:pathLst>
                  <a:path w="483107" h="400811">
                    <a:moveTo>
                      <a:pt x="361378" y="251942"/>
                    </a:moveTo>
                    <a:cubicBezTo>
                      <a:pt x="319532" y="251942"/>
                      <a:pt x="285293" y="217589"/>
                      <a:pt x="285293" y="175603"/>
                    </a:cubicBezTo>
                    <a:cubicBezTo>
                      <a:pt x="285293" y="133604"/>
                      <a:pt x="319532" y="99250"/>
                      <a:pt x="361378" y="99250"/>
                    </a:cubicBezTo>
                    <a:cubicBezTo>
                      <a:pt x="403224" y="99250"/>
                      <a:pt x="437463" y="133604"/>
                      <a:pt x="437463" y="175603"/>
                    </a:cubicBezTo>
                    <a:cubicBezTo>
                      <a:pt x="437463" y="217589"/>
                      <a:pt x="403224" y="251942"/>
                      <a:pt x="361378" y="251942"/>
                    </a:cubicBezTo>
                    <a:moveTo>
                      <a:pt x="483107" y="187045"/>
                    </a:moveTo>
                    <a:lnTo>
                      <a:pt x="483107" y="160325"/>
                    </a:lnTo>
                    <a:lnTo>
                      <a:pt x="456475" y="156515"/>
                    </a:lnTo>
                    <a:cubicBezTo>
                      <a:pt x="452678" y="152692"/>
                      <a:pt x="452678" y="145059"/>
                      <a:pt x="452678" y="141237"/>
                    </a:cubicBezTo>
                    <a:lnTo>
                      <a:pt x="471690" y="122161"/>
                    </a:lnTo>
                    <a:lnTo>
                      <a:pt x="460285" y="103073"/>
                    </a:lnTo>
                    <a:lnTo>
                      <a:pt x="433653" y="110706"/>
                    </a:lnTo>
                    <a:cubicBezTo>
                      <a:pt x="429843" y="106883"/>
                      <a:pt x="426046" y="103073"/>
                      <a:pt x="422236" y="99250"/>
                    </a:cubicBezTo>
                    <a:lnTo>
                      <a:pt x="429843" y="76352"/>
                    </a:lnTo>
                    <a:lnTo>
                      <a:pt x="407021" y="61074"/>
                    </a:lnTo>
                    <a:lnTo>
                      <a:pt x="391807" y="83985"/>
                    </a:lnTo>
                    <a:cubicBezTo>
                      <a:pt x="384199" y="80162"/>
                      <a:pt x="380402" y="80162"/>
                      <a:pt x="376592" y="80162"/>
                    </a:cubicBezTo>
                    <a:lnTo>
                      <a:pt x="368985" y="53441"/>
                    </a:lnTo>
                    <a:lnTo>
                      <a:pt x="346164" y="53441"/>
                    </a:lnTo>
                    <a:lnTo>
                      <a:pt x="338557" y="80162"/>
                    </a:lnTo>
                    <a:cubicBezTo>
                      <a:pt x="334747" y="80162"/>
                      <a:pt x="330949" y="83985"/>
                      <a:pt x="323342" y="83985"/>
                    </a:cubicBezTo>
                    <a:lnTo>
                      <a:pt x="308127" y="64897"/>
                    </a:lnTo>
                    <a:lnTo>
                      <a:pt x="285293" y="76352"/>
                    </a:lnTo>
                    <a:lnTo>
                      <a:pt x="292900" y="103073"/>
                    </a:lnTo>
                    <a:cubicBezTo>
                      <a:pt x="289103" y="106883"/>
                      <a:pt x="289103" y="110706"/>
                      <a:pt x="285293" y="114516"/>
                    </a:cubicBezTo>
                    <a:lnTo>
                      <a:pt x="258674" y="106883"/>
                    </a:lnTo>
                    <a:lnTo>
                      <a:pt x="247256" y="129794"/>
                    </a:lnTo>
                    <a:lnTo>
                      <a:pt x="266281" y="145059"/>
                    </a:lnTo>
                    <a:cubicBezTo>
                      <a:pt x="266281" y="152692"/>
                      <a:pt x="266281" y="156515"/>
                      <a:pt x="262471" y="160325"/>
                    </a:cubicBezTo>
                    <a:lnTo>
                      <a:pt x="235852" y="167957"/>
                    </a:lnTo>
                    <a:lnTo>
                      <a:pt x="235852" y="190868"/>
                    </a:lnTo>
                    <a:lnTo>
                      <a:pt x="266281" y="198501"/>
                    </a:lnTo>
                    <a:cubicBezTo>
                      <a:pt x="266281" y="202324"/>
                      <a:pt x="266281" y="206134"/>
                      <a:pt x="270078" y="209956"/>
                    </a:cubicBezTo>
                    <a:lnTo>
                      <a:pt x="247256" y="229044"/>
                    </a:lnTo>
                    <a:lnTo>
                      <a:pt x="262471" y="251942"/>
                    </a:lnTo>
                    <a:lnTo>
                      <a:pt x="289103" y="240487"/>
                    </a:lnTo>
                    <a:cubicBezTo>
                      <a:pt x="289103" y="244310"/>
                      <a:pt x="292900" y="248120"/>
                      <a:pt x="296710" y="251942"/>
                    </a:cubicBezTo>
                    <a:lnTo>
                      <a:pt x="289103" y="278662"/>
                    </a:lnTo>
                    <a:lnTo>
                      <a:pt x="311925" y="290118"/>
                    </a:lnTo>
                    <a:lnTo>
                      <a:pt x="330949" y="271030"/>
                    </a:lnTo>
                    <a:cubicBezTo>
                      <a:pt x="334747" y="271030"/>
                      <a:pt x="338557" y="271030"/>
                      <a:pt x="346164" y="274840"/>
                    </a:cubicBezTo>
                    <a:lnTo>
                      <a:pt x="349961" y="301560"/>
                    </a:lnTo>
                    <a:lnTo>
                      <a:pt x="376592" y="301560"/>
                    </a:lnTo>
                    <a:lnTo>
                      <a:pt x="380402" y="271030"/>
                    </a:lnTo>
                    <a:cubicBezTo>
                      <a:pt x="384199" y="271030"/>
                      <a:pt x="391807" y="271030"/>
                      <a:pt x="395617" y="267207"/>
                    </a:cubicBezTo>
                    <a:lnTo>
                      <a:pt x="410831" y="290118"/>
                    </a:lnTo>
                    <a:lnTo>
                      <a:pt x="433653" y="274840"/>
                    </a:lnTo>
                    <a:lnTo>
                      <a:pt x="426046" y="248120"/>
                    </a:lnTo>
                    <a:cubicBezTo>
                      <a:pt x="429843" y="244310"/>
                      <a:pt x="433653" y="244310"/>
                      <a:pt x="437463" y="236677"/>
                    </a:cubicBezTo>
                    <a:lnTo>
                      <a:pt x="460285" y="248120"/>
                    </a:lnTo>
                    <a:lnTo>
                      <a:pt x="475500" y="225222"/>
                    </a:lnTo>
                    <a:lnTo>
                      <a:pt x="452678" y="206134"/>
                    </a:lnTo>
                    <a:cubicBezTo>
                      <a:pt x="452678" y="202324"/>
                      <a:pt x="456475" y="198501"/>
                      <a:pt x="456475" y="190868"/>
                    </a:cubicBezTo>
                    <a:close/>
                    <a:moveTo>
                      <a:pt x="361378" y="217589"/>
                    </a:moveTo>
                    <a:cubicBezTo>
                      <a:pt x="338557" y="217589"/>
                      <a:pt x="319532" y="198501"/>
                      <a:pt x="319532" y="175603"/>
                    </a:cubicBezTo>
                    <a:cubicBezTo>
                      <a:pt x="319532" y="152692"/>
                      <a:pt x="338557" y="137427"/>
                      <a:pt x="361378" y="137427"/>
                    </a:cubicBezTo>
                    <a:cubicBezTo>
                      <a:pt x="384199" y="137427"/>
                      <a:pt x="399414" y="152692"/>
                      <a:pt x="399414" y="175603"/>
                    </a:cubicBezTo>
                    <a:cubicBezTo>
                      <a:pt x="399414" y="198501"/>
                      <a:pt x="384199" y="217589"/>
                      <a:pt x="361378" y="217589"/>
                    </a:cubicBezTo>
                    <a:moveTo>
                      <a:pt x="361378" y="118338"/>
                    </a:moveTo>
                    <a:cubicBezTo>
                      <a:pt x="327139" y="118338"/>
                      <a:pt x="304317" y="145059"/>
                      <a:pt x="304317" y="175603"/>
                    </a:cubicBezTo>
                    <a:cubicBezTo>
                      <a:pt x="304317" y="209956"/>
                      <a:pt x="327139" y="232854"/>
                      <a:pt x="361378" y="232854"/>
                    </a:cubicBezTo>
                    <a:cubicBezTo>
                      <a:pt x="391807" y="232854"/>
                      <a:pt x="418439" y="209956"/>
                      <a:pt x="418439" y="175603"/>
                    </a:cubicBezTo>
                    <a:cubicBezTo>
                      <a:pt x="418439" y="145059"/>
                      <a:pt x="391807" y="118338"/>
                      <a:pt x="361378" y="118338"/>
                    </a:cubicBezTo>
                    <a:moveTo>
                      <a:pt x="136944" y="351192"/>
                    </a:moveTo>
                    <a:cubicBezTo>
                      <a:pt x="91300" y="351192"/>
                      <a:pt x="57061" y="316839"/>
                      <a:pt x="57061" y="274840"/>
                    </a:cubicBezTo>
                    <a:cubicBezTo>
                      <a:pt x="57061" y="232854"/>
                      <a:pt x="91300" y="194678"/>
                      <a:pt x="136944" y="194678"/>
                    </a:cubicBezTo>
                    <a:cubicBezTo>
                      <a:pt x="178791" y="194678"/>
                      <a:pt x="213017" y="232854"/>
                      <a:pt x="213017" y="274840"/>
                    </a:cubicBezTo>
                    <a:cubicBezTo>
                      <a:pt x="213017" y="316839"/>
                      <a:pt x="178791" y="351192"/>
                      <a:pt x="136944" y="351192"/>
                    </a:cubicBezTo>
                    <a:moveTo>
                      <a:pt x="228244" y="236677"/>
                    </a:moveTo>
                    <a:lnTo>
                      <a:pt x="251066" y="221399"/>
                    </a:lnTo>
                    <a:lnTo>
                      <a:pt x="235852" y="198501"/>
                    </a:lnTo>
                    <a:lnTo>
                      <a:pt x="209220" y="206134"/>
                    </a:lnTo>
                    <a:cubicBezTo>
                      <a:pt x="205410" y="202324"/>
                      <a:pt x="201613" y="198501"/>
                      <a:pt x="197802" y="198501"/>
                    </a:cubicBezTo>
                    <a:lnTo>
                      <a:pt x="209220" y="171780"/>
                    </a:lnTo>
                    <a:lnTo>
                      <a:pt x="186398" y="156515"/>
                    </a:lnTo>
                    <a:lnTo>
                      <a:pt x="167373" y="179413"/>
                    </a:lnTo>
                    <a:cubicBezTo>
                      <a:pt x="159766" y="179413"/>
                      <a:pt x="155969" y="175603"/>
                      <a:pt x="152159" y="175603"/>
                    </a:cubicBezTo>
                    <a:lnTo>
                      <a:pt x="144551" y="148882"/>
                    </a:lnTo>
                    <a:lnTo>
                      <a:pt x="117919" y="148882"/>
                    </a:lnTo>
                    <a:lnTo>
                      <a:pt x="114122" y="175603"/>
                    </a:lnTo>
                    <a:cubicBezTo>
                      <a:pt x="110312" y="179413"/>
                      <a:pt x="106515" y="179413"/>
                      <a:pt x="98908" y="179413"/>
                    </a:cubicBezTo>
                    <a:lnTo>
                      <a:pt x="83680" y="160325"/>
                    </a:lnTo>
                    <a:lnTo>
                      <a:pt x="60858" y="171780"/>
                    </a:lnTo>
                    <a:lnTo>
                      <a:pt x="68466" y="198501"/>
                    </a:lnTo>
                    <a:cubicBezTo>
                      <a:pt x="64668" y="202324"/>
                      <a:pt x="60858" y="206134"/>
                      <a:pt x="57061" y="209956"/>
                    </a:cubicBezTo>
                    <a:lnTo>
                      <a:pt x="30429" y="202324"/>
                    </a:lnTo>
                    <a:lnTo>
                      <a:pt x="19025" y="225222"/>
                    </a:lnTo>
                    <a:lnTo>
                      <a:pt x="41847" y="244310"/>
                    </a:lnTo>
                    <a:cubicBezTo>
                      <a:pt x="38037" y="248120"/>
                      <a:pt x="38037" y="251942"/>
                      <a:pt x="38037" y="259574"/>
                    </a:cubicBezTo>
                    <a:lnTo>
                      <a:pt x="11405" y="263397"/>
                    </a:lnTo>
                    <a:lnTo>
                      <a:pt x="11405" y="290118"/>
                    </a:lnTo>
                    <a:lnTo>
                      <a:pt x="38037" y="293928"/>
                    </a:lnTo>
                    <a:cubicBezTo>
                      <a:pt x="38037" y="301560"/>
                      <a:pt x="41847" y="305383"/>
                      <a:pt x="41847" y="309206"/>
                    </a:cubicBezTo>
                    <a:lnTo>
                      <a:pt x="22822" y="328281"/>
                    </a:lnTo>
                    <a:lnTo>
                      <a:pt x="34239" y="351192"/>
                    </a:lnTo>
                    <a:lnTo>
                      <a:pt x="60858" y="339737"/>
                    </a:lnTo>
                    <a:cubicBezTo>
                      <a:pt x="64668" y="343559"/>
                      <a:pt x="68466" y="347369"/>
                      <a:pt x="72276" y="351192"/>
                    </a:cubicBezTo>
                    <a:lnTo>
                      <a:pt x="64668" y="377913"/>
                    </a:lnTo>
                    <a:lnTo>
                      <a:pt x="87490" y="389368"/>
                    </a:lnTo>
                    <a:lnTo>
                      <a:pt x="106515" y="370280"/>
                    </a:lnTo>
                    <a:cubicBezTo>
                      <a:pt x="110312" y="370280"/>
                      <a:pt x="114122" y="370280"/>
                      <a:pt x="117919" y="374090"/>
                    </a:cubicBezTo>
                    <a:lnTo>
                      <a:pt x="125527" y="400811"/>
                    </a:lnTo>
                    <a:lnTo>
                      <a:pt x="152159" y="400811"/>
                    </a:lnTo>
                    <a:lnTo>
                      <a:pt x="155969" y="370280"/>
                    </a:lnTo>
                    <a:cubicBezTo>
                      <a:pt x="159766" y="370280"/>
                      <a:pt x="167373" y="370280"/>
                      <a:pt x="171183" y="366457"/>
                    </a:cubicBezTo>
                    <a:lnTo>
                      <a:pt x="190195" y="389368"/>
                    </a:lnTo>
                    <a:lnTo>
                      <a:pt x="213017" y="374090"/>
                    </a:lnTo>
                    <a:lnTo>
                      <a:pt x="201613" y="347369"/>
                    </a:lnTo>
                    <a:cubicBezTo>
                      <a:pt x="205410" y="343559"/>
                      <a:pt x="209220" y="339737"/>
                      <a:pt x="213017" y="335927"/>
                    </a:cubicBezTo>
                    <a:lnTo>
                      <a:pt x="239649" y="347369"/>
                    </a:lnTo>
                    <a:lnTo>
                      <a:pt x="251066" y="324471"/>
                    </a:lnTo>
                    <a:lnTo>
                      <a:pt x="228244" y="305383"/>
                    </a:lnTo>
                    <a:cubicBezTo>
                      <a:pt x="232042" y="301560"/>
                      <a:pt x="232042" y="293928"/>
                      <a:pt x="232042" y="290118"/>
                    </a:cubicBezTo>
                    <a:lnTo>
                      <a:pt x="262471" y="286295"/>
                    </a:lnTo>
                    <a:lnTo>
                      <a:pt x="262471" y="259574"/>
                    </a:lnTo>
                    <a:lnTo>
                      <a:pt x="232042" y="251942"/>
                    </a:lnTo>
                    <a:cubicBezTo>
                      <a:pt x="232042" y="248120"/>
                      <a:pt x="228244" y="244310"/>
                      <a:pt x="228244" y="236677"/>
                    </a:cubicBezTo>
                    <a:moveTo>
                      <a:pt x="136944" y="316839"/>
                    </a:moveTo>
                    <a:cubicBezTo>
                      <a:pt x="114122" y="316839"/>
                      <a:pt x="95098" y="297750"/>
                      <a:pt x="95098" y="274840"/>
                    </a:cubicBezTo>
                    <a:cubicBezTo>
                      <a:pt x="95098" y="251942"/>
                      <a:pt x="114122" y="232854"/>
                      <a:pt x="136944" y="232854"/>
                    </a:cubicBezTo>
                    <a:cubicBezTo>
                      <a:pt x="159766" y="232854"/>
                      <a:pt x="174981" y="251942"/>
                      <a:pt x="174981" y="274840"/>
                    </a:cubicBezTo>
                    <a:cubicBezTo>
                      <a:pt x="174981" y="297750"/>
                      <a:pt x="159766" y="316839"/>
                      <a:pt x="136944" y="316839"/>
                    </a:cubicBezTo>
                    <a:moveTo>
                      <a:pt x="136944" y="213766"/>
                    </a:moveTo>
                    <a:cubicBezTo>
                      <a:pt x="102705" y="213766"/>
                      <a:pt x="76073" y="240487"/>
                      <a:pt x="76073" y="274840"/>
                    </a:cubicBezTo>
                    <a:cubicBezTo>
                      <a:pt x="76073" y="305383"/>
                      <a:pt x="102705" y="332104"/>
                      <a:pt x="136944" y="332104"/>
                    </a:cubicBezTo>
                    <a:cubicBezTo>
                      <a:pt x="167373" y="332104"/>
                      <a:pt x="194005" y="305383"/>
                      <a:pt x="194005" y="274840"/>
                    </a:cubicBezTo>
                    <a:cubicBezTo>
                      <a:pt x="194005" y="240487"/>
                      <a:pt x="167373" y="213766"/>
                      <a:pt x="136944" y="213766"/>
                    </a:cubicBezTo>
                    <a:moveTo>
                      <a:pt x="95098" y="95440"/>
                    </a:moveTo>
                    <a:cubicBezTo>
                      <a:pt x="102705" y="87795"/>
                      <a:pt x="106515" y="72530"/>
                      <a:pt x="95098" y="61074"/>
                    </a:cubicBezTo>
                    <a:cubicBezTo>
                      <a:pt x="87490" y="49631"/>
                      <a:pt x="72276" y="49631"/>
                      <a:pt x="60858" y="57264"/>
                    </a:cubicBezTo>
                    <a:cubicBezTo>
                      <a:pt x="49454" y="68720"/>
                      <a:pt x="49454" y="83985"/>
                      <a:pt x="60858" y="91618"/>
                    </a:cubicBezTo>
                    <a:cubicBezTo>
                      <a:pt x="68466" y="103073"/>
                      <a:pt x="83680" y="103073"/>
                      <a:pt x="95098" y="95440"/>
                    </a:cubicBezTo>
                    <a:moveTo>
                      <a:pt x="49454" y="41999"/>
                    </a:moveTo>
                    <a:cubicBezTo>
                      <a:pt x="68466" y="26721"/>
                      <a:pt x="95098" y="30543"/>
                      <a:pt x="110312" y="49631"/>
                    </a:cubicBezTo>
                    <a:cubicBezTo>
                      <a:pt x="125527" y="64897"/>
                      <a:pt x="125527" y="95440"/>
                      <a:pt x="106515" y="110706"/>
                    </a:cubicBezTo>
                    <a:cubicBezTo>
                      <a:pt x="87490" y="125971"/>
                      <a:pt x="60858" y="125971"/>
                      <a:pt x="45644" y="106883"/>
                    </a:cubicBezTo>
                    <a:cubicBezTo>
                      <a:pt x="30429" y="87795"/>
                      <a:pt x="30429" y="61074"/>
                      <a:pt x="49454" y="41999"/>
                    </a:cubicBezTo>
                    <a:moveTo>
                      <a:pt x="30429" y="114516"/>
                    </a:moveTo>
                    <a:lnTo>
                      <a:pt x="22822" y="133604"/>
                    </a:lnTo>
                    <a:lnTo>
                      <a:pt x="45644" y="148882"/>
                    </a:lnTo>
                    <a:lnTo>
                      <a:pt x="57061" y="133604"/>
                    </a:lnTo>
                    <a:cubicBezTo>
                      <a:pt x="64668" y="137427"/>
                      <a:pt x="72276" y="137427"/>
                      <a:pt x="79883" y="137427"/>
                    </a:cubicBezTo>
                    <a:lnTo>
                      <a:pt x="87490" y="156515"/>
                    </a:lnTo>
                    <a:lnTo>
                      <a:pt x="110312" y="148882"/>
                    </a:lnTo>
                    <a:lnTo>
                      <a:pt x="110312" y="129794"/>
                    </a:lnTo>
                    <a:cubicBezTo>
                      <a:pt x="114122" y="125971"/>
                      <a:pt x="114122" y="125971"/>
                      <a:pt x="117919" y="122161"/>
                    </a:cubicBezTo>
                    <a:cubicBezTo>
                      <a:pt x="121729" y="122161"/>
                      <a:pt x="121729" y="118338"/>
                      <a:pt x="125527" y="114516"/>
                    </a:cubicBezTo>
                    <a:lnTo>
                      <a:pt x="144551" y="118338"/>
                    </a:lnTo>
                    <a:lnTo>
                      <a:pt x="155969" y="95440"/>
                    </a:lnTo>
                    <a:lnTo>
                      <a:pt x="136944" y="83985"/>
                    </a:lnTo>
                    <a:lnTo>
                      <a:pt x="136944" y="64897"/>
                    </a:lnTo>
                    <a:lnTo>
                      <a:pt x="152159" y="53441"/>
                    </a:lnTo>
                    <a:lnTo>
                      <a:pt x="140741" y="30543"/>
                    </a:lnTo>
                    <a:lnTo>
                      <a:pt x="121729" y="34353"/>
                    </a:lnTo>
                    <a:cubicBezTo>
                      <a:pt x="117919" y="30543"/>
                      <a:pt x="110312" y="26721"/>
                      <a:pt x="106515" y="22911"/>
                    </a:cubicBezTo>
                    <a:lnTo>
                      <a:pt x="106515" y="3823"/>
                    </a:lnTo>
                    <a:lnTo>
                      <a:pt x="79883" y="0"/>
                    </a:lnTo>
                    <a:lnTo>
                      <a:pt x="72276" y="15278"/>
                    </a:lnTo>
                    <a:cubicBezTo>
                      <a:pt x="68466" y="15278"/>
                      <a:pt x="60858" y="19088"/>
                      <a:pt x="53251" y="22911"/>
                    </a:cubicBezTo>
                    <a:lnTo>
                      <a:pt x="38037" y="11455"/>
                    </a:lnTo>
                    <a:lnTo>
                      <a:pt x="19025" y="26721"/>
                    </a:lnTo>
                    <a:lnTo>
                      <a:pt x="26632" y="41999"/>
                    </a:lnTo>
                    <a:cubicBezTo>
                      <a:pt x="22822" y="49631"/>
                      <a:pt x="19025" y="57264"/>
                      <a:pt x="19025" y="64897"/>
                    </a:cubicBezTo>
                    <a:lnTo>
                      <a:pt x="0" y="68720"/>
                    </a:lnTo>
                    <a:lnTo>
                      <a:pt x="3797" y="95440"/>
                    </a:lnTo>
                    <a:lnTo>
                      <a:pt x="19025" y="95440"/>
                    </a:lnTo>
                    <a:cubicBezTo>
                      <a:pt x="22822" y="103073"/>
                      <a:pt x="26632" y="110706"/>
                      <a:pt x="30429" y="114516"/>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59" name="Rectangle 435"/>
            <p:cNvSpPr/>
            <p:nvPr/>
          </p:nvSpPr>
          <p:spPr>
            <a:xfrm>
              <a:off x="6336359" y="5306481"/>
              <a:ext cx="450444" cy="153247"/>
            </a:xfrm>
            <a:prstGeom prst="rect">
              <a:avLst/>
            </a:prstGeom>
          </p:spPr>
          <p:txBody>
            <a:bodyPr wrap="none" lIns="0" tIns="0" rIns="0" bIns="0">
              <a:spAutoFit/>
            </a:bodyPr>
            <a:lstStyle/>
            <a:p>
              <a:pPr marL="0" algn="ctr"/>
              <a:r>
                <a:rPr lang="en-US" sz="996" b="1" i="0" spc="-50" baseline="0" dirty="0" smtClean="0">
                  <a:solidFill>
                    <a:srgbClr val="FFFFFF"/>
                  </a:solidFill>
                  <a:latin typeface="EYInterstate-LightBold"/>
                </a:rPr>
                <a:t>Process</a:t>
              </a:r>
              <a:endParaRPr lang="en-US" sz="996" b="1" i="0" spc="0" baseline="0" dirty="0">
                <a:solidFill>
                  <a:srgbClr val="FFFFFF"/>
                </a:solidFill>
                <a:latin typeface="EYInterstate-LightBold"/>
              </a:endParaRPr>
            </a:p>
          </p:txBody>
        </p:sp>
      </p:grpSp>
      <p:grpSp>
        <p:nvGrpSpPr>
          <p:cNvPr id="162" name="Group 161"/>
          <p:cNvGrpSpPr/>
          <p:nvPr/>
        </p:nvGrpSpPr>
        <p:grpSpPr>
          <a:xfrm>
            <a:off x="10957752" y="4091401"/>
            <a:ext cx="669036" cy="856052"/>
            <a:chOff x="1577339" y="4603676"/>
            <a:chExt cx="669036" cy="856052"/>
          </a:xfrm>
        </p:grpSpPr>
        <p:grpSp>
          <p:nvGrpSpPr>
            <p:cNvPr id="163" name="Group 162"/>
            <p:cNvGrpSpPr/>
            <p:nvPr/>
          </p:nvGrpSpPr>
          <p:grpSpPr>
            <a:xfrm>
              <a:off x="1577339" y="4603676"/>
              <a:ext cx="669036" cy="665986"/>
              <a:chOff x="1577339" y="4603676"/>
              <a:chExt cx="669036" cy="665986"/>
            </a:xfrm>
          </p:grpSpPr>
          <p:sp>
            <p:nvSpPr>
              <p:cNvPr id="165" name="Freeform 386"/>
              <p:cNvSpPr/>
              <p:nvPr/>
            </p:nvSpPr>
            <p:spPr>
              <a:xfrm>
                <a:off x="1577339" y="4603676"/>
                <a:ext cx="669036" cy="665986"/>
              </a:xfrm>
              <a:custGeom>
                <a:avLst/>
                <a:gdLst/>
                <a:ahLst/>
                <a:cxnLst/>
                <a:rect l="0" t="0" r="0" b="0"/>
                <a:pathLst>
                  <a:path w="669036" h="665986">
                    <a:moveTo>
                      <a:pt x="0" y="332993"/>
                    </a:moveTo>
                    <a:cubicBezTo>
                      <a:pt x="0" y="149085"/>
                      <a:pt x="149771" y="0"/>
                      <a:pt x="334518" y="0"/>
                    </a:cubicBezTo>
                    <a:cubicBezTo>
                      <a:pt x="519264" y="0"/>
                      <a:pt x="669036" y="149085"/>
                      <a:pt x="669036" y="332993"/>
                    </a:cubicBezTo>
                    <a:cubicBezTo>
                      <a:pt x="669036" y="516901"/>
                      <a:pt x="519264" y="665986"/>
                      <a:pt x="334518" y="665986"/>
                    </a:cubicBezTo>
                    <a:cubicBezTo>
                      <a:pt x="149771"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66" name="Freeform 387"/>
              <p:cNvSpPr/>
              <p:nvPr/>
            </p:nvSpPr>
            <p:spPr>
              <a:xfrm>
                <a:off x="1676396" y="4791128"/>
                <a:ext cx="470915" cy="278891"/>
              </a:xfrm>
              <a:custGeom>
                <a:avLst/>
                <a:gdLst/>
                <a:ahLst/>
                <a:cxnLst/>
                <a:rect l="0" t="0" r="0" b="0"/>
                <a:pathLst>
                  <a:path w="470915" h="278891">
                    <a:moveTo>
                      <a:pt x="189725" y="0"/>
                    </a:moveTo>
                    <a:lnTo>
                      <a:pt x="281203" y="0"/>
                    </a:lnTo>
                    <a:cubicBezTo>
                      <a:pt x="291363" y="0"/>
                      <a:pt x="298132" y="6807"/>
                      <a:pt x="298132" y="13601"/>
                    </a:cubicBezTo>
                    <a:lnTo>
                      <a:pt x="298132" y="47612"/>
                    </a:lnTo>
                    <a:lnTo>
                      <a:pt x="416712" y="47612"/>
                    </a:lnTo>
                    <a:lnTo>
                      <a:pt x="416712" y="173456"/>
                    </a:lnTo>
                    <a:lnTo>
                      <a:pt x="457364" y="173456"/>
                    </a:lnTo>
                    <a:cubicBezTo>
                      <a:pt x="464146" y="173456"/>
                      <a:pt x="470915" y="180263"/>
                      <a:pt x="470915" y="187058"/>
                    </a:cubicBezTo>
                    <a:lnTo>
                      <a:pt x="470915" y="265290"/>
                    </a:lnTo>
                    <a:cubicBezTo>
                      <a:pt x="470915" y="272084"/>
                      <a:pt x="464146" y="278891"/>
                      <a:pt x="457364" y="278891"/>
                    </a:cubicBezTo>
                    <a:lnTo>
                      <a:pt x="365899" y="278891"/>
                    </a:lnTo>
                    <a:cubicBezTo>
                      <a:pt x="359117" y="278891"/>
                      <a:pt x="352348" y="272084"/>
                      <a:pt x="352348" y="265290"/>
                    </a:cubicBezTo>
                    <a:lnTo>
                      <a:pt x="352348" y="187058"/>
                    </a:lnTo>
                    <a:cubicBezTo>
                      <a:pt x="352348" y="180263"/>
                      <a:pt x="359117" y="173456"/>
                      <a:pt x="365899" y="173456"/>
                    </a:cubicBezTo>
                    <a:lnTo>
                      <a:pt x="406552" y="173456"/>
                    </a:lnTo>
                    <a:lnTo>
                      <a:pt x="406552" y="57823"/>
                    </a:lnTo>
                    <a:lnTo>
                      <a:pt x="298132" y="57823"/>
                    </a:lnTo>
                    <a:lnTo>
                      <a:pt x="298132" y="91833"/>
                    </a:lnTo>
                    <a:cubicBezTo>
                      <a:pt x="298132" y="98628"/>
                      <a:pt x="291363" y="105435"/>
                      <a:pt x="281203" y="105435"/>
                    </a:cubicBezTo>
                    <a:lnTo>
                      <a:pt x="240537" y="105435"/>
                    </a:lnTo>
                    <a:lnTo>
                      <a:pt x="240537" y="173456"/>
                    </a:lnTo>
                    <a:lnTo>
                      <a:pt x="281203" y="173456"/>
                    </a:lnTo>
                    <a:cubicBezTo>
                      <a:pt x="291363" y="173456"/>
                      <a:pt x="298132" y="180263"/>
                      <a:pt x="298132" y="187058"/>
                    </a:cubicBezTo>
                    <a:lnTo>
                      <a:pt x="298132" y="265290"/>
                    </a:lnTo>
                    <a:cubicBezTo>
                      <a:pt x="298132" y="272084"/>
                      <a:pt x="291363" y="278891"/>
                      <a:pt x="281203" y="278891"/>
                    </a:cubicBezTo>
                    <a:lnTo>
                      <a:pt x="189725" y="278891"/>
                    </a:lnTo>
                    <a:cubicBezTo>
                      <a:pt x="182944" y="278891"/>
                      <a:pt x="176175" y="272084"/>
                      <a:pt x="176175" y="265290"/>
                    </a:cubicBezTo>
                    <a:lnTo>
                      <a:pt x="176175" y="187058"/>
                    </a:lnTo>
                    <a:cubicBezTo>
                      <a:pt x="176175" y="180263"/>
                      <a:pt x="182944" y="173456"/>
                      <a:pt x="189725" y="173456"/>
                    </a:cubicBezTo>
                    <a:lnTo>
                      <a:pt x="230377" y="173456"/>
                    </a:lnTo>
                    <a:lnTo>
                      <a:pt x="230377" y="105435"/>
                    </a:lnTo>
                    <a:lnTo>
                      <a:pt x="189725" y="105435"/>
                    </a:lnTo>
                    <a:cubicBezTo>
                      <a:pt x="182944" y="105435"/>
                      <a:pt x="176175" y="98628"/>
                      <a:pt x="176175" y="91833"/>
                    </a:cubicBezTo>
                    <a:lnTo>
                      <a:pt x="176175" y="57823"/>
                    </a:lnTo>
                    <a:lnTo>
                      <a:pt x="67767" y="57823"/>
                    </a:lnTo>
                    <a:lnTo>
                      <a:pt x="67767" y="173456"/>
                    </a:lnTo>
                    <a:lnTo>
                      <a:pt x="108420" y="173456"/>
                    </a:lnTo>
                    <a:cubicBezTo>
                      <a:pt x="115189" y="173456"/>
                      <a:pt x="121971" y="180263"/>
                      <a:pt x="121971" y="187058"/>
                    </a:cubicBezTo>
                    <a:lnTo>
                      <a:pt x="121971" y="265290"/>
                    </a:lnTo>
                    <a:cubicBezTo>
                      <a:pt x="121971" y="272084"/>
                      <a:pt x="115189" y="278891"/>
                      <a:pt x="108420" y="278891"/>
                    </a:cubicBezTo>
                    <a:lnTo>
                      <a:pt x="16942" y="278891"/>
                    </a:lnTo>
                    <a:cubicBezTo>
                      <a:pt x="6782" y="278891"/>
                      <a:pt x="0" y="272084"/>
                      <a:pt x="0" y="265290"/>
                    </a:cubicBezTo>
                    <a:lnTo>
                      <a:pt x="0" y="187058"/>
                    </a:lnTo>
                    <a:cubicBezTo>
                      <a:pt x="0" y="180263"/>
                      <a:pt x="6782" y="173456"/>
                      <a:pt x="16942" y="173456"/>
                    </a:cubicBezTo>
                    <a:lnTo>
                      <a:pt x="57595" y="173456"/>
                    </a:lnTo>
                    <a:lnTo>
                      <a:pt x="57595" y="47612"/>
                    </a:lnTo>
                    <a:lnTo>
                      <a:pt x="176175" y="47612"/>
                    </a:lnTo>
                    <a:lnTo>
                      <a:pt x="176175" y="13601"/>
                    </a:lnTo>
                    <a:cubicBezTo>
                      <a:pt x="176175" y="6807"/>
                      <a:pt x="182944" y="0"/>
                      <a:pt x="189725" y="0"/>
                    </a:cubicBezTo>
                    <a:moveTo>
                      <a:pt x="196506" y="85026"/>
                    </a:moveTo>
                    <a:lnTo>
                      <a:pt x="277812" y="85026"/>
                    </a:lnTo>
                    <a:lnTo>
                      <a:pt x="277812" y="20408"/>
                    </a:lnTo>
                    <a:lnTo>
                      <a:pt x="196506" y="20408"/>
                    </a:lnTo>
                    <a:lnTo>
                      <a:pt x="196506" y="85026"/>
                    </a:lnTo>
                    <a:close/>
                    <a:moveTo>
                      <a:pt x="20333" y="258483"/>
                    </a:moveTo>
                    <a:lnTo>
                      <a:pt x="101638" y="258483"/>
                    </a:lnTo>
                    <a:lnTo>
                      <a:pt x="101638" y="193865"/>
                    </a:lnTo>
                    <a:lnTo>
                      <a:pt x="20333" y="193865"/>
                    </a:lnTo>
                    <a:lnTo>
                      <a:pt x="20333" y="258483"/>
                    </a:lnTo>
                    <a:close/>
                    <a:moveTo>
                      <a:pt x="196506" y="258483"/>
                    </a:moveTo>
                    <a:lnTo>
                      <a:pt x="277812" y="258483"/>
                    </a:lnTo>
                    <a:lnTo>
                      <a:pt x="277812" y="193865"/>
                    </a:lnTo>
                    <a:lnTo>
                      <a:pt x="196506" y="193865"/>
                    </a:lnTo>
                    <a:lnTo>
                      <a:pt x="196506" y="258483"/>
                    </a:lnTo>
                    <a:close/>
                    <a:moveTo>
                      <a:pt x="372668" y="258483"/>
                    </a:moveTo>
                    <a:lnTo>
                      <a:pt x="450595" y="258483"/>
                    </a:lnTo>
                    <a:lnTo>
                      <a:pt x="450595" y="193865"/>
                    </a:lnTo>
                    <a:lnTo>
                      <a:pt x="372668" y="193865"/>
                    </a:lnTo>
                    <a:lnTo>
                      <a:pt x="372668" y="258483"/>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64" name="Rectangle 435"/>
            <p:cNvSpPr/>
            <p:nvPr/>
          </p:nvSpPr>
          <p:spPr>
            <a:xfrm>
              <a:off x="1602061" y="5306481"/>
              <a:ext cx="619593" cy="153247"/>
            </a:xfrm>
            <a:prstGeom prst="rect">
              <a:avLst/>
            </a:prstGeom>
          </p:spPr>
          <p:txBody>
            <a:bodyPr wrap="none" lIns="0" tIns="0" rIns="0" bIns="0">
              <a:spAutoFit/>
            </a:bodyPr>
            <a:lstStyle/>
            <a:p>
              <a:pPr algn="ctr"/>
              <a:r>
                <a:rPr lang="en-US" sz="996" b="1" spc="-48" dirty="0">
                  <a:solidFill>
                    <a:srgbClr val="FFFFFF"/>
                  </a:solidFill>
                  <a:latin typeface="EYInterstate-LightBold"/>
                </a:rPr>
                <a:t>O</a:t>
              </a:r>
              <a:r>
                <a:rPr lang="en-US" sz="996" b="1" spc="-44" dirty="0">
                  <a:solidFill>
                    <a:srgbClr val="FFFFFF"/>
                  </a:solidFill>
                  <a:latin typeface="EYInterstate-LightBold"/>
                </a:rPr>
                <a:t>r</a:t>
              </a:r>
              <a:r>
                <a:rPr lang="en-US" sz="996" b="1" spc="-51" dirty="0">
                  <a:solidFill>
                    <a:srgbClr val="FFFFFF"/>
                  </a:solidFill>
                  <a:latin typeface="EYInterstate-LightBold"/>
                </a:rPr>
                <a:t>g</a:t>
              </a:r>
              <a:r>
                <a:rPr lang="en-US" sz="996" b="1" spc="-40" dirty="0">
                  <a:solidFill>
                    <a:srgbClr val="FFFFFF"/>
                  </a:solidFill>
                  <a:latin typeface="EYInterstate-LightBold"/>
                </a:rPr>
                <a:t> </a:t>
              </a:r>
              <a:r>
                <a:rPr lang="en-US" sz="996" b="1" spc="-51" dirty="0">
                  <a:solidFill>
                    <a:srgbClr val="FFFFFF"/>
                  </a:solidFill>
                  <a:latin typeface="EYInterstate-LightBold"/>
                </a:rPr>
                <a:t>d</a:t>
              </a:r>
              <a:r>
                <a:rPr lang="en-US" sz="996" b="1" spc="-47" dirty="0">
                  <a:solidFill>
                    <a:srgbClr val="FFFFFF"/>
                  </a:solidFill>
                  <a:latin typeface="EYInterstate-LightBold"/>
                </a:rPr>
                <a:t>e</a:t>
              </a:r>
              <a:r>
                <a:rPr lang="en-US" sz="996" b="1" spc="-52" dirty="0">
                  <a:solidFill>
                    <a:srgbClr val="FFFFFF"/>
                  </a:solidFill>
                  <a:latin typeface="EYInterstate-LightBold"/>
                </a:rPr>
                <a:t>s</a:t>
              </a:r>
              <a:r>
                <a:rPr lang="en-US" sz="996" b="1" spc="-47" dirty="0">
                  <a:solidFill>
                    <a:srgbClr val="FFFFFF"/>
                  </a:solidFill>
                  <a:latin typeface="EYInterstate-LightBold"/>
                </a:rPr>
                <a:t>i</a:t>
              </a:r>
              <a:r>
                <a:rPr lang="en-US" sz="996" b="1" spc="-51" dirty="0">
                  <a:solidFill>
                    <a:srgbClr val="FFFFFF"/>
                  </a:solidFill>
                  <a:latin typeface="EYInterstate-LightBold"/>
                </a:rPr>
                <a:t>g</a:t>
              </a:r>
              <a:r>
                <a:rPr lang="en-US" sz="996" b="1" dirty="0">
                  <a:solidFill>
                    <a:srgbClr val="FFFFFF"/>
                  </a:solidFill>
                  <a:latin typeface="EYInterstate-LightBold"/>
                </a:rPr>
                <a:t>n</a:t>
              </a:r>
              <a:endParaRPr lang="en-US" sz="996" b="1" i="0" spc="0" baseline="0" dirty="0">
                <a:solidFill>
                  <a:srgbClr val="FFFFFF"/>
                </a:solidFill>
                <a:latin typeface="EYInterstate-LightBold"/>
              </a:endParaRPr>
            </a:p>
          </p:txBody>
        </p:sp>
      </p:grpSp>
      <p:grpSp>
        <p:nvGrpSpPr>
          <p:cNvPr id="167" name="Group 166"/>
          <p:cNvGrpSpPr/>
          <p:nvPr/>
        </p:nvGrpSpPr>
        <p:grpSpPr>
          <a:xfrm>
            <a:off x="10224391" y="5185305"/>
            <a:ext cx="665987" cy="884108"/>
            <a:chOff x="7186431" y="4603676"/>
            <a:chExt cx="665987" cy="884108"/>
          </a:xfrm>
        </p:grpSpPr>
        <p:sp>
          <p:nvSpPr>
            <p:cNvPr id="168" name="Freeform 384"/>
            <p:cNvSpPr/>
            <p:nvPr/>
          </p:nvSpPr>
          <p:spPr>
            <a:xfrm>
              <a:off x="7508757" y="5469496"/>
              <a:ext cx="21335" cy="18288"/>
            </a:xfrm>
            <a:custGeom>
              <a:avLst/>
              <a:gdLst/>
              <a:ahLst/>
              <a:cxnLst/>
              <a:rect l="0" t="0" r="0" b="0"/>
              <a:pathLst>
                <a:path w="21335" h="18288">
                  <a:moveTo>
                    <a:pt x="0" y="9144"/>
                  </a:moveTo>
                  <a:cubicBezTo>
                    <a:pt x="0" y="4090"/>
                    <a:pt x="4775" y="0"/>
                    <a:pt x="10667" y="0"/>
                  </a:cubicBezTo>
                  <a:cubicBezTo>
                    <a:pt x="16560" y="0"/>
                    <a:pt x="21335" y="4090"/>
                    <a:pt x="21335" y="9144"/>
                  </a:cubicBezTo>
                  <a:cubicBezTo>
                    <a:pt x="21335" y="14198"/>
                    <a:pt x="16560" y="18288"/>
                    <a:pt x="10667" y="18288"/>
                  </a:cubicBezTo>
                  <a:cubicBezTo>
                    <a:pt x="4775" y="18288"/>
                    <a:pt x="0" y="14198"/>
                    <a:pt x="0" y="9144"/>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nvGrpSpPr>
            <p:cNvPr id="169" name="Group 168"/>
            <p:cNvGrpSpPr/>
            <p:nvPr/>
          </p:nvGrpSpPr>
          <p:grpSpPr>
            <a:xfrm>
              <a:off x="7186431" y="4603676"/>
              <a:ext cx="665987" cy="665986"/>
              <a:chOff x="7158228" y="4603676"/>
              <a:chExt cx="665987" cy="665986"/>
            </a:xfrm>
          </p:grpSpPr>
          <p:sp>
            <p:nvSpPr>
              <p:cNvPr id="171" name="Freeform 382"/>
              <p:cNvSpPr/>
              <p:nvPr/>
            </p:nvSpPr>
            <p:spPr>
              <a:xfrm>
                <a:off x="7158228" y="4603676"/>
                <a:ext cx="665987" cy="665986"/>
              </a:xfrm>
              <a:custGeom>
                <a:avLst/>
                <a:gdLst/>
                <a:ahLst/>
                <a:cxnLst/>
                <a:rect l="0" t="0" r="0" b="0"/>
                <a:pathLst>
                  <a:path w="665987" h="665986">
                    <a:moveTo>
                      <a:pt x="0" y="332993"/>
                    </a:moveTo>
                    <a:cubicBezTo>
                      <a:pt x="0" y="149085"/>
                      <a:pt x="149085" y="0"/>
                      <a:pt x="332993" y="0"/>
                    </a:cubicBezTo>
                    <a:cubicBezTo>
                      <a:pt x="516902" y="0"/>
                      <a:pt x="665987" y="149085"/>
                      <a:pt x="665987" y="332993"/>
                    </a:cubicBezTo>
                    <a:cubicBezTo>
                      <a:pt x="665987" y="516901"/>
                      <a:pt x="516902" y="665986"/>
                      <a:pt x="332993" y="665986"/>
                    </a:cubicBezTo>
                    <a:cubicBezTo>
                      <a:pt x="149085" y="665986"/>
                      <a:pt x="0" y="516901"/>
                      <a:pt x="0" y="332993"/>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72" name="Freeform 383"/>
              <p:cNvSpPr/>
              <p:nvPr/>
            </p:nvSpPr>
            <p:spPr>
              <a:xfrm>
                <a:off x="7357869" y="4748451"/>
                <a:ext cx="251459" cy="326135"/>
              </a:xfrm>
              <a:custGeom>
                <a:avLst/>
                <a:gdLst/>
                <a:ahLst/>
                <a:cxnLst/>
                <a:rect l="0" t="0" r="0" b="0"/>
                <a:pathLst>
                  <a:path w="251459" h="326135">
                    <a:moveTo>
                      <a:pt x="34544" y="143725"/>
                    </a:moveTo>
                    <a:lnTo>
                      <a:pt x="102247" y="76009"/>
                    </a:lnTo>
                    <a:lnTo>
                      <a:pt x="109156" y="78778"/>
                    </a:lnTo>
                    <a:lnTo>
                      <a:pt x="37312" y="150633"/>
                    </a:lnTo>
                    <a:close/>
                    <a:moveTo>
                      <a:pt x="34544" y="181037"/>
                    </a:moveTo>
                    <a:lnTo>
                      <a:pt x="187909" y="26263"/>
                    </a:lnTo>
                    <a:lnTo>
                      <a:pt x="192049" y="34556"/>
                    </a:lnTo>
                    <a:lnTo>
                      <a:pt x="41452" y="183806"/>
                    </a:lnTo>
                    <a:close/>
                    <a:moveTo>
                      <a:pt x="240410" y="8293"/>
                    </a:moveTo>
                    <a:lnTo>
                      <a:pt x="8294" y="8293"/>
                    </a:lnTo>
                    <a:lnTo>
                      <a:pt x="8294" y="319226"/>
                    </a:lnTo>
                    <a:lnTo>
                      <a:pt x="251459" y="319226"/>
                    </a:lnTo>
                    <a:lnTo>
                      <a:pt x="251459" y="326135"/>
                    </a:lnTo>
                    <a:lnTo>
                      <a:pt x="0" y="326135"/>
                    </a:lnTo>
                    <a:lnTo>
                      <a:pt x="0" y="0"/>
                    </a:lnTo>
                    <a:lnTo>
                      <a:pt x="251459" y="0"/>
                    </a:lnTo>
                    <a:lnTo>
                      <a:pt x="251459" y="301268"/>
                    </a:lnTo>
                    <a:lnTo>
                      <a:pt x="240410" y="301268"/>
                    </a:lnTo>
                    <a:close/>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73" name="Freeform 385"/>
              <p:cNvSpPr/>
              <p:nvPr/>
            </p:nvSpPr>
            <p:spPr>
              <a:xfrm>
                <a:off x="7325868" y="4716453"/>
                <a:ext cx="316991" cy="409955"/>
              </a:xfrm>
              <a:custGeom>
                <a:avLst/>
                <a:gdLst/>
                <a:ahLst/>
                <a:cxnLst/>
                <a:rect l="0" t="0" r="0" b="0"/>
                <a:pathLst>
                  <a:path w="316991" h="409955">
                    <a:moveTo>
                      <a:pt x="298348" y="391325"/>
                    </a:moveTo>
                    <a:lnTo>
                      <a:pt x="14922" y="391325"/>
                    </a:lnTo>
                    <a:lnTo>
                      <a:pt x="14922" y="18643"/>
                    </a:lnTo>
                    <a:lnTo>
                      <a:pt x="298348" y="18643"/>
                    </a:lnTo>
                    <a:lnTo>
                      <a:pt x="298348" y="391325"/>
                    </a:lnTo>
                    <a:close/>
                    <a:moveTo>
                      <a:pt x="294614" y="0"/>
                    </a:moveTo>
                    <a:lnTo>
                      <a:pt x="18643" y="0"/>
                    </a:lnTo>
                    <a:cubicBezTo>
                      <a:pt x="7454" y="0"/>
                      <a:pt x="0" y="11175"/>
                      <a:pt x="0" y="22364"/>
                    </a:cubicBezTo>
                    <a:lnTo>
                      <a:pt x="0" y="387591"/>
                    </a:lnTo>
                    <a:cubicBezTo>
                      <a:pt x="0" y="398780"/>
                      <a:pt x="7454" y="409955"/>
                      <a:pt x="18643" y="409955"/>
                    </a:cubicBezTo>
                    <a:lnTo>
                      <a:pt x="294614" y="409955"/>
                    </a:lnTo>
                    <a:cubicBezTo>
                      <a:pt x="305803" y="409955"/>
                      <a:pt x="316991" y="398780"/>
                      <a:pt x="316991" y="387591"/>
                    </a:cubicBezTo>
                    <a:lnTo>
                      <a:pt x="316991" y="22364"/>
                    </a:lnTo>
                    <a:cubicBezTo>
                      <a:pt x="316991" y="11175"/>
                      <a:pt x="305803" y="0"/>
                      <a:pt x="294614" y="0"/>
                    </a:cubicBezTo>
                  </a:path>
                </a:pathLst>
              </a:custGeom>
              <a:solidFill>
                <a:srgbClr val="81818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grpSp>
        <p:sp>
          <p:nvSpPr>
            <p:cNvPr id="170" name="Rectangle 435"/>
            <p:cNvSpPr/>
            <p:nvPr/>
          </p:nvSpPr>
          <p:spPr>
            <a:xfrm>
              <a:off x="7189334" y="5306481"/>
              <a:ext cx="660181" cy="153247"/>
            </a:xfrm>
            <a:prstGeom prst="rect">
              <a:avLst/>
            </a:prstGeom>
          </p:spPr>
          <p:txBody>
            <a:bodyPr wrap="none" lIns="0" tIns="0" rIns="0" bIns="0">
              <a:spAutoFit/>
            </a:bodyPr>
            <a:lstStyle/>
            <a:p>
              <a:pPr algn="ctr"/>
              <a:r>
                <a:rPr lang="en-US" sz="996" b="1" spc="-52" dirty="0">
                  <a:solidFill>
                    <a:srgbClr val="FFFFFF"/>
                  </a:solidFill>
                  <a:latin typeface="EYInterstate-LightBold"/>
                </a:rPr>
                <a:t>T</a:t>
              </a:r>
              <a:r>
                <a:rPr lang="en-US" sz="996" b="1" spc="-47" dirty="0">
                  <a:solidFill>
                    <a:srgbClr val="FFFFFF"/>
                  </a:solidFill>
                  <a:latin typeface="EYInterstate-LightBold"/>
                </a:rPr>
                <a:t>e</a:t>
              </a:r>
              <a:r>
                <a:rPr lang="en-US" sz="996" b="1" spc="-51" dirty="0">
                  <a:solidFill>
                    <a:srgbClr val="FFFFFF"/>
                  </a:solidFill>
                  <a:latin typeface="EYInterstate-LightBold"/>
                </a:rPr>
                <a:t>chno</a:t>
              </a:r>
              <a:r>
                <a:rPr lang="en-US" sz="996" b="1" spc="-47" dirty="0">
                  <a:solidFill>
                    <a:srgbClr val="FFFFFF"/>
                  </a:solidFill>
                  <a:latin typeface="EYInterstate-LightBold"/>
                </a:rPr>
                <a:t>l</a:t>
              </a:r>
              <a:r>
                <a:rPr lang="en-US" sz="996" b="1" spc="-51" dirty="0">
                  <a:solidFill>
                    <a:srgbClr val="FFFFFF"/>
                  </a:solidFill>
                  <a:latin typeface="EYInterstate-LightBold"/>
                </a:rPr>
                <a:t>og</a:t>
              </a:r>
              <a:r>
                <a:rPr lang="en-US" sz="996" b="1" dirty="0">
                  <a:solidFill>
                    <a:srgbClr val="FFFFFF"/>
                  </a:solidFill>
                  <a:latin typeface="EYInterstate-LightBold"/>
                </a:rPr>
                <a:t>y</a:t>
              </a:r>
              <a:endParaRPr lang="en-US" sz="996" b="1" i="0" spc="0" baseline="0" dirty="0">
                <a:solidFill>
                  <a:srgbClr val="FFFFFF"/>
                </a:solidFill>
                <a:latin typeface="EYInterstate-LightBold"/>
              </a:endParaRPr>
            </a:p>
          </p:txBody>
        </p:sp>
      </p:grpSp>
      <p:grpSp>
        <p:nvGrpSpPr>
          <p:cNvPr id="107" name="Group 106"/>
          <p:cNvGrpSpPr/>
          <p:nvPr/>
        </p:nvGrpSpPr>
        <p:grpSpPr>
          <a:xfrm>
            <a:off x="2299485" y="4092792"/>
            <a:ext cx="669036" cy="1045775"/>
            <a:chOff x="2251832" y="4564614"/>
            <a:chExt cx="669036" cy="1045775"/>
          </a:xfrm>
        </p:grpSpPr>
        <p:grpSp>
          <p:nvGrpSpPr>
            <p:cNvPr id="106" name="Group 105"/>
            <p:cNvGrpSpPr/>
            <p:nvPr/>
          </p:nvGrpSpPr>
          <p:grpSpPr>
            <a:xfrm>
              <a:off x="2251832" y="4564614"/>
              <a:ext cx="669036" cy="667512"/>
              <a:chOff x="2251832" y="4564614"/>
              <a:chExt cx="669036" cy="667512"/>
            </a:xfrm>
          </p:grpSpPr>
          <p:sp>
            <p:nvSpPr>
              <p:cNvPr id="177" name="Freeform 407"/>
              <p:cNvSpPr/>
              <p:nvPr/>
            </p:nvSpPr>
            <p:spPr>
              <a:xfrm>
                <a:off x="2251832" y="4564614"/>
                <a:ext cx="669036" cy="667512"/>
              </a:xfrm>
              <a:custGeom>
                <a:avLst/>
                <a:gdLst/>
                <a:ahLst/>
                <a:cxnLst/>
                <a:rect l="0" t="0" r="0" b="0"/>
                <a:pathLst>
                  <a:path w="669036" h="667512">
                    <a:moveTo>
                      <a:pt x="0" y="333756"/>
                    </a:moveTo>
                    <a:cubicBezTo>
                      <a:pt x="0" y="149429"/>
                      <a:pt x="149771" y="0"/>
                      <a:pt x="334518" y="0"/>
                    </a:cubicBezTo>
                    <a:cubicBezTo>
                      <a:pt x="519264" y="0"/>
                      <a:pt x="669036" y="149429"/>
                      <a:pt x="669036" y="333756"/>
                    </a:cubicBezTo>
                    <a:cubicBezTo>
                      <a:pt x="669036" y="518083"/>
                      <a:pt x="519264" y="667512"/>
                      <a:pt x="334518" y="667512"/>
                    </a:cubicBezTo>
                    <a:cubicBezTo>
                      <a:pt x="149771" y="667512"/>
                      <a:pt x="0" y="518083"/>
                      <a:pt x="0" y="333756"/>
                    </a:cubicBezTo>
                  </a:path>
                </a:pathLst>
              </a:custGeom>
              <a:solidFill>
                <a:srgbClr val="C1C1C1">
                  <a:alpha val="100000"/>
                </a:srgbClr>
              </a:solidFill>
              <a:ln w="15240">
                <a:noFill/>
              </a:ln>
            </p:spPr>
            <p:style>
              <a:lnRef idx="2">
                <a:schemeClr val="accent1">
                  <a:shade val="50000"/>
                </a:schemeClr>
              </a:lnRef>
              <a:fillRef idx="1">
                <a:schemeClr val="accent1"/>
              </a:fillRef>
              <a:effectRef idx="0">
                <a:schemeClr val="accent1"/>
              </a:effectRef>
              <a:fontRef idx="minor">
                <a:schemeClr val="lt1"/>
              </a:fontRef>
            </p:style>
          </p:sp>
          <p:sp>
            <p:nvSpPr>
              <p:cNvPr id="176" name="Freeform 595"/>
              <p:cNvSpPr/>
              <p:nvPr/>
            </p:nvSpPr>
            <p:spPr>
              <a:xfrm>
                <a:off x="2352067" y="4691597"/>
                <a:ext cx="443808" cy="413545"/>
              </a:xfrm>
              <a:custGeom>
                <a:avLst/>
                <a:gdLst/>
                <a:ahLst/>
                <a:cxnLst/>
                <a:rect l="0" t="0" r="0" b="0"/>
                <a:pathLst>
                  <a:path w="275843" h="242315">
                    <a:moveTo>
                      <a:pt x="160248" y="139598"/>
                    </a:moveTo>
                    <a:lnTo>
                      <a:pt x="152362" y="147497"/>
                    </a:lnTo>
                    <a:lnTo>
                      <a:pt x="218045" y="205447"/>
                    </a:lnTo>
                    <a:cubicBezTo>
                      <a:pt x="220674" y="208076"/>
                      <a:pt x="223303" y="213346"/>
                      <a:pt x="223303" y="215975"/>
                    </a:cubicBezTo>
                    <a:cubicBezTo>
                      <a:pt x="223303" y="221246"/>
                      <a:pt x="220674" y="223887"/>
                      <a:pt x="218045" y="226516"/>
                    </a:cubicBezTo>
                    <a:cubicBezTo>
                      <a:pt x="215416" y="229145"/>
                      <a:pt x="212787" y="231787"/>
                      <a:pt x="207530" y="231787"/>
                    </a:cubicBezTo>
                    <a:cubicBezTo>
                      <a:pt x="204913" y="231787"/>
                      <a:pt x="202284" y="229145"/>
                      <a:pt x="197027" y="226516"/>
                    </a:cubicBezTo>
                    <a:lnTo>
                      <a:pt x="133972" y="165937"/>
                    </a:lnTo>
                    <a:lnTo>
                      <a:pt x="126098" y="173837"/>
                    </a:lnTo>
                    <a:lnTo>
                      <a:pt x="191769" y="234416"/>
                    </a:lnTo>
                    <a:cubicBezTo>
                      <a:pt x="197027" y="239686"/>
                      <a:pt x="202284" y="242315"/>
                      <a:pt x="207530" y="242315"/>
                    </a:cubicBezTo>
                    <a:cubicBezTo>
                      <a:pt x="215416" y="242315"/>
                      <a:pt x="220674" y="239686"/>
                      <a:pt x="225919" y="234416"/>
                    </a:cubicBezTo>
                    <a:cubicBezTo>
                      <a:pt x="231177" y="229145"/>
                      <a:pt x="233806" y="223887"/>
                      <a:pt x="233806" y="215975"/>
                    </a:cubicBezTo>
                    <a:cubicBezTo>
                      <a:pt x="233806" y="210717"/>
                      <a:pt x="231177" y="202805"/>
                      <a:pt x="225919" y="197548"/>
                    </a:cubicBezTo>
                    <a:close/>
                    <a:moveTo>
                      <a:pt x="63043" y="107988"/>
                    </a:moveTo>
                    <a:cubicBezTo>
                      <a:pt x="65672" y="113259"/>
                      <a:pt x="73558" y="118529"/>
                      <a:pt x="76187" y="123800"/>
                    </a:cubicBezTo>
                    <a:lnTo>
                      <a:pt x="105080" y="150138"/>
                    </a:lnTo>
                    <a:lnTo>
                      <a:pt x="112966" y="144868"/>
                    </a:lnTo>
                    <a:lnTo>
                      <a:pt x="84061" y="115888"/>
                    </a:lnTo>
                    <a:cubicBezTo>
                      <a:pt x="78803" y="110630"/>
                      <a:pt x="70929" y="105359"/>
                      <a:pt x="68301" y="100089"/>
                    </a:cubicBezTo>
                    <a:lnTo>
                      <a:pt x="65672" y="97460"/>
                    </a:lnTo>
                    <a:lnTo>
                      <a:pt x="60414" y="97460"/>
                    </a:lnTo>
                    <a:cubicBezTo>
                      <a:pt x="57798" y="100089"/>
                      <a:pt x="52540" y="100089"/>
                      <a:pt x="47282" y="100089"/>
                    </a:cubicBezTo>
                    <a:cubicBezTo>
                      <a:pt x="34150" y="100089"/>
                      <a:pt x="23635" y="94818"/>
                      <a:pt x="15761" y="86919"/>
                    </a:cubicBezTo>
                    <a:cubicBezTo>
                      <a:pt x="13132" y="81648"/>
                      <a:pt x="10503" y="73749"/>
                      <a:pt x="10503" y="65850"/>
                    </a:cubicBezTo>
                    <a:cubicBezTo>
                      <a:pt x="10503" y="60579"/>
                      <a:pt x="10503" y="55309"/>
                      <a:pt x="13132" y="50051"/>
                    </a:cubicBezTo>
                    <a:lnTo>
                      <a:pt x="26263" y="71120"/>
                    </a:lnTo>
                    <a:lnTo>
                      <a:pt x="55169" y="73749"/>
                    </a:lnTo>
                    <a:lnTo>
                      <a:pt x="70929" y="47409"/>
                    </a:lnTo>
                    <a:lnTo>
                      <a:pt x="60414" y="26340"/>
                    </a:lnTo>
                    <a:cubicBezTo>
                      <a:pt x="70929" y="26340"/>
                      <a:pt x="76187" y="31610"/>
                      <a:pt x="81432" y="39510"/>
                    </a:cubicBezTo>
                    <a:cubicBezTo>
                      <a:pt x="86690" y="44780"/>
                      <a:pt x="89319" y="52680"/>
                      <a:pt x="89319" y="60579"/>
                    </a:cubicBezTo>
                    <a:cubicBezTo>
                      <a:pt x="89319" y="65850"/>
                      <a:pt x="86690" y="71120"/>
                      <a:pt x="84061" y="76391"/>
                    </a:cubicBezTo>
                    <a:lnTo>
                      <a:pt x="81432" y="81648"/>
                    </a:lnTo>
                    <a:lnTo>
                      <a:pt x="86690" y="84290"/>
                    </a:lnTo>
                    <a:cubicBezTo>
                      <a:pt x="91948" y="89560"/>
                      <a:pt x="99822" y="97460"/>
                      <a:pt x="105080" y="102730"/>
                    </a:cubicBezTo>
                    <a:lnTo>
                      <a:pt x="131356" y="126429"/>
                    </a:lnTo>
                    <a:lnTo>
                      <a:pt x="139230" y="118529"/>
                    </a:lnTo>
                    <a:lnTo>
                      <a:pt x="112966" y="94818"/>
                    </a:lnTo>
                    <a:cubicBezTo>
                      <a:pt x="107709" y="89560"/>
                      <a:pt x="99822" y="84290"/>
                      <a:pt x="94577" y="79020"/>
                    </a:cubicBezTo>
                    <a:cubicBezTo>
                      <a:pt x="97193" y="73749"/>
                      <a:pt x="99822" y="65850"/>
                      <a:pt x="99822" y="60579"/>
                    </a:cubicBezTo>
                    <a:cubicBezTo>
                      <a:pt x="99822" y="50051"/>
                      <a:pt x="97193" y="42151"/>
                      <a:pt x="91948" y="34239"/>
                    </a:cubicBezTo>
                    <a:cubicBezTo>
                      <a:pt x="81432" y="21069"/>
                      <a:pt x="68301" y="13170"/>
                      <a:pt x="52540" y="13170"/>
                    </a:cubicBezTo>
                    <a:lnTo>
                      <a:pt x="44653" y="15812"/>
                    </a:lnTo>
                    <a:lnTo>
                      <a:pt x="57798" y="44780"/>
                    </a:lnTo>
                    <a:lnTo>
                      <a:pt x="49911" y="60579"/>
                    </a:lnTo>
                    <a:lnTo>
                      <a:pt x="34150" y="60579"/>
                    </a:lnTo>
                    <a:lnTo>
                      <a:pt x="13132" y="31610"/>
                    </a:lnTo>
                    <a:lnTo>
                      <a:pt x="10503" y="36881"/>
                    </a:lnTo>
                    <a:cubicBezTo>
                      <a:pt x="2629" y="44780"/>
                      <a:pt x="0" y="55309"/>
                      <a:pt x="0" y="65850"/>
                    </a:cubicBezTo>
                    <a:cubicBezTo>
                      <a:pt x="0" y="76391"/>
                      <a:pt x="2629" y="84290"/>
                      <a:pt x="7874" y="92189"/>
                    </a:cubicBezTo>
                    <a:cubicBezTo>
                      <a:pt x="18389" y="105359"/>
                      <a:pt x="31521" y="110630"/>
                      <a:pt x="47282" y="110630"/>
                    </a:cubicBezTo>
                    <a:cubicBezTo>
                      <a:pt x="52540" y="110630"/>
                      <a:pt x="57798" y="110630"/>
                      <a:pt x="63043" y="107988"/>
                    </a:cubicBezTo>
                    <a:moveTo>
                      <a:pt x="262698" y="31610"/>
                    </a:moveTo>
                    <a:lnTo>
                      <a:pt x="239064" y="63221"/>
                    </a:lnTo>
                    <a:cubicBezTo>
                      <a:pt x="233806" y="68479"/>
                      <a:pt x="225919" y="79020"/>
                      <a:pt x="218045" y="81648"/>
                    </a:cubicBezTo>
                    <a:lnTo>
                      <a:pt x="207530" y="89560"/>
                    </a:lnTo>
                    <a:cubicBezTo>
                      <a:pt x="199656" y="94818"/>
                      <a:pt x="189140" y="102730"/>
                      <a:pt x="183895" y="107988"/>
                    </a:cubicBezTo>
                    <a:cubicBezTo>
                      <a:pt x="183895" y="110630"/>
                      <a:pt x="181266" y="110630"/>
                      <a:pt x="178637" y="110630"/>
                    </a:cubicBezTo>
                    <a:cubicBezTo>
                      <a:pt x="176008" y="110630"/>
                      <a:pt x="173379" y="107988"/>
                      <a:pt x="173379" y="107988"/>
                    </a:cubicBezTo>
                    <a:lnTo>
                      <a:pt x="170750" y="105359"/>
                    </a:lnTo>
                    <a:cubicBezTo>
                      <a:pt x="168134" y="102730"/>
                      <a:pt x="168134" y="100089"/>
                      <a:pt x="168134" y="97460"/>
                    </a:cubicBezTo>
                    <a:lnTo>
                      <a:pt x="168134" y="94818"/>
                    </a:lnTo>
                    <a:cubicBezTo>
                      <a:pt x="170750" y="92189"/>
                      <a:pt x="173379" y="89560"/>
                      <a:pt x="176008" y="86919"/>
                    </a:cubicBezTo>
                    <a:lnTo>
                      <a:pt x="186524" y="97460"/>
                    </a:lnTo>
                    <a:lnTo>
                      <a:pt x="191769" y="94818"/>
                    </a:lnTo>
                    <a:lnTo>
                      <a:pt x="178637" y="81648"/>
                    </a:lnTo>
                    <a:cubicBezTo>
                      <a:pt x="181266" y="79020"/>
                      <a:pt x="183895" y="73749"/>
                      <a:pt x="186524" y="71120"/>
                    </a:cubicBezTo>
                    <a:lnTo>
                      <a:pt x="194398" y="57950"/>
                    </a:lnTo>
                    <a:cubicBezTo>
                      <a:pt x="197027" y="52680"/>
                      <a:pt x="207530" y="42151"/>
                      <a:pt x="212787" y="36881"/>
                    </a:cubicBezTo>
                    <a:lnTo>
                      <a:pt x="244309" y="13170"/>
                    </a:lnTo>
                    <a:cubicBezTo>
                      <a:pt x="244309" y="10541"/>
                      <a:pt x="246938" y="10541"/>
                      <a:pt x="249567" y="10541"/>
                    </a:cubicBezTo>
                    <a:cubicBezTo>
                      <a:pt x="254824" y="10541"/>
                      <a:pt x="257453" y="13170"/>
                      <a:pt x="260082" y="13170"/>
                    </a:cubicBezTo>
                    <a:lnTo>
                      <a:pt x="260082" y="15812"/>
                    </a:lnTo>
                    <a:cubicBezTo>
                      <a:pt x="262698" y="18441"/>
                      <a:pt x="265327" y="21069"/>
                      <a:pt x="265327" y="23711"/>
                    </a:cubicBezTo>
                    <a:cubicBezTo>
                      <a:pt x="265327" y="26340"/>
                      <a:pt x="262698" y="28981"/>
                      <a:pt x="262698" y="31610"/>
                    </a:cubicBezTo>
                    <a:moveTo>
                      <a:pt x="267956" y="7900"/>
                    </a:moveTo>
                    <a:lnTo>
                      <a:pt x="267956" y="7900"/>
                    </a:lnTo>
                    <a:lnTo>
                      <a:pt x="265327" y="7900"/>
                    </a:lnTo>
                    <a:cubicBezTo>
                      <a:pt x="262698" y="2642"/>
                      <a:pt x="257453" y="0"/>
                      <a:pt x="249567" y="0"/>
                    </a:cubicBezTo>
                    <a:cubicBezTo>
                      <a:pt x="246938" y="0"/>
                      <a:pt x="241693" y="2642"/>
                      <a:pt x="236435" y="5271"/>
                    </a:cubicBezTo>
                    <a:lnTo>
                      <a:pt x="204913" y="28981"/>
                    </a:lnTo>
                    <a:cubicBezTo>
                      <a:pt x="197027" y="34239"/>
                      <a:pt x="189140" y="44780"/>
                      <a:pt x="183895" y="52680"/>
                    </a:cubicBezTo>
                    <a:lnTo>
                      <a:pt x="178637" y="65850"/>
                    </a:lnTo>
                    <a:cubicBezTo>
                      <a:pt x="173379" y="71120"/>
                      <a:pt x="165505" y="81648"/>
                      <a:pt x="162876" y="86919"/>
                    </a:cubicBezTo>
                    <a:cubicBezTo>
                      <a:pt x="157620" y="89560"/>
                      <a:pt x="157620" y="94818"/>
                      <a:pt x="157620" y="97460"/>
                    </a:cubicBezTo>
                    <a:cubicBezTo>
                      <a:pt x="157620" y="102730"/>
                      <a:pt x="160248" y="107988"/>
                      <a:pt x="162876" y="113259"/>
                    </a:cubicBezTo>
                    <a:lnTo>
                      <a:pt x="165505" y="115888"/>
                    </a:lnTo>
                    <a:cubicBezTo>
                      <a:pt x="168134" y="118529"/>
                      <a:pt x="173379" y="121158"/>
                      <a:pt x="178637" y="121158"/>
                    </a:cubicBezTo>
                    <a:cubicBezTo>
                      <a:pt x="183895" y="121158"/>
                      <a:pt x="189140" y="118529"/>
                      <a:pt x="191769" y="115888"/>
                    </a:cubicBezTo>
                    <a:cubicBezTo>
                      <a:pt x="197027" y="110630"/>
                      <a:pt x="204913" y="102730"/>
                      <a:pt x="212787" y="97460"/>
                    </a:cubicBezTo>
                    <a:lnTo>
                      <a:pt x="223303" y="92189"/>
                    </a:lnTo>
                    <a:cubicBezTo>
                      <a:pt x="231177" y="86919"/>
                      <a:pt x="241693" y="76391"/>
                      <a:pt x="246938" y="71120"/>
                    </a:cubicBezTo>
                    <a:lnTo>
                      <a:pt x="270585" y="36881"/>
                    </a:lnTo>
                    <a:cubicBezTo>
                      <a:pt x="273214" y="34239"/>
                      <a:pt x="275843" y="28981"/>
                      <a:pt x="275843" y="23711"/>
                    </a:cubicBezTo>
                    <a:cubicBezTo>
                      <a:pt x="275843" y="18441"/>
                      <a:pt x="273214" y="13170"/>
                      <a:pt x="267956" y="7900"/>
                    </a:cubicBezTo>
                    <a:moveTo>
                      <a:pt x="154991" y="115888"/>
                    </a:moveTo>
                    <a:lnTo>
                      <a:pt x="44653" y="226516"/>
                    </a:lnTo>
                    <a:cubicBezTo>
                      <a:pt x="44653" y="226516"/>
                      <a:pt x="36779" y="239686"/>
                      <a:pt x="39408" y="242315"/>
                    </a:cubicBezTo>
                    <a:lnTo>
                      <a:pt x="52540" y="234416"/>
                    </a:lnTo>
                    <a:lnTo>
                      <a:pt x="162876" y="123800"/>
                    </a:lnTo>
                    <a:close/>
                  </a:path>
                </a:pathLst>
              </a:custGeom>
              <a:solidFill>
                <a:srgbClr val="818181"/>
              </a:solidFill>
              <a:ln w="12700">
                <a:noFill/>
              </a:ln>
            </p:spPr>
            <p:style>
              <a:lnRef idx="2">
                <a:schemeClr val="accent1">
                  <a:shade val="50000"/>
                </a:schemeClr>
              </a:lnRef>
              <a:fillRef idx="1">
                <a:schemeClr val="accent1"/>
              </a:fillRef>
              <a:effectRef idx="0">
                <a:schemeClr val="accent1"/>
              </a:effectRef>
              <a:fontRef idx="minor">
                <a:schemeClr val="lt1"/>
              </a:fontRef>
            </p:style>
          </p:sp>
        </p:grpSp>
        <p:sp>
          <p:nvSpPr>
            <p:cNvPr id="178" name="Rectangle 436"/>
            <p:cNvSpPr/>
            <p:nvPr/>
          </p:nvSpPr>
          <p:spPr>
            <a:xfrm>
              <a:off x="2314192" y="5303895"/>
              <a:ext cx="544316" cy="306494"/>
            </a:xfrm>
            <a:prstGeom prst="rect">
              <a:avLst/>
            </a:prstGeom>
          </p:spPr>
          <p:txBody>
            <a:bodyPr wrap="none" lIns="0" tIns="0" rIns="0" bIns="0">
              <a:spAutoFit/>
            </a:bodyPr>
            <a:lstStyle/>
            <a:p>
              <a:pPr algn="ctr"/>
              <a:r>
                <a:rPr lang="en-US" sz="996" b="1" i="0" spc="-52" baseline="0" dirty="0" smtClean="0">
                  <a:solidFill>
                    <a:srgbClr val="FFFFFF"/>
                  </a:solidFill>
                  <a:latin typeface="EYInterstate-LightBold"/>
                </a:rPr>
                <a:t>Operating</a:t>
              </a:r>
            </a:p>
            <a:p>
              <a:pPr algn="ctr"/>
              <a:r>
                <a:rPr lang="en-US" sz="996" b="1" i="0" spc="-52" baseline="0" dirty="0" smtClean="0">
                  <a:solidFill>
                    <a:srgbClr val="FFFFFF"/>
                  </a:solidFill>
                  <a:latin typeface="EYInterstate-LightBold"/>
                </a:rPr>
                <a:t>model</a:t>
              </a:r>
              <a:endParaRPr lang="en-US" sz="996" b="1" i="0" spc="0" baseline="0" dirty="0">
                <a:solidFill>
                  <a:srgbClr val="FFFFFF"/>
                </a:solidFill>
                <a:latin typeface="EYInterstate-LightBold"/>
              </a:endParaRPr>
            </a:p>
          </p:txBody>
        </p:sp>
      </p:grpSp>
    </p:spTree>
    <p:extLst>
      <p:ext uri="{BB962C8B-B14F-4D97-AF65-F5344CB8AC3E}">
        <p14:creationId xmlns:p14="http://schemas.microsoft.com/office/powerpoint/2010/main" val="2706841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2000" dirty="0">
                <a:latin typeface="+mj-lt"/>
              </a:rPr>
              <a:t>Digital is about the explosive growth of new technologies</a:t>
            </a:r>
          </a:p>
        </p:txBody>
      </p:sp>
      <p:grpSp>
        <p:nvGrpSpPr>
          <p:cNvPr id="96" name="Group 95"/>
          <p:cNvGrpSpPr/>
          <p:nvPr/>
        </p:nvGrpSpPr>
        <p:grpSpPr>
          <a:xfrm>
            <a:off x="4133032" y="1770709"/>
            <a:ext cx="3925937" cy="3655426"/>
            <a:chOff x="4133138" y="1768114"/>
            <a:chExt cx="3932075" cy="3661141"/>
          </a:xfrm>
        </p:grpSpPr>
        <p:grpSp>
          <p:nvGrpSpPr>
            <p:cNvPr id="15" name="Group 14"/>
            <p:cNvGrpSpPr/>
            <p:nvPr/>
          </p:nvGrpSpPr>
          <p:grpSpPr>
            <a:xfrm>
              <a:off x="4133138" y="1768114"/>
              <a:ext cx="3932075" cy="3661141"/>
              <a:chOff x="3936534" y="1415373"/>
              <a:chExt cx="4325282" cy="4027255"/>
            </a:xfrm>
          </p:grpSpPr>
          <p:pic>
            <p:nvPicPr>
              <p:cNvPr id="3" name="Picture 2" descr="FOWN2_ai6-12.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36534" y="1415373"/>
                <a:ext cx="4325282" cy="4027255"/>
              </a:xfrm>
              <a:prstGeom prst="rect">
                <a:avLst/>
              </a:prstGeom>
            </p:spPr>
          </p:pic>
          <p:grpSp>
            <p:nvGrpSpPr>
              <p:cNvPr id="14" name="Group 13"/>
              <p:cNvGrpSpPr/>
              <p:nvPr/>
            </p:nvGrpSpPr>
            <p:grpSpPr>
              <a:xfrm>
                <a:off x="4923110" y="2330690"/>
                <a:ext cx="2218558" cy="2206778"/>
                <a:chOff x="4923110" y="2330690"/>
                <a:chExt cx="2218558" cy="2206778"/>
              </a:xfrm>
            </p:grpSpPr>
            <p:sp>
              <p:nvSpPr>
                <p:cNvPr id="4" name="Oval 3"/>
                <p:cNvSpPr/>
                <p:nvPr/>
              </p:nvSpPr>
              <p:spPr>
                <a:xfrm>
                  <a:off x="5392928" y="2903728"/>
                  <a:ext cx="491744" cy="491744"/>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5" name="Oval 4"/>
                <p:cNvSpPr/>
                <p:nvPr/>
              </p:nvSpPr>
              <p:spPr>
                <a:xfrm>
                  <a:off x="6600750" y="3472688"/>
                  <a:ext cx="540918" cy="491744"/>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6" name="Oval 5"/>
                <p:cNvSpPr/>
                <p:nvPr/>
              </p:nvSpPr>
              <p:spPr>
                <a:xfrm>
                  <a:off x="6714947" y="2740250"/>
                  <a:ext cx="406401" cy="447040"/>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7" name="Oval 6"/>
                <p:cNvSpPr/>
                <p:nvPr/>
              </p:nvSpPr>
              <p:spPr>
                <a:xfrm>
                  <a:off x="6135827" y="3002475"/>
                  <a:ext cx="406401" cy="406400"/>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8" name="Oval 7"/>
                <p:cNvSpPr/>
                <p:nvPr/>
              </p:nvSpPr>
              <p:spPr>
                <a:xfrm>
                  <a:off x="5878779" y="3586675"/>
                  <a:ext cx="447041" cy="447040"/>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9" name="Oval 8"/>
                <p:cNvSpPr/>
                <p:nvPr/>
              </p:nvSpPr>
              <p:spPr>
                <a:xfrm>
                  <a:off x="5167375" y="3760411"/>
                  <a:ext cx="491745" cy="491744"/>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10" name="Oval 9"/>
                <p:cNvSpPr/>
                <p:nvPr/>
              </p:nvSpPr>
              <p:spPr>
                <a:xfrm>
                  <a:off x="6122619" y="2331059"/>
                  <a:ext cx="406401" cy="335868"/>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11" name="Oval 10"/>
                <p:cNvSpPr/>
                <p:nvPr/>
              </p:nvSpPr>
              <p:spPr>
                <a:xfrm>
                  <a:off x="5445758" y="2330690"/>
                  <a:ext cx="406400" cy="381833"/>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12" name="Oval 11"/>
                <p:cNvSpPr/>
                <p:nvPr/>
              </p:nvSpPr>
              <p:spPr>
                <a:xfrm>
                  <a:off x="6202662" y="4155635"/>
                  <a:ext cx="369455" cy="381833"/>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13" name="Oval 12"/>
                <p:cNvSpPr/>
                <p:nvPr/>
              </p:nvSpPr>
              <p:spPr>
                <a:xfrm>
                  <a:off x="4923110" y="3236051"/>
                  <a:ext cx="369455" cy="381833"/>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grpSp>
        </p:grpSp>
        <p:sp>
          <p:nvSpPr>
            <p:cNvPr id="43" name="Freeform 13"/>
            <p:cNvSpPr>
              <a:spLocks noEditPoints="1"/>
            </p:cNvSpPr>
            <p:nvPr/>
          </p:nvSpPr>
          <p:spPr bwMode="auto">
            <a:xfrm>
              <a:off x="5475230" y="3258542"/>
              <a:ext cx="410844" cy="143512"/>
            </a:xfrm>
            <a:custGeom>
              <a:avLst/>
              <a:gdLst>
                <a:gd name="T0" fmla="*/ 178 w 236"/>
                <a:gd name="T1" fmla="*/ 53 h 87"/>
                <a:gd name="T2" fmla="*/ 161 w 236"/>
                <a:gd name="T3" fmla="*/ 70 h 87"/>
                <a:gd name="T4" fmla="*/ 178 w 236"/>
                <a:gd name="T5" fmla="*/ 86 h 87"/>
                <a:gd name="T6" fmla="*/ 194 w 236"/>
                <a:gd name="T7" fmla="*/ 70 h 87"/>
                <a:gd name="T8" fmla="*/ 178 w 236"/>
                <a:gd name="T9" fmla="*/ 53 h 87"/>
                <a:gd name="T10" fmla="*/ 51 w 236"/>
                <a:gd name="T11" fmla="*/ 54 h 87"/>
                <a:gd name="T12" fmla="*/ 34 w 236"/>
                <a:gd name="T13" fmla="*/ 71 h 87"/>
                <a:gd name="T14" fmla="*/ 51 w 236"/>
                <a:gd name="T15" fmla="*/ 87 h 87"/>
                <a:gd name="T16" fmla="*/ 67 w 236"/>
                <a:gd name="T17" fmla="*/ 71 h 87"/>
                <a:gd name="T18" fmla="*/ 51 w 236"/>
                <a:gd name="T19" fmla="*/ 54 h 87"/>
                <a:gd name="T20" fmla="*/ 63 w 236"/>
                <a:gd name="T21" fmla="*/ 26 h 87"/>
                <a:gd name="T22" fmla="*/ 81 w 236"/>
                <a:gd name="T23" fmla="*/ 8 h 87"/>
                <a:gd name="T24" fmla="*/ 116 w 236"/>
                <a:gd name="T25" fmla="*/ 7 h 87"/>
                <a:gd name="T26" fmla="*/ 142 w 236"/>
                <a:gd name="T27" fmla="*/ 15 h 87"/>
                <a:gd name="T28" fmla="*/ 157 w 236"/>
                <a:gd name="T29" fmla="*/ 26 h 87"/>
                <a:gd name="T30" fmla="*/ 63 w 236"/>
                <a:gd name="T31" fmla="*/ 26 h 87"/>
                <a:gd name="T32" fmla="*/ 220 w 236"/>
                <a:gd name="T33" fmla="*/ 39 h 87"/>
                <a:gd name="T34" fmla="*/ 179 w 236"/>
                <a:gd name="T35" fmla="*/ 29 h 87"/>
                <a:gd name="T36" fmla="*/ 129 w 236"/>
                <a:gd name="T37" fmla="*/ 2 h 87"/>
                <a:gd name="T38" fmla="*/ 80 w 236"/>
                <a:gd name="T39" fmla="*/ 1 h 87"/>
                <a:gd name="T40" fmla="*/ 34 w 236"/>
                <a:gd name="T41" fmla="*/ 29 h 87"/>
                <a:gd name="T42" fmla="*/ 18 w 236"/>
                <a:gd name="T43" fmla="*/ 32 h 87"/>
                <a:gd name="T44" fmla="*/ 2 w 236"/>
                <a:gd name="T45" fmla="*/ 39 h 87"/>
                <a:gd name="T46" fmla="*/ 0 w 236"/>
                <a:gd name="T47" fmla="*/ 54 h 87"/>
                <a:gd name="T48" fmla="*/ 0 w 236"/>
                <a:gd name="T49" fmla="*/ 62 h 87"/>
                <a:gd name="T50" fmla="*/ 2 w 236"/>
                <a:gd name="T51" fmla="*/ 66 h 87"/>
                <a:gd name="T52" fmla="*/ 6 w 236"/>
                <a:gd name="T53" fmla="*/ 70 h 87"/>
                <a:gd name="T54" fmla="*/ 10 w 236"/>
                <a:gd name="T55" fmla="*/ 71 h 87"/>
                <a:gd name="T56" fmla="*/ 28 w 236"/>
                <a:gd name="T57" fmla="*/ 71 h 87"/>
                <a:gd name="T58" fmla="*/ 51 w 236"/>
                <a:gd name="T59" fmla="*/ 48 h 87"/>
                <a:gd name="T60" fmla="*/ 73 w 236"/>
                <a:gd name="T61" fmla="*/ 71 h 87"/>
                <a:gd name="T62" fmla="*/ 155 w 236"/>
                <a:gd name="T63" fmla="*/ 71 h 87"/>
                <a:gd name="T64" fmla="*/ 155 w 236"/>
                <a:gd name="T65" fmla="*/ 70 h 87"/>
                <a:gd name="T66" fmla="*/ 178 w 236"/>
                <a:gd name="T67" fmla="*/ 47 h 87"/>
                <a:gd name="T68" fmla="*/ 201 w 236"/>
                <a:gd name="T69" fmla="*/ 70 h 87"/>
                <a:gd name="T70" fmla="*/ 201 w 236"/>
                <a:gd name="T71" fmla="*/ 71 h 87"/>
                <a:gd name="T72" fmla="*/ 226 w 236"/>
                <a:gd name="T73" fmla="*/ 71 h 87"/>
                <a:gd name="T74" fmla="*/ 229 w 236"/>
                <a:gd name="T75" fmla="*/ 70 h 87"/>
                <a:gd name="T76" fmla="*/ 233 w 236"/>
                <a:gd name="T77" fmla="*/ 67 h 87"/>
                <a:gd name="T78" fmla="*/ 235 w 236"/>
                <a:gd name="T79" fmla="*/ 64 h 87"/>
                <a:gd name="T80" fmla="*/ 220 w 236"/>
                <a:gd name="T81" fmla="*/ 3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6" h="87">
                  <a:moveTo>
                    <a:pt x="178" y="53"/>
                  </a:moveTo>
                  <a:cubicBezTo>
                    <a:pt x="169" y="53"/>
                    <a:pt x="161" y="61"/>
                    <a:pt x="161" y="70"/>
                  </a:cubicBezTo>
                  <a:cubicBezTo>
                    <a:pt x="161" y="79"/>
                    <a:pt x="169" y="86"/>
                    <a:pt x="178" y="86"/>
                  </a:cubicBezTo>
                  <a:cubicBezTo>
                    <a:pt x="187" y="86"/>
                    <a:pt x="194" y="79"/>
                    <a:pt x="194" y="70"/>
                  </a:cubicBezTo>
                  <a:cubicBezTo>
                    <a:pt x="194" y="61"/>
                    <a:pt x="187" y="53"/>
                    <a:pt x="178" y="53"/>
                  </a:cubicBezTo>
                  <a:moveTo>
                    <a:pt x="51" y="54"/>
                  </a:moveTo>
                  <a:cubicBezTo>
                    <a:pt x="41" y="54"/>
                    <a:pt x="34" y="62"/>
                    <a:pt x="34" y="71"/>
                  </a:cubicBezTo>
                  <a:cubicBezTo>
                    <a:pt x="34" y="80"/>
                    <a:pt x="41" y="87"/>
                    <a:pt x="51" y="87"/>
                  </a:cubicBezTo>
                  <a:cubicBezTo>
                    <a:pt x="60" y="87"/>
                    <a:pt x="67" y="80"/>
                    <a:pt x="67" y="71"/>
                  </a:cubicBezTo>
                  <a:cubicBezTo>
                    <a:pt x="67" y="62"/>
                    <a:pt x="60" y="54"/>
                    <a:pt x="51" y="54"/>
                  </a:cubicBezTo>
                  <a:moveTo>
                    <a:pt x="63" y="26"/>
                  </a:moveTo>
                  <a:cubicBezTo>
                    <a:pt x="63" y="18"/>
                    <a:pt x="68" y="10"/>
                    <a:pt x="81" y="8"/>
                  </a:cubicBezTo>
                  <a:cubicBezTo>
                    <a:pt x="88" y="7"/>
                    <a:pt x="102" y="7"/>
                    <a:pt x="116" y="7"/>
                  </a:cubicBezTo>
                  <a:cubicBezTo>
                    <a:pt x="124" y="7"/>
                    <a:pt x="129" y="7"/>
                    <a:pt x="142" y="15"/>
                  </a:cubicBezTo>
                  <a:cubicBezTo>
                    <a:pt x="152" y="21"/>
                    <a:pt x="157" y="26"/>
                    <a:pt x="157" y="26"/>
                  </a:cubicBezTo>
                  <a:lnTo>
                    <a:pt x="63" y="26"/>
                  </a:lnTo>
                  <a:close/>
                  <a:moveTo>
                    <a:pt x="220" y="39"/>
                  </a:moveTo>
                  <a:cubicBezTo>
                    <a:pt x="210" y="35"/>
                    <a:pt x="186" y="30"/>
                    <a:pt x="179" y="29"/>
                  </a:cubicBezTo>
                  <a:cubicBezTo>
                    <a:pt x="168" y="27"/>
                    <a:pt x="148" y="4"/>
                    <a:pt x="129" y="2"/>
                  </a:cubicBezTo>
                  <a:cubicBezTo>
                    <a:pt x="111" y="0"/>
                    <a:pt x="96" y="0"/>
                    <a:pt x="80" y="1"/>
                  </a:cubicBezTo>
                  <a:cubicBezTo>
                    <a:pt x="65" y="2"/>
                    <a:pt x="43" y="28"/>
                    <a:pt x="34" y="29"/>
                  </a:cubicBezTo>
                  <a:cubicBezTo>
                    <a:pt x="25" y="31"/>
                    <a:pt x="18" y="32"/>
                    <a:pt x="18" y="32"/>
                  </a:cubicBezTo>
                  <a:cubicBezTo>
                    <a:pt x="12" y="33"/>
                    <a:pt x="5" y="34"/>
                    <a:pt x="2" y="39"/>
                  </a:cubicBezTo>
                  <a:cubicBezTo>
                    <a:pt x="0" y="42"/>
                    <a:pt x="0" y="48"/>
                    <a:pt x="0" y="54"/>
                  </a:cubicBezTo>
                  <a:cubicBezTo>
                    <a:pt x="0" y="62"/>
                    <a:pt x="0" y="62"/>
                    <a:pt x="0" y="62"/>
                  </a:cubicBezTo>
                  <a:cubicBezTo>
                    <a:pt x="0" y="63"/>
                    <a:pt x="1" y="65"/>
                    <a:pt x="2" y="66"/>
                  </a:cubicBezTo>
                  <a:cubicBezTo>
                    <a:pt x="2" y="67"/>
                    <a:pt x="6" y="69"/>
                    <a:pt x="6" y="70"/>
                  </a:cubicBezTo>
                  <a:cubicBezTo>
                    <a:pt x="8" y="71"/>
                    <a:pt x="10" y="71"/>
                    <a:pt x="10" y="71"/>
                  </a:cubicBezTo>
                  <a:cubicBezTo>
                    <a:pt x="28" y="71"/>
                    <a:pt x="28" y="71"/>
                    <a:pt x="28" y="71"/>
                  </a:cubicBezTo>
                  <a:cubicBezTo>
                    <a:pt x="28" y="59"/>
                    <a:pt x="38" y="48"/>
                    <a:pt x="51" y="48"/>
                  </a:cubicBezTo>
                  <a:cubicBezTo>
                    <a:pt x="63" y="48"/>
                    <a:pt x="73" y="59"/>
                    <a:pt x="73" y="71"/>
                  </a:cubicBezTo>
                  <a:cubicBezTo>
                    <a:pt x="155" y="71"/>
                    <a:pt x="155" y="71"/>
                    <a:pt x="155" y="71"/>
                  </a:cubicBezTo>
                  <a:cubicBezTo>
                    <a:pt x="155" y="70"/>
                    <a:pt x="155" y="70"/>
                    <a:pt x="155" y="70"/>
                  </a:cubicBezTo>
                  <a:cubicBezTo>
                    <a:pt x="155" y="57"/>
                    <a:pt x="165" y="47"/>
                    <a:pt x="178" y="47"/>
                  </a:cubicBezTo>
                  <a:cubicBezTo>
                    <a:pt x="190" y="47"/>
                    <a:pt x="201" y="57"/>
                    <a:pt x="201" y="70"/>
                  </a:cubicBezTo>
                  <a:cubicBezTo>
                    <a:pt x="201" y="71"/>
                    <a:pt x="201" y="71"/>
                    <a:pt x="201" y="71"/>
                  </a:cubicBezTo>
                  <a:cubicBezTo>
                    <a:pt x="226" y="71"/>
                    <a:pt x="226" y="71"/>
                    <a:pt x="226" y="71"/>
                  </a:cubicBezTo>
                  <a:cubicBezTo>
                    <a:pt x="226" y="71"/>
                    <a:pt x="228" y="71"/>
                    <a:pt x="229" y="70"/>
                  </a:cubicBezTo>
                  <a:cubicBezTo>
                    <a:pt x="231" y="69"/>
                    <a:pt x="233" y="67"/>
                    <a:pt x="233" y="67"/>
                  </a:cubicBezTo>
                  <a:cubicBezTo>
                    <a:pt x="235" y="66"/>
                    <a:pt x="235" y="65"/>
                    <a:pt x="235" y="64"/>
                  </a:cubicBezTo>
                  <a:cubicBezTo>
                    <a:pt x="236" y="57"/>
                    <a:pt x="235" y="45"/>
                    <a:pt x="220" y="39"/>
                  </a:cubicBezTo>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en-IN" sz="1797" dirty="0">
                <a:solidFill>
                  <a:srgbClr val="646464"/>
                </a:solidFill>
                <a:latin typeface="EYInterstate" panose="02000503020000020004" pitchFamily="2" charset="0"/>
              </a:endParaRPr>
            </a:p>
          </p:txBody>
        </p:sp>
        <p:grpSp>
          <p:nvGrpSpPr>
            <p:cNvPr id="92" name="Group 91"/>
            <p:cNvGrpSpPr/>
            <p:nvPr/>
          </p:nvGrpSpPr>
          <p:grpSpPr>
            <a:xfrm>
              <a:off x="5623947" y="4532913"/>
              <a:ext cx="491744" cy="490909"/>
              <a:chOff x="5312860" y="4457499"/>
              <a:chExt cx="491744" cy="490909"/>
            </a:xfrm>
          </p:grpSpPr>
          <p:sp>
            <p:nvSpPr>
              <p:cNvPr id="21" name="Oval 20"/>
              <p:cNvSpPr/>
              <p:nvPr/>
            </p:nvSpPr>
            <p:spPr>
              <a:xfrm>
                <a:off x="5312860" y="4457499"/>
                <a:ext cx="491744" cy="490909"/>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44" name="Freeform 56"/>
              <p:cNvSpPr>
                <a:spLocks noEditPoints="1"/>
              </p:cNvSpPr>
              <p:nvPr/>
            </p:nvSpPr>
            <p:spPr bwMode="auto">
              <a:xfrm>
                <a:off x="5426295" y="4541816"/>
                <a:ext cx="298092" cy="283114"/>
              </a:xfrm>
              <a:custGeom>
                <a:avLst/>
                <a:gdLst>
                  <a:gd name="T0" fmla="*/ 72 w 72"/>
                  <a:gd name="T1" fmla="*/ 80 h 80"/>
                  <a:gd name="T2" fmla="*/ 67 w 72"/>
                  <a:gd name="T3" fmla="*/ 23 h 80"/>
                  <a:gd name="T4" fmla="*/ 58 w 72"/>
                  <a:gd name="T5" fmla="*/ 23 h 80"/>
                  <a:gd name="T6" fmla="*/ 58 w 72"/>
                  <a:gd name="T7" fmla="*/ 22 h 80"/>
                  <a:gd name="T8" fmla="*/ 36 w 72"/>
                  <a:gd name="T9" fmla="*/ 0 h 80"/>
                  <a:gd name="T10" fmla="*/ 14 w 72"/>
                  <a:gd name="T11" fmla="*/ 22 h 80"/>
                  <a:gd name="T12" fmla="*/ 14 w 72"/>
                  <a:gd name="T13" fmla="*/ 23 h 80"/>
                  <a:gd name="T14" fmla="*/ 5 w 72"/>
                  <a:gd name="T15" fmla="*/ 23 h 80"/>
                  <a:gd name="T16" fmla="*/ 0 w 72"/>
                  <a:gd name="T17" fmla="*/ 80 h 80"/>
                  <a:gd name="T18" fmla="*/ 72 w 72"/>
                  <a:gd name="T19" fmla="*/ 80 h 80"/>
                  <a:gd name="T20" fmla="*/ 36 w 72"/>
                  <a:gd name="T21" fmla="*/ 3 h 80"/>
                  <a:gd name="T22" fmla="*/ 54 w 72"/>
                  <a:gd name="T23" fmla="*/ 15 h 80"/>
                  <a:gd name="T24" fmla="*/ 36 w 72"/>
                  <a:gd name="T25" fmla="*/ 5 h 80"/>
                  <a:gd name="T26" fmla="*/ 18 w 72"/>
                  <a:gd name="T27" fmla="*/ 15 h 80"/>
                  <a:gd name="T28" fmla="*/ 36 w 72"/>
                  <a:gd name="T29" fmla="*/ 3 h 80"/>
                  <a:gd name="T30" fmla="*/ 36 w 72"/>
                  <a:gd name="T31" fmla="*/ 8 h 80"/>
                  <a:gd name="T32" fmla="*/ 54 w 72"/>
                  <a:gd name="T33" fmla="*/ 23 h 80"/>
                  <a:gd name="T34" fmla="*/ 18 w 72"/>
                  <a:gd name="T35" fmla="*/ 23 h 80"/>
                  <a:gd name="T36" fmla="*/ 36 w 72"/>
                  <a:gd name="T37"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80">
                    <a:moveTo>
                      <a:pt x="72" y="80"/>
                    </a:moveTo>
                    <a:cubicBezTo>
                      <a:pt x="67" y="23"/>
                      <a:pt x="67" y="23"/>
                      <a:pt x="67" y="23"/>
                    </a:cubicBezTo>
                    <a:cubicBezTo>
                      <a:pt x="58" y="23"/>
                      <a:pt x="58" y="23"/>
                      <a:pt x="58" y="23"/>
                    </a:cubicBezTo>
                    <a:cubicBezTo>
                      <a:pt x="58" y="22"/>
                      <a:pt x="58" y="22"/>
                      <a:pt x="58" y="22"/>
                    </a:cubicBezTo>
                    <a:cubicBezTo>
                      <a:pt x="58" y="10"/>
                      <a:pt x="48" y="0"/>
                      <a:pt x="36" y="0"/>
                    </a:cubicBezTo>
                    <a:cubicBezTo>
                      <a:pt x="24" y="0"/>
                      <a:pt x="14" y="10"/>
                      <a:pt x="14" y="22"/>
                    </a:cubicBezTo>
                    <a:cubicBezTo>
                      <a:pt x="14" y="23"/>
                      <a:pt x="14" y="23"/>
                      <a:pt x="14" y="23"/>
                    </a:cubicBezTo>
                    <a:cubicBezTo>
                      <a:pt x="5" y="23"/>
                      <a:pt x="5" y="23"/>
                      <a:pt x="5" y="23"/>
                    </a:cubicBezTo>
                    <a:cubicBezTo>
                      <a:pt x="0" y="80"/>
                      <a:pt x="0" y="80"/>
                      <a:pt x="0" y="80"/>
                    </a:cubicBezTo>
                    <a:lnTo>
                      <a:pt x="72" y="80"/>
                    </a:lnTo>
                    <a:close/>
                    <a:moveTo>
                      <a:pt x="36" y="3"/>
                    </a:moveTo>
                    <a:cubicBezTo>
                      <a:pt x="44" y="3"/>
                      <a:pt x="51" y="8"/>
                      <a:pt x="54" y="15"/>
                    </a:cubicBezTo>
                    <a:cubicBezTo>
                      <a:pt x="50" y="9"/>
                      <a:pt x="43" y="5"/>
                      <a:pt x="36" y="5"/>
                    </a:cubicBezTo>
                    <a:cubicBezTo>
                      <a:pt x="29" y="5"/>
                      <a:pt x="22" y="9"/>
                      <a:pt x="18" y="15"/>
                    </a:cubicBezTo>
                    <a:cubicBezTo>
                      <a:pt x="21" y="8"/>
                      <a:pt x="28" y="3"/>
                      <a:pt x="36" y="3"/>
                    </a:cubicBezTo>
                    <a:close/>
                    <a:moveTo>
                      <a:pt x="36" y="8"/>
                    </a:moveTo>
                    <a:cubicBezTo>
                      <a:pt x="45" y="8"/>
                      <a:pt x="52" y="15"/>
                      <a:pt x="54" y="23"/>
                    </a:cubicBezTo>
                    <a:cubicBezTo>
                      <a:pt x="18" y="23"/>
                      <a:pt x="18" y="23"/>
                      <a:pt x="18" y="23"/>
                    </a:cubicBezTo>
                    <a:cubicBezTo>
                      <a:pt x="20" y="15"/>
                      <a:pt x="27" y="8"/>
                      <a:pt x="36" y="8"/>
                    </a:cubicBezTo>
                    <a:close/>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en-US" sz="1797" dirty="0">
                  <a:solidFill>
                    <a:srgbClr val="646464"/>
                  </a:solidFill>
                  <a:latin typeface="EYInterstate" panose="02000503020000020004" pitchFamily="2" charset="0"/>
                </a:endParaRPr>
              </a:p>
            </p:txBody>
          </p:sp>
        </p:grpSp>
        <p:sp>
          <p:nvSpPr>
            <p:cNvPr id="47" name="Freeform 13"/>
            <p:cNvSpPr>
              <a:spLocks noEditPoints="1"/>
            </p:cNvSpPr>
            <p:nvPr/>
          </p:nvSpPr>
          <p:spPr bwMode="auto">
            <a:xfrm>
              <a:off x="6676381" y="3026330"/>
              <a:ext cx="360691" cy="342567"/>
            </a:xfrm>
            <a:custGeom>
              <a:avLst/>
              <a:gdLst>
                <a:gd name="T0" fmla="*/ 135 w 223"/>
                <a:gd name="T1" fmla="*/ 23 h 223"/>
                <a:gd name="T2" fmla="*/ 119 w 223"/>
                <a:gd name="T3" fmla="*/ 30 h 223"/>
                <a:gd name="T4" fmla="*/ 112 w 223"/>
                <a:gd name="T5" fmla="*/ 0 h 223"/>
                <a:gd name="T6" fmla="*/ 105 w 223"/>
                <a:gd name="T7" fmla="*/ 30 h 223"/>
                <a:gd name="T8" fmla="*/ 88 w 223"/>
                <a:gd name="T9" fmla="*/ 23 h 223"/>
                <a:gd name="T10" fmla="*/ 0 w 223"/>
                <a:gd name="T11" fmla="*/ 51 h 223"/>
                <a:gd name="T12" fmla="*/ 51 w 223"/>
                <a:gd name="T13" fmla="*/ 66 h 223"/>
                <a:gd name="T14" fmla="*/ 93 w 223"/>
                <a:gd name="T15" fmla="*/ 67 h 223"/>
                <a:gd name="T16" fmla="*/ 105 w 223"/>
                <a:gd name="T17" fmla="*/ 109 h 223"/>
                <a:gd name="T18" fmla="*/ 80 w 223"/>
                <a:gd name="T19" fmla="*/ 103 h 223"/>
                <a:gd name="T20" fmla="*/ 55 w 223"/>
                <a:gd name="T21" fmla="*/ 92 h 223"/>
                <a:gd name="T22" fmla="*/ 75 w 223"/>
                <a:gd name="T23" fmla="*/ 89 h 223"/>
                <a:gd name="T24" fmla="*/ 97 w 223"/>
                <a:gd name="T25" fmla="*/ 83 h 223"/>
                <a:gd name="T26" fmla="*/ 91 w 223"/>
                <a:gd name="T27" fmla="*/ 77 h 223"/>
                <a:gd name="T28" fmla="*/ 35 w 223"/>
                <a:gd name="T29" fmla="*/ 92 h 223"/>
                <a:gd name="T30" fmla="*/ 89 w 223"/>
                <a:gd name="T31" fmla="*/ 119 h 223"/>
                <a:gd name="T32" fmla="*/ 100 w 223"/>
                <a:gd name="T33" fmla="*/ 167 h 223"/>
                <a:gd name="T34" fmla="*/ 102 w 223"/>
                <a:gd name="T35" fmla="*/ 223 h 223"/>
                <a:gd name="T36" fmla="*/ 103 w 223"/>
                <a:gd name="T37" fmla="*/ 223 h 223"/>
                <a:gd name="T38" fmla="*/ 106 w 223"/>
                <a:gd name="T39" fmla="*/ 177 h 223"/>
                <a:gd name="T40" fmla="*/ 107 w 223"/>
                <a:gd name="T41" fmla="*/ 208 h 223"/>
                <a:gd name="T42" fmla="*/ 116 w 223"/>
                <a:gd name="T43" fmla="*/ 208 h 223"/>
                <a:gd name="T44" fmla="*/ 117 w 223"/>
                <a:gd name="T45" fmla="*/ 178 h 223"/>
                <a:gd name="T46" fmla="*/ 119 w 223"/>
                <a:gd name="T47" fmla="*/ 223 h 223"/>
                <a:gd name="T48" fmla="*/ 119 w 223"/>
                <a:gd name="T49" fmla="*/ 223 h 223"/>
                <a:gd name="T50" fmla="*/ 122 w 223"/>
                <a:gd name="T51" fmla="*/ 167 h 223"/>
                <a:gd name="T52" fmla="*/ 133 w 223"/>
                <a:gd name="T53" fmla="*/ 119 h 223"/>
                <a:gd name="T54" fmla="*/ 187 w 223"/>
                <a:gd name="T55" fmla="*/ 92 h 223"/>
                <a:gd name="T56" fmla="*/ 131 w 223"/>
                <a:gd name="T57" fmla="*/ 77 h 223"/>
                <a:gd name="T58" fmla="*/ 124 w 223"/>
                <a:gd name="T59" fmla="*/ 83 h 223"/>
                <a:gd name="T60" fmla="*/ 147 w 223"/>
                <a:gd name="T61" fmla="*/ 89 h 223"/>
                <a:gd name="T62" fmla="*/ 167 w 223"/>
                <a:gd name="T63" fmla="*/ 92 h 223"/>
                <a:gd name="T64" fmla="*/ 142 w 223"/>
                <a:gd name="T65" fmla="*/ 103 h 223"/>
                <a:gd name="T66" fmla="*/ 118 w 223"/>
                <a:gd name="T67" fmla="*/ 109 h 223"/>
                <a:gd name="T68" fmla="*/ 131 w 223"/>
                <a:gd name="T69" fmla="*/ 67 h 223"/>
                <a:gd name="T70" fmla="*/ 172 w 223"/>
                <a:gd name="T71" fmla="*/ 66 h 223"/>
                <a:gd name="T72" fmla="*/ 223 w 223"/>
                <a:gd name="T73" fmla="*/ 51 h 223"/>
                <a:gd name="T74" fmla="*/ 97 w 223"/>
                <a:gd name="T75" fmla="*/ 151 h 223"/>
                <a:gd name="T76" fmla="*/ 106 w 223"/>
                <a:gd name="T77" fmla="*/ 125 h 223"/>
                <a:gd name="T78" fmla="*/ 97 w 223"/>
                <a:gd name="T79" fmla="*/ 151 h 223"/>
                <a:gd name="T80" fmla="*/ 125 w 223"/>
                <a:gd name="T81" fmla="*/ 151 h 223"/>
                <a:gd name="T82" fmla="*/ 117 w 223"/>
                <a:gd name="T83" fmla="*/ 12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3" h="223">
                  <a:moveTo>
                    <a:pt x="154" y="15"/>
                  </a:moveTo>
                  <a:cubicBezTo>
                    <a:pt x="147" y="9"/>
                    <a:pt x="142" y="10"/>
                    <a:pt x="135" y="23"/>
                  </a:cubicBezTo>
                  <a:cubicBezTo>
                    <a:pt x="131" y="31"/>
                    <a:pt x="123" y="32"/>
                    <a:pt x="119" y="32"/>
                  </a:cubicBezTo>
                  <a:cubicBezTo>
                    <a:pt x="119" y="30"/>
                    <a:pt x="119" y="30"/>
                    <a:pt x="119" y="30"/>
                  </a:cubicBezTo>
                  <a:cubicBezTo>
                    <a:pt x="124" y="28"/>
                    <a:pt x="128" y="22"/>
                    <a:pt x="128" y="16"/>
                  </a:cubicBezTo>
                  <a:cubicBezTo>
                    <a:pt x="128" y="7"/>
                    <a:pt x="120" y="0"/>
                    <a:pt x="112" y="0"/>
                  </a:cubicBezTo>
                  <a:cubicBezTo>
                    <a:pt x="103" y="0"/>
                    <a:pt x="96" y="7"/>
                    <a:pt x="96" y="16"/>
                  </a:cubicBezTo>
                  <a:cubicBezTo>
                    <a:pt x="96" y="22"/>
                    <a:pt x="99" y="28"/>
                    <a:pt x="105" y="30"/>
                  </a:cubicBezTo>
                  <a:cubicBezTo>
                    <a:pt x="105" y="32"/>
                    <a:pt x="105" y="32"/>
                    <a:pt x="105" y="32"/>
                  </a:cubicBezTo>
                  <a:cubicBezTo>
                    <a:pt x="100" y="32"/>
                    <a:pt x="93" y="31"/>
                    <a:pt x="88" y="23"/>
                  </a:cubicBezTo>
                  <a:cubicBezTo>
                    <a:pt x="81" y="10"/>
                    <a:pt x="76" y="9"/>
                    <a:pt x="69" y="15"/>
                  </a:cubicBezTo>
                  <a:cubicBezTo>
                    <a:pt x="62" y="20"/>
                    <a:pt x="34" y="54"/>
                    <a:pt x="0" y="51"/>
                  </a:cubicBezTo>
                  <a:cubicBezTo>
                    <a:pt x="0" y="51"/>
                    <a:pt x="7" y="66"/>
                    <a:pt x="25" y="63"/>
                  </a:cubicBezTo>
                  <a:cubicBezTo>
                    <a:pt x="25" y="63"/>
                    <a:pt x="35" y="73"/>
                    <a:pt x="51" y="66"/>
                  </a:cubicBezTo>
                  <a:cubicBezTo>
                    <a:pt x="51" y="66"/>
                    <a:pt x="59" y="73"/>
                    <a:pt x="72" y="66"/>
                  </a:cubicBezTo>
                  <a:cubicBezTo>
                    <a:pt x="72" y="66"/>
                    <a:pt x="82" y="74"/>
                    <a:pt x="93" y="67"/>
                  </a:cubicBezTo>
                  <a:cubicBezTo>
                    <a:pt x="93" y="67"/>
                    <a:pt x="98" y="72"/>
                    <a:pt x="105" y="70"/>
                  </a:cubicBezTo>
                  <a:cubicBezTo>
                    <a:pt x="105" y="109"/>
                    <a:pt x="105" y="109"/>
                    <a:pt x="105" y="109"/>
                  </a:cubicBezTo>
                  <a:cubicBezTo>
                    <a:pt x="105" y="109"/>
                    <a:pt x="104" y="109"/>
                    <a:pt x="103" y="108"/>
                  </a:cubicBezTo>
                  <a:cubicBezTo>
                    <a:pt x="103" y="108"/>
                    <a:pt x="92" y="106"/>
                    <a:pt x="80" y="103"/>
                  </a:cubicBezTo>
                  <a:cubicBezTo>
                    <a:pt x="68" y="100"/>
                    <a:pt x="56" y="95"/>
                    <a:pt x="54" y="92"/>
                  </a:cubicBezTo>
                  <a:cubicBezTo>
                    <a:pt x="54" y="92"/>
                    <a:pt x="54" y="92"/>
                    <a:pt x="55" y="92"/>
                  </a:cubicBezTo>
                  <a:cubicBezTo>
                    <a:pt x="56" y="91"/>
                    <a:pt x="57" y="91"/>
                    <a:pt x="59" y="90"/>
                  </a:cubicBezTo>
                  <a:cubicBezTo>
                    <a:pt x="64" y="89"/>
                    <a:pt x="69" y="89"/>
                    <a:pt x="75" y="89"/>
                  </a:cubicBezTo>
                  <a:cubicBezTo>
                    <a:pt x="87" y="88"/>
                    <a:pt x="89" y="89"/>
                    <a:pt x="89" y="89"/>
                  </a:cubicBezTo>
                  <a:cubicBezTo>
                    <a:pt x="89" y="88"/>
                    <a:pt x="96" y="89"/>
                    <a:pt x="97" y="83"/>
                  </a:cubicBezTo>
                  <a:cubicBezTo>
                    <a:pt x="97" y="83"/>
                    <a:pt x="98" y="82"/>
                    <a:pt x="97" y="82"/>
                  </a:cubicBezTo>
                  <a:cubicBezTo>
                    <a:pt x="97" y="78"/>
                    <a:pt x="94" y="77"/>
                    <a:pt x="91" y="77"/>
                  </a:cubicBezTo>
                  <a:cubicBezTo>
                    <a:pt x="86" y="76"/>
                    <a:pt x="88" y="76"/>
                    <a:pt x="82" y="77"/>
                  </a:cubicBezTo>
                  <a:cubicBezTo>
                    <a:pt x="71" y="77"/>
                    <a:pt x="39" y="75"/>
                    <a:pt x="35" y="92"/>
                  </a:cubicBezTo>
                  <a:cubicBezTo>
                    <a:pt x="35" y="92"/>
                    <a:pt x="35" y="93"/>
                    <a:pt x="35" y="93"/>
                  </a:cubicBezTo>
                  <a:cubicBezTo>
                    <a:pt x="36" y="108"/>
                    <a:pt x="67" y="114"/>
                    <a:pt x="89" y="119"/>
                  </a:cubicBezTo>
                  <a:cubicBezTo>
                    <a:pt x="82" y="124"/>
                    <a:pt x="78" y="131"/>
                    <a:pt x="76" y="139"/>
                  </a:cubicBezTo>
                  <a:cubicBezTo>
                    <a:pt x="75" y="149"/>
                    <a:pt x="83" y="157"/>
                    <a:pt x="100" y="167"/>
                  </a:cubicBezTo>
                  <a:cubicBezTo>
                    <a:pt x="87" y="177"/>
                    <a:pt x="78" y="185"/>
                    <a:pt x="79" y="196"/>
                  </a:cubicBezTo>
                  <a:cubicBezTo>
                    <a:pt x="80" y="204"/>
                    <a:pt x="88" y="216"/>
                    <a:pt x="102" y="223"/>
                  </a:cubicBezTo>
                  <a:cubicBezTo>
                    <a:pt x="102" y="223"/>
                    <a:pt x="102" y="223"/>
                    <a:pt x="103" y="223"/>
                  </a:cubicBezTo>
                  <a:cubicBezTo>
                    <a:pt x="103" y="223"/>
                    <a:pt x="103" y="223"/>
                    <a:pt x="103" y="223"/>
                  </a:cubicBezTo>
                  <a:cubicBezTo>
                    <a:pt x="103" y="223"/>
                    <a:pt x="92" y="207"/>
                    <a:pt x="91" y="198"/>
                  </a:cubicBezTo>
                  <a:cubicBezTo>
                    <a:pt x="91" y="193"/>
                    <a:pt x="94" y="186"/>
                    <a:pt x="106" y="177"/>
                  </a:cubicBezTo>
                  <a:cubicBezTo>
                    <a:pt x="107" y="208"/>
                    <a:pt x="107" y="208"/>
                    <a:pt x="107" y="208"/>
                  </a:cubicBezTo>
                  <a:cubicBezTo>
                    <a:pt x="107" y="208"/>
                    <a:pt x="107" y="208"/>
                    <a:pt x="107" y="208"/>
                  </a:cubicBezTo>
                  <a:cubicBezTo>
                    <a:pt x="107" y="211"/>
                    <a:pt x="109" y="213"/>
                    <a:pt x="111" y="213"/>
                  </a:cubicBezTo>
                  <a:cubicBezTo>
                    <a:pt x="114" y="213"/>
                    <a:pt x="116" y="211"/>
                    <a:pt x="116" y="208"/>
                  </a:cubicBezTo>
                  <a:cubicBezTo>
                    <a:pt x="116" y="208"/>
                    <a:pt x="116" y="208"/>
                    <a:pt x="116" y="208"/>
                  </a:cubicBezTo>
                  <a:cubicBezTo>
                    <a:pt x="117" y="178"/>
                    <a:pt x="117" y="178"/>
                    <a:pt x="117" y="178"/>
                  </a:cubicBezTo>
                  <a:cubicBezTo>
                    <a:pt x="128" y="186"/>
                    <a:pt x="131" y="193"/>
                    <a:pt x="130" y="198"/>
                  </a:cubicBezTo>
                  <a:cubicBezTo>
                    <a:pt x="130" y="207"/>
                    <a:pt x="119" y="223"/>
                    <a:pt x="119" y="223"/>
                  </a:cubicBezTo>
                  <a:cubicBezTo>
                    <a:pt x="119" y="223"/>
                    <a:pt x="119" y="223"/>
                    <a:pt x="119" y="223"/>
                  </a:cubicBezTo>
                  <a:cubicBezTo>
                    <a:pt x="119" y="223"/>
                    <a:pt x="119" y="223"/>
                    <a:pt x="119" y="223"/>
                  </a:cubicBezTo>
                  <a:cubicBezTo>
                    <a:pt x="134" y="216"/>
                    <a:pt x="142" y="204"/>
                    <a:pt x="143" y="196"/>
                  </a:cubicBezTo>
                  <a:cubicBezTo>
                    <a:pt x="144" y="185"/>
                    <a:pt x="135" y="177"/>
                    <a:pt x="122" y="167"/>
                  </a:cubicBezTo>
                  <a:cubicBezTo>
                    <a:pt x="139" y="158"/>
                    <a:pt x="147" y="149"/>
                    <a:pt x="146" y="139"/>
                  </a:cubicBezTo>
                  <a:cubicBezTo>
                    <a:pt x="144" y="131"/>
                    <a:pt x="140" y="124"/>
                    <a:pt x="133" y="119"/>
                  </a:cubicBezTo>
                  <a:cubicBezTo>
                    <a:pt x="155" y="114"/>
                    <a:pt x="186" y="108"/>
                    <a:pt x="187" y="93"/>
                  </a:cubicBezTo>
                  <a:cubicBezTo>
                    <a:pt x="187" y="93"/>
                    <a:pt x="187" y="92"/>
                    <a:pt x="187" y="92"/>
                  </a:cubicBezTo>
                  <a:cubicBezTo>
                    <a:pt x="183" y="75"/>
                    <a:pt x="150" y="77"/>
                    <a:pt x="140" y="77"/>
                  </a:cubicBezTo>
                  <a:cubicBezTo>
                    <a:pt x="133" y="76"/>
                    <a:pt x="136" y="76"/>
                    <a:pt x="131" y="77"/>
                  </a:cubicBezTo>
                  <a:cubicBezTo>
                    <a:pt x="128" y="77"/>
                    <a:pt x="125" y="78"/>
                    <a:pt x="124" y="82"/>
                  </a:cubicBezTo>
                  <a:cubicBezTo>
                    <a:pt x="124" y="82"/>
                    <a:pt x="124" y="83"/>
                    <a:pt x="124" y="83"/>
                  </a:cubicBezTo>
                  <a:cubicBezTo>
                    <a:pt x="126" y="90"/>
                    <a:pt x="133" y="88"/>
                    <a:pt x="133" y="89"/>
                  </a:cubicBezTo>
                  <a:cubicBezTo>
                    <a:pt x="133" y="89"/>
                    <a:pt x="135" y="88"/>
                    <a:pt x="147" y="89"/>
                  </a:cubicBezTo>
                  <a:cubicBezTo>
                    <a:pt x="152" y="89"/>
                    <a:pt x="158" y="89"/>
                    <a:pt x="162" y="90"/>
                  </a:cubicBezTo>
                  <a:cubicBezTo>
                    <a:pt x="164" y="91"/>
                    <a:pt x="166" y="91"/>
                    <a:pt x="167" y="92"/>
                  </a:cubicBezTo>
                  <a:cubicBezTo>
                    <a:pt x="167" y="92"/>
                    <a:pt x="168" y="92"/>
                    <a:pt x="168" y="92"/>
                  </a:cubicBezTo>
                  <a:cubicBezTo>
                    <a:pt x="166" y="95"/>
                    <a:pt x="153" y="100"/>
                    <a:pt x="142" y="103"/>
                  </a:cubicBezTo>
                  <a:cubicBezTo>
                    <a:pt x="130" y="106"/>
                    <a:pt x="118" y="108"/>
                    <a:pt x="118" y="108"/>
                  </a:cubicBezTo>
                  <a:cubicBezTo>
                    <a:pt x="118" y="108"/>
                    <a:pt x="118" y="109"/>
                    <a:pt x="118" y="109"/>
                  </a:cubicBezTo>
                  <a:cubicBezTo>
                    <a:pt x="118" y="70"/>
                    <a:pt x="118" y="70"/>
                    <a:pt x="118" y="70"/>
                  </a:cubicBezTo>
                  <a:cubicBezTo>
                    <a:pt x="125" y="72"/>
                    <a:pt x="131" y="67"/>
                    <a:pt x="131" y="67"/>
                  </a:cubicBezTo>
                  <a:cubicBezTo>
                    <a:pt x="141" y="74"/>
                    <a:pt x="151" y="66"/>
                    <a:pt x="151" y="66"/>
                  </a:cubicBezTo>
                  <a:cubicBezTo>
                    <a:pt x="164" y="73"/>
                    <a:pt x="172" y="66"/>
                    <a:pt x="172" y="66"/>
                  </a:cubicBezTo>
                  <a:cubicBezTo>
                    <a:pt x="188" y="73"/>
                    <a:pt x="198" y="63"/>
                    <a:pt x="198" y="63"/>
                  </a:cubicBezTo>
                  <a:cubicBezTo>
                    <a:pt x="216" y="66"/>
                    <a:pt x="223" y="51"/>
                    <a:pt x="223" y="51"/>
                  </a:cubicBezTo>
                  <a:cubicBezTo>
                    <a:pt x="189" y="54"/>
                    <a:pt x="161" y="20"/>
                    <a:pt x="154" y="15"/>
                  </a:cubicBezTo>
                  <a:close/>
                  <a:moveTo>
                    <a:pt x="97" y="151"/>
                  </a:moveTo>
                  <a:cubicBezTo>
                    <a:pt x="92" y="148"/>
                    <a:pt x="90" y="145"/>
                    <a:pt x="91" y="142"/>
                  </a:cubicBezTo>
                  <a:cubicBezTo>
                    <a:pt x="91" y="139"/>
                    <a:pt x="90" y="131"/>
                    <a:pt x="106" y="125"/>
                  </a:cubicBezTo>
                  <a:cubicBezTo>
                    <a:pt x="106" y="157"/>
                    <a:pt x="106" y="157"/>
                    <a:pt x="106" y="157"/>
                  </a:cubicBezTo>
                  <a:cubicBezTo>
                    <a:pt x="103" y="155"/>
                    <a:pt x="100" y="153"/>
                    <a:pt x="97" y="151"/>
                  </a:cubicBezTo>
                  <a:close/>
                  <a:moveTo>
                    <a:pt x="131" y="142"/>
                  </a:moveTo>
                  <a:cubicBezTo>
                    <a:pt x="131" y="145"/>
                    <a:pt x="129" y="148"/>
                    <a:pt x="125" y="151"/>
                  </a:cubicBezTo>
                  <a:cubicBezTo>
                    <a:pt x="122" y="153"/>
                    <a:pt x="120" y="154"/>
                    <a:pt x="117" y="156"/>
                  </a:cubicBezTo>
                  <a:cubicBezTo>
                    <a:pt x="117" y="126"/>
                    <a:pt x="117" y="126"/>
                    <a:pt x="117" y="126"/>
                  </a:cubicBezTo>
                  <a:cubicBezTo>
                    <a:pt x="132" y="131"/>
                    <a:pt x="131" y="139"/>
                    <a:pt x="131" y="142"/>
                  </a:cubicBezTo>
                  <a:close/>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en-US" sz="1797" dirty="0">
                <a:solidFill>
                  <a:srgbClr val="646464"/>
                </a:solidFill>
                <a:latin typeface="EYInterstate" panose="02000503020000020004" pitchFamily="2" charset="0"/>
              </a:endParaRPr>
            </a:p>
          </p:txBody>
        </p:sp>
        <p:sp>
          <p:nvSpPr>
            <p:cNvPr id="48" name="Freeform 26"/>
            <p:cNvSpPr>
              <a:spLocks noEditPoints="1"/>
            </p:cNvSpPr>
            <p:nvPr/>
          </p:nvSpPr>
          <p:spPr bwMode="auto">
            <a:xfrm>
              <a:off x="6258907" y="4347007"/>
              <a:ext cx="231036" cy="219427"/>
            </a:xfrm>
            <a:custGeom>
              <a:avLst/>
              <a:gdLst>
                <a:gd name="T0" fmla="*/ 98 w 110"/>
                <a:gd name="T1" fmla="*/ 15 h 129"/>
                <a:gd name="T2" fmla="*/ 71 w 110"/>
                <a:gd name="T3" fmla="*/ 55 h 129"/>
                <a:gd name="T4" fmla="*/ 103 w 110"/>
                <a:gd name="T5" fmla="*/ 87 h 129"/>
                <a:gd name="T6" fmla="*/ 105 w 110"/>
                <a:gd name="T7" fmla="*/ 96 h 129"/>
                <a:gd name="T8" fmla="*/ 97 w 110"/>
                <a:gd name="T9" fmla="*/ 101 h 129"/>
                <a:gd name="T10" fmla="*/ 32 w 110"/>
                <a:gd name="T11" fmla="*/ 75 h 129"/>
                <a:gd name="T12" fmla="*/ 5 w 110"/>
                <a:gd name="T13" fmla="*/ 9 h 129"/>
                <a:gd name="T14" fmla="*/ 10 w 110"/>
                <a:gd name="T15" fmla="*/ 1 h 129"/>
                <a:gd name="T16" fmla="*/ 19 w 110"/>
                <a:gd name="T17" fmla="*/ 3 h 129"/>
                <a:gd name="T18" fmla="*/ 56 w 110"/>
                <a:gd name="T19" fmla="*/ 39 h 129"/>
                <a:gd name="T20" fmla="*/ 96 w 110"/>
                <a:gd name="T21" fmla="*/ 13 h 129"/>
                <a:gd name="T22" fmla="*/ 94 w 110"/>
                <a:gd name="T23" fmla="*/ 8 h 129"/>
                <a:gd name="T24" fmla="*/ 102 w 110"/>
                <a:gd name="T25" fmla="*/ 0 h 129"/>
                <a:gd name="T26" fmla="*/ 110 w 110"/>
                <a:gd name="T27" fmla="*/ 8 h 129"/>
                <a:gd name="T28" fmla="*/ 102 w 110"/>
                <a:gd name="T29" fmla="*/ 16 h 129"/>
                <a:gd name="T30" fmla="*/ 98 w 110"/>
                <a:gd name="T31" fmla="*/ 15 h 129"/>
                <a:gd name="T32" fmla="*/ 46 w 110"/>
                <a:gd name="T33" fmla="*/ 100 h 129"/>
                <a:gd name="T34" fmla="*/ 44 w 110"/>
                <a:gd name="T35" fmla="*/ 98 h 129"/>
                <a:gd name="T36" fmla="*/ 24 w 110"/>
                <a:gd name="T37" fmla="*/ 83 h 129"/>
                <a:gd name="T38" fmla="*/ 24 w 110"/>
                <a:gd name="T39" fmla="*/ 83 h 129"/>
                <a:gd name="T40" fmla="*/ 23 w 110"/>
                <a:gd name="T41" fmla="*/ 83 h 129"/>
                <a:gd name="T42" fmla="*/ 1 w 110"/>
                <a:gd name="T43" fmla="*/ 123 h 129"/>
                <a:gd name="T44" fmla="*/ 1 w 110"/>
                <a:gd name="T45" fmla="*/ 127 h 129"/>
                <a:gd name="T46" fmla="*/ 5 w 110"/>
                <a:gd name="T47" fmla="*/ 129 h 129"/>
                <a:gd name="T48" fmla="*/ 49 w 110"/>
                <a:gd name="T49" fmla="*/ 129 h 129"/>
                <a:gd name="T50" fmla="*/ 52 w 110"/>
                <a:gd name="T51" fmla="*/ 127 h 129"/>
                <a:gd name="T52" fmla="*/ 53 w 110"/>
                <a:gd name="T53" fmla="*/ 124 h 129"/>
                <a:gd name="T54" fmla="*/ 46 w 110"/>
                <a:gd name="T55" fmla="*/ 10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0" h="129">
                  <a:moveTo>
                    <a:pt x="98" y="15"/>
                  </a:moveTo>
                  <a:cubicBezTo>
                    <a:pt x="71" y="55"/>
                    <a:pt x="71" y="55"/>
                    <a:pt x="71" y="55"/>
                  </a:cubicBezTo>
                  <a:cubicBezTo>
                    <a:pt x="103" y="87"/>
                    <a:pt x="103" y="87"/>
                    <a:pt x="103" y="87"/>
                  </a:cubicBezTo>
                  <a:cubicBezTo>
                    <a:pt x="106" y="90"/>
                    <a:pt x="106" y="93"/>
                    <a:pt x="105" y="96"/>
                  </a:cubicBezTo>
                  <a:cubicBezTo>
                    <a:pt x="104" y="99"/>
                    <a:pt x="101" y="102"/>
                    <a:pt x="97" y="101"/>
                  </a:cubicBezTo>
                  <a:cubicBezTo>
                    <a:pt x="73" y="101"/>
                    <a:pt x="50" y="93"/>
                    <a:pt x="32" y="75"/>
                  </a:cubicBezTo>
                  <a:cubicBezTo>
                    <a:pt x="14" y="57"/>
                    <a:pt x="5" y="33"/>
                    <a:pt x="5" y="9"/>
                  </a:cubicBezTo>
                  <a:cubicBezTo>
                    <a:pt x="5" y="6"/>
                    <a:pt x="7" y="3"/>
                    <a:pt x="10" y="1"/>
                  </a:cubicBezTo>
                  <a:cubicBezTo>
                    <a:pt x="13" y="0"/>
                    <a:pt x="17" y="1"/>
                    <a:pt x="19" y="3"/>
                  </a:cubicBezTo>
                  <a:cubicBezTo>
                    <a:pt x="56" y="39"/>
                    <a:pt x="56" y="39"/>
                    <a:pt x="56" y="39"/>
                  </a:cubicBezTo>
                  <a:cubicBezTo>
                    <a:pt x="96" y="13"/>
                    <a:pt x="96" y="13"/>
                    <a:pt x="96" y="13"/>
                  </a:cubicBezTo>
                  <a:cubicBezTo>
                    <a:pt x="95" y="11"/>
                    <a:pt x="94" y="10"/>
                    <a:pt x="94" y="8"/>
                  </a:cubicBezTo>
                  <a:cubicBezTo>
                    <a:pt x="94" y="4"/>
                    <a:pt x="98" y="0"/>
                    <a:pt x="102" y="0"/>
                  </a:cubicBezTo>
                  <a:cubicBezTo>
                    <a:pt x="107" y="0"/>
                    <a:pt x="110" y="4"/>
                    <a:pt x="110" y="8"/>
                  </a:cubicBezTo>
                  <a:cubicBezTo>
                    <a:pt x="110" y="13"/>
                    <a:pt x="107" y="16"/>
                    <a:pt x="102" y="16"/>
                  </a:cubicBezTo>
                  <a:cubicBezTo>
                    <a:pt x="101" y="16"/>
                    <a:pt x="99" y="16"/>
                    <a:pt x="98" y="15"/>
                  </a:cubicBezTo>
                  <a:close/>
                  <a:moveTo>
                    <a:pt x="46" y="100"/>
                  </a:moveTo>
                  <a:cubicBezTo>
                    <a:pt x="46" y="99"/>
                    <a:pt x="45" y="98"/>
                    <a:pt x="44" y="98"/>
                  </a:cubicBezTo>
                  <a:cubicBezTo>
                    <a:pt x="37" y="94"/>
                    <a:pt x="30" y="89"/>
                    <a:pt x="24" y="83"/>
                  </a:cubicBezTo>
                  <a:cubicBezTo>
                    <a:pt x="24" y="83"/>
                    <a:pt x="24" y="83"/>
                    <a:pt x="24" y="83"/>
                  </a:cubicBezTo>
                  <a:cubicBezTo>
                    <a:pt x="23" y="83"/>
                    <a:pt x="23" y="83"/>
                    <a:pt x="23" y="83"/>
                  </a:cubicBezTo>
                  <a:cubicBezTo>
                    <a:pt x="1" y="123"/>
                    <a:pt x="1" y="123"/>
                    <a:pt x="1" y="123"/>
                  </a:cubicBezTo>
                  <a:cubicBezTo>
                    <a:pt x="0" y="124"/>
                    <a:pt x="0" y="126"/>
                    <a:pt x="1" y="127"/>
                  </a:cubicBezTo>
                  <a:cubicBezTo>
                    <a:pt x="2" y="128"/>
                    <a:pt x="3" y="129"/>
                    <a:pt x="5" y="129"/>
                  </a:cubicBezTo>
                  <a:cubicBezTo>
                    <a:pt x="49" y="129"/>
                    <a:pt x="49" y="129"/>
                    <a:pt x="49" y="129"/>
                  </a:cubicBezTo>
                  <a:cubicBezTo>
                    <a:pt x="50" y="129"/>
                    <a:pt x="51" y="128"/>
                    <a:pt x="52" y="127"/>
                  </a:cubicBezTo>
                  <a:cubicBezTo>
                    <a:pt x="53" y="126"/>
                    <a:pt x="53" y="125"/>
                    <a:pt x="53" y="124"/>
                  </a:cubicBezTo>
                  <a:lnTo>
                    <a:pt x="46" y="100"/>
                  </a:lnTo>
                  <a:close/>
                </a:path>
              </a:pathLst>
            </a:custGeom>
            <a:solidFill>
              <a:schemeClr val="tx2"/>
            </a:solidFill>
            <a:ln w="9525">
              <a:noFill/>
              <a:round/>
              <a:headEnd/>
              <a:tailEnd/>
            </a:ln>
          </p:spPr>
          <p:txBody>
            <a:bodyPr vert="horz" wrap="square" lIns="91296" tIns="45648" rIns="91296" bIns="45648" numCol="1" anchor="t" anchorCtr="0" compatLnSpc="1">
              <a:prstTxWarp prst="textNoShape">
                <a:avLst/>
              </a:prstTxWarp>
            </a:bodyPr>
            <a:lstStyle/>
            <a:p>
              <a:endParaRPr lang="en-US" sz="1797" dirty="0">
                <a:solidFill>
                  <a:srgbClr val="646464"/>
                </a:solidFill>
                <a:latin typeface="EYInterstate" panose="02000503020000020004" pitchFamily="2" charset="0"/>
              </a:endParaRPr>
            </a:p>
          </p:txBody>
        </p:sp>
        <p:sp>
          <p:nvSpPr>
            <p:cNvPr id="49" name="Freeform 14"/>
            <p:cNvSpPr>
              <a:spLocks/>
            </p:cNvSpPr>
            <p:nvPr/>
          </p:nvSpPr>
          <p:spPr bwMode="gray">
            <a:xfrm>
              <a:off x="5927487" y="3724512"/>
              <a:ext cx="270993" cy="342568"/>
            </a:xfrm>
            <a:custGeom>
              <a:avLst/>
              <a:gdLst/>
              <a:ahLst/>
              <a:cxnLst>
                <a:cxn ang="0">
                  <a:pos x="875" y="1275"/>
                </a:cxn>
                <a:cxn ang="0">
                  <a:pos x="834" y="1187"/>
                </a:cxn>
                <a:cxn ang="0">
                  <a:pos x="825" y="1160"/>
                </a:cxn>
                <a:cxn ang="0">
                  <a:pos x="849" y="903"/>
                </a:cxn>
                <a:cxn ang="0">
                  <a:pos x="822" y="769"/>
                </a:cxn>
                <a:cxn ang="0">
                  <a:pos x="694" y="687"/>
                </a:cxn>
                <a:cxn ang="0">
                  <a:pos x="652" y="526"/>
                </a:cxn>
                <a:cxn ang="0">
                  <a:pos x="730" y="330"/>
                </a:cxn>
                <a:cxn ang="0">
                  <a:pos x="742" y="270"/>
                </a:cxn>
                <a:cxn ang="0">
                  <a:pos x="711" y="254"/>
                </a:cxn>
                <a:cxn ang="0">
                  <a:pos x="687" y="298"/>
                </a:cxn>
                <a:cxn ang="0">
                  <a:pos x="634" y="267"/>
                </a:cxn>
                <a:cxn ang="0">
                  <a:pos x="622" y="190"/>
                </a:cxn>
                <a:cxn ang="0">
                  <a:pos x="635" y="188"/>
                </a:cxn>
                <a:cxn ang="0">
                  <a:pos x="663" y="145"/>
                </a:cxn>
                <a:cxn ang="0">
                  <a:pos x="659" y="138"/>
                </a:cxn>
                <a:cxn ang="0">
                  <a:pos x="658" y="122"/>
                </a:cxn>
                <a:cxn ang="0">
                  <a:pos x="642" y="82"/>
                </a:cxn>
                <a:cxn ang="0">
                  <a:pos x="577" y="1"/>
                </a:cxn>
                <a:cxn ang="0">
                  <a:pos x="474" y="79"/>
                </a:cxn>
                <a:cxn ang="0">
                  <a:pos x="514" y="174"/>
                </a:cxn>
                <a:cxn ang="0">
                  <a:pos x="493" y="201"/>
                </a:cxn>
                <a:cxn ang="0">
                  <a:pos x="441" y="280"/>
                </a:cxn>
                <a:cxn ang="0">
                  <a:pos x="314" y="401"/>
                </a:cxn>
                <a:cxn ang="0">
                  <a:pos x="232" y="597"/>
                </a:cxn>
                <a:cxn ang="0">
                  <a:pos x="241" y="628"/>
                </a:cxn>
                <a:cxn ang="0">
                  <a:pos x="272" y="636"/>
                </a:cxn>
                <a:cxn ang="0">
                  <a:pos x="335" y="489"/>
                </a:cxn>
                <a:cxn ang="0">
                  <a:pos x="447" y="380"/>
                </a:cxn>
                <a:cxn ang="0">
                  <a:pos x="454" y="433"/>
                </a:cxn>
                <a:cxn ang="0">
                  <a:pos x="405" y="614"/>
                </a:cxn>
                <a:cxn ang="0">
                  <a:pos x="398" y="783"/>
                </a:cxn>
                <a:cxn ang="0">
                  <a:pos x="351" y="921"/>
                </a:cxn>
                <a:cxn ang="0">
                  <a:pos x="69" y="1132"/>
                </a:cxn>
                <a:cxn ang="0">
                  <a:pos x="5" y="1195"/>
                </a:cxn>
                <a:cxn ang="0">
                  <a:pos x="149" y="1325"/>
                </a:cxn>
                <a:cxn ang="0">
                  <a:pos x="154" y="1244"/>
                </a:cxn>
                <a:cxn ang="0">
                  <a:pos x="144" y="1172"/>
                </a:cxn>
                <a:cxn ang="0">
                  <a:pos x="250" y="1111"/>
                </a:cxn>
                <a:cxn ang="0">
                  <a:pos x="486" y="946"/>
                </a:cxn>
                <a:cxn ang="0">
                  <a:pos x="558" y="821"/>
                </a:cxn>
                <a:cxn ang="0">
                  <a:pos x="651" y="819"/>
                </a:cxn>
                <a:cxn ang="0">
                  <a:pos x="757" y="988"/>
                </a:cxn>
                <a:cxn ang="0">
                  <a:pos x="714" y="1173"/>
                </a:cxn>
                <a:cxn ang="0">
                  <a:pos x="739" y="1229"/>
                </a:cxn>
                <a:cxn ang="0">
                  <a:pos x="891" y="1318"/>
                </a:cxn>
              </a:cxnLst>
              <a:rect l="0" t="0" r="r" b="b"/>
              <a:pathLst>
                <a:path w="896" h="1329">
                  <a:moveTo>
                    <a:pt x="882" y="1282"/>
                  </a:moveTo>
                  <a:cubicBezTo>
                    <a:pt x="875" y="1275"/>
                    <a:pt x="875" y="1275"/>
                    <a:pt x="875" y="1275"/>
                  </a:cubicBezTo>
                  <a:cubicBezTo>
                    <a:pt x="863" y="1256"/>
                    <a:pt x="863" y="1256"/>
                    <a:pt x="863" y="1256"/>
                  </a:cubicBezTo>
                  <a:cubicBezTo>
                    <a:pt x="834" y="1187"/>
                    <a:pt x="834" y="1187"/>
                    <a:pt x="834" y="1187"/>
                  </a:cubicBezTo>
                  <a:cubicBezTo>
                    <a:pt x="834" y="1187"/>
                    <a:pt x="852" y="1162"/>
                    <a:pt x="839" y="1159"/>
                  </a:cubicBezTo>
                  <a:cubicBezTo>
                    <a:pt x="826" y="1155"/>
                    <a:pt x="825" y="1160"/>
                    <a:pt x="825" y="1160"/>
                  </a:cubicBezTo>
                  <a:cubicBezTo>
                    <a:pt x="825" y="1160"/>
                    <a:pt x="818" y="1098"/>
                    <a:pt x="828" y="1048"/>
                  </a:cubicBezTo>
                  <a:cubicBezTo>
                    <a:pt x="838" y="998"/>
                    <a:pt x="854" y="942"/>
                    <a:pt x="849" y="903"/>
                  </a:cubicBezTo>
                  <a:cubicBezTo>
                    <a:pt x="843" y="864"/>
                    <a:pt x="858" y="851"/>
                    <a:pt x="861" y="837"/>
                  </a:cubicBezTo>
                  <a:cubicBezTo>
                    <a:pt x="863" y="823"/>
                    <a:pt x="857" y="788"/>
                    <a:pt x="822" y="769"/>
                  </a:cubicBezTo>
                  <a:cubicBezTo>
                    <a:pt x="786" y="751"/>
                    <a:pt x="759" y="721"/>
                    <a:pt x="730" y="704"/>
                  </a:cubicBezTo>
                  <a:cubicBezTo>
                    <a:pt x="721" y="699"/>
                    <a:pt x="708" y="693"/>
                    <a:pt x="694" y="687"/>
                  </a:cubicBezTo>
                  <a:cubicBezTo>
                    <a:pt x="667" y="655"/>
                    <a:pt x="632" y="616"/>
                    <a:pt x="624" y="614"/>
                  </a:cubicBezTo>
                  <a:cubicBezTo>
                    <a:pt x="611" y="611"/>
                    <a:pt x="643" y="533"/>
                    <a:pt x="652" y="526"/>
                  </a:cubicBezTo>
                  <a:cubicBezTo>
                    <a:pt x="661" y="518"/>
                    <a:pt x="700" y="460"/>
                    <a:pt x="704" y="439"/>
                  </a:cubicBezTo>
                  <a:cubicBezTo>
                    <a:pt x="707" y="418"/>
                    <a:pt x="730" y="330"/>
                    <a:pt x="730" y="330"/>
                  </a:cubicBezTo>
                  <a:cubicBezTo>
                    <a:pt x="730" y="330"/>
                    <a:pt x="741" y="316"/>
                    <a:pt x="743" y="304"/>
                  </a:cubicBezTo>
                  <a:cubicBezTo>
                    <a:pt x="744" y="293"/>
                    <a:pt x="752" y="281"/>
                    <a:pt x="742" y="270"/>
                  </a:cubicBezTo>
                  <a:cubicBezTo>
                    <a:pt x="736" y="262"/>
                    <a:pt x="737" y="252"/>
                    <a:pt x="727" y="257"/>
                  </a:cubicBezTo>
                  <a:cubicBezTo>
                    <a:pt x="724" y="259"/>
                    <a:pt x="723" y="245"/>
                    <a:pt x="711" y="254"/>
                  </a:cubicBezTo>
                  <a:cubicBezTo>
                    <a:pt x="709" y="256"/>
                    <a:pt x="706" y="244"/>
                    <a:pt x="694" y="259"/>
                  </a:cubicBezTo>
                  <a:cubicBezTo>
                    <a:pt x="679" y="277"/>
                    <a:pt x="680" y="282"/>
                    <a:pt x="687" y="298"/>
                  </a:cubicBezTo>
                  <a:cubicBezTo>
                    <a:pt x="693" y="314"/>
                    <a:pt x="702" y="319"/>
                    <a:pt x="661" y="397"/>
                  </a:cubicBezTo>
                  <a:cubicBezTo>
                    <a:pt x="661" y="397"/>
                    <a:pt x="661" y="318"/>
                    <a:pt x="634" y="267"/>
                  </a:cubicBezTo>
                  <a:cubicBezTo>
                    <a:pt x="608" y="219"/>
                    <a:pt x="614" y="213"/>
                    <a:pt x="614" y="213"/>
                  </a:cubicBezTo>
                  <a:cubicBezTo>
                    <a:pt x="622" y="190"/>
                    <a:pt x="622" y="190"/>
                    <a:pt x="622" y="190"/>
                  </a:cubicBezTo>
                  <a:cubicBezTo>
                    <a:pt x="622" y="190"/>
                    <a:pt x="623" y="190"/>
                    <a:pt x="626" y="189"/>
                  </a:cubicBezTo>
                  <a:cubicBezTo>
                    <a:pt x="630" y="189"/>
                    <a:pt x="633" y="189"/>
                    <a:pt x="635" y="188"/>
                  </a:cubicBezTo>
                  <a:cubicBezTo>
                    <a:pt x="643" y="185"/>
                    <a:pt x="670" y="181"/>
                    <a:pt x="657" y="157"/>
                  </a:cubicBezTo>
                  <a:cubicBezTo>
                    <a:pt x="657" y="157"/>
                    <a:pt x="665" y="148"/>
                    <a:pt x="663" y="145"/>
                  </a:cubicBezTo>
                  <a:cubicBezTo>
                    <a:pt x="663" y="143"/>
                    <a:pt x="660" y="141"/>
                    <a:pt x="659" y="141"/>
                  </a:cubicBezTo>
                  <a:cubicBezTo>
                    <a:pt x="659" y="140"/>
                    <a:pt x="659" y="139"/>
                    <a:pt x="659" y="138"/>
                  </a:cubicBezTo>
                  <a:cubicBezTo>
                    <a:pt x="660" y="136"/>
                    <a:pt x="662" y="134"/>
                    <a:pt x="662" y="132"/>
                  </a:cubicBezTo>
                  <a:cubicBezTo>
                    <a:pt x="661" y="130"/>
                    <a:pt x="658" y="122"/>
                    <a:pt x="658" y="122"/>
                  </a:cubicBezTo>
                  <a:cubicBezTo>
                    <a:pt x="658" y="122"/>
                    <a:pt x="669" y="112"/>
                    <a:pt x="661" y="105"/>
                  </a:cubicBezTo>
                  <a:cubicBezTo>
                    <a:pt x="654" y="97"/>
                    <a:pt x="641" y="93"/>
                    <a:pt x="642" y="82"/>
                  </a:cubicBezTo>
                  <a:cubicBezTo>
                    <a:pt x="644" y="72"/>
                    <a:pt x="648" y="52"/>
                    <a:pt x="635" y="37"/>
                  </a:cubicBezTo>
                  <a:cubicBezTo>
                    <a:pt x="623" y="22"/>
                    <a:pt x="621" y="2"/>
                    <a:pt x="577" y="1"/>
                  </a:cubicBezTo>
                  <a:cubicBezTo>
                    <a:pt x="538" y="0"/>
                    <a:pt x="503" y="7"/>
                    <a:pt x="485" y="44"/>
                  </a:cubicBezTo>
                  <a:cubicBezTo>
                    <a:pt x="475" y="59"/>
                    <a:pt x="474" y="75"/>
                    <a:pt x="474" y="79"/>
                  </a:cubicBezTo>
                  <a:cubicBezTo>
                    <a:pt x="474" y="79"/>
                    <a:pt x="467" y="140"/>
                    <a:pt x="509" y="168"/>
                  </a:cubicBezTo>
                  <a:cubicBezTo>
                    <a:pt x="509" y="168"/>
                    <a:pt x="512" y="171"/>
                    <a:pt x="514" y="174"/>
                  </a:cubicBezTo>
                  <a:cubicBezTo>
                    <a:pt x="514" y="175"/>
                    <a:pt x="513" y="176"/>
                    <a:pt x="513" y="177"/>
                  </a:cubicBezTo>
                  <a:cubicBezTo>
                    <a:pt x="509" y="186"/>
                    <a:pt x="496" y="200"/>
                    <a:pt x="493" y="201"/>
                  </a:cubicBezTo>
                  <a:cubicBezTo>
                    <a:pt x="490" y="203"/>
                    <a:pt x="471" y="235"/>
                    <a:pt x="471" y="247"/>
                  </a:cubicBezTo>
                  <a:cubicBezTo>
                    <a:pt x="471" y="259"/>
                    <a:pt x="454" y="276"/>
                    <a:pt x="441" y="280"/>
                  </a:cubicBezTo>
                  <a:cubicBezTo>
                    <a:pt x="410" y="289"/>
                    <a:pt x="353" y="354"/>
                    <a:pt x="339" y="363"/>
                  </a:cubicBezTo>
                  <a:cubicBezTo>
                    <a:pt x="327" y="371"/>
                    <a:pt x="331" y="383"/>
                    <a:pt x="314" y="401"/>
                  </a:cubicBezTo>
                  <a:cubicBezTo>
                    <a:pt x="297" y="419"/>
                    <a:pt x="264" y="540"/>
                    <a:pt x="253" y="551"/>
                  </a:cubicBezTo>
                  <a:cubicBezTo>
                    <a:pt x="242" y="562"/>
                    <a:pt x="231" y="589"/>
                    <a:pt x="232" y="597"/>
                  </a:cubicBezTo>
                  <a:cubicBezTo>
                    <a:pt x="232" y="597"/>
                    <a:pt x="221" y="609"/>
                    <a:pt x="227" y="615"/>
                  </a:cubicBezTo>
                  <a:cubicBezTo>
                    <a:pt x="233" y="621"/>
                    <a:pt x="233" y="629"/>
                    <a:pt x="241" y="628"/>
                  </a:cubicBezTo>
                  <a:cubicBezTo>
                    <a:pt x="241" y="628"/>
                    <a:pt x="248" y="635"/>
                    <a:pt x="251" y="633"/>
                  </a:cubicBezTo>
                  <a:cubicBezTo>
                    <a:pt x="251" y="633"/>
                    <a:pt x="264" y="639"/>
                    <a:pt x="272" y="636"/>
                  </a:cubicBezTo>
                  <a:cubicBezTo>
                    <a:pt x="281" y="633"/>
                    <a:pt x="296" y="634"/>
                    <a:pt x="288" y="588"/>
                  </a:cubicBezTo>
                  <a:cubicBezTo>
                    <a:pt x="280" y="542"/>
                    <a:pt x="320" y="520"/>
                    <a:pt x="335" y="489"/>
                  </a:cubicBezTo>
                  <a:cubicBezTo>
                    <a:pt x="350" y="457"/>
                    <a:pt x="389" y="412"/>
                    <a:pt x="388" y="404"/>
                  </a:cubicBezTo>
                  <a:cubicBezTo>
                    <a:pt x="388" y="404"/>
                    <a:pt x="424" y="402"/>
                    <a:pt x="447" y="380"/>
                  </a:cubicBezTo>
                  <a:cubicBezTo>
                    <a:pt x="470" y="359"/>
                    <a:pt x="460" y="371"/>
                    <a:pt x="460" y="371"/>
                  </a:cubicBezTo>
                  <a:cubicBezTo>
                    <a:pt x="460" y="371"/>
                    <a:pt x="469" y="408"/>
                    <a:pt x="454" y="433"/>
                  </a:cubicBezTo>
                  <a:cubicBezTo>
                    <a:pt x="440" y="458"/>
                    <a:pt x="437" y="528"/>
                    <a:pt x="439" y="545"/>
                  </a:cubicBezTo>
                  <a:cubicBezTo>
                    <a:pt x="439" y="545"/>
                    <a:pt x="411" y="587"/>
                    <a:pt x="405" y="614"/>
                  </a:cubicBezTo>
                  <a:cubicBezTo>
                    <a:pt x="400" y="642"/>
                    <a:pt x="380" y="707"/>
                    <a:pt x="389" y="740"/>
                  </a:cubicBezTo>
                  <a:cubicBezTo>
                    <a:pt x="392" y="749"/>
                    <a:pt x="395" y="765"/>
                    <a:pt x="398" y="783"/>
                  </a:cubicBezTo>
                  <a:cubicBezTo>
                    <a:pt x="386" y="850"/>
                    <a:pt x="386" y="850"/>
                    <a:pt x="386" y="850"/>
                  </a:cubicBezTo>
                  <a:cubicBezTo>
                    <a:pt x="387" y="873"/>
                    <a:pt x="371" y="902"/>
                    <a:pt x="351" y="921"/>
                  </a:cubicBezTo>
                  <a:cubicBezTo>
                    <a:pt x="310" y="959"/>
                    <a:pt x="235" y="1000"/>
                    <a:pt x="138" y="1094"/>
                  </a:cubicBezTo>
                  <a:cubicBezTo>
                    <a:pt x="138" y="1094"/>
                    <a:pt x="85" y="1132"/>
                    <a:pt x="69" y="1132"/>
                  </a:cubicBezTo>
                  <a:cubicBezTo>
                    <a:pt x="53" y="1132"/>
                    <a:pt x="26" y="1150"/>
                    <a:pt x="13" y="1166"/>
                  </a:cubicBezTo>
                  <a:cubicBezTo>
                    <a:pt x="0" y="1182"/>
                    <a:pt x="1" y="1181"/>
                    <a:pt x="5" y="1195"/>
                  </a:cubicBezTo>
                  <a:cubicBezTo>
                    <a:pt x="10" y="1210"/>
                    <a:pt x="59" y="1250"/>
                    <a:pt x="65" y="1257"/>
                  </a:cubicBezTo>
                  <a:cubicBezTo>
                    <a:pt x="70" y="1265"/>
                    <a:pt x="136" y="1325"/>
                    <a:pt x="149" y="1325"/>
                  </a:cubicBezTo>
                  <a:cubicBezTo>
                    <a:pt x="162" y="1325"/>
                    <a:pt x="183" y="1316"/>
                    <a:pt x="182" y="1303"/>
                  </a:cubicBezTo>
                  <a:cubicBezTo>
                    <a:pt x="180" y="1290"/>
                    <a:pt x="154" y="1250"/>
                    <a:pt x="154" y="1244"/>
                  </a:cubicBezTo>
                  <a:cubicBezTo>
                    <a:pt x="154" y="1239"/>
                    <a:pt x="144" y="1189"/>
                    <a:pt x="144" y="1189"/>
                  </a:cubicBezTo>
                  <a:cubicBezTo>
                    <a:pt x="144" y="1172"/>
                    <a:pt x="144" y="1172"/>
                    <a:pt x="144" y="1172"/>
                  </a:cubicBezTo>
                  <a:cubicBezTo>
                    <a:pt x="130" y="1166"/>
                    <a:pt x="130" y="1166"/>
                    <a:pt x="130" y="1166"/>
                  </a:cubicBezTo>
                  <a:cubicBezTo>
                    <a:pt x="130" y="1166"/>
                    <a:pt x="208" y="1123"/>
                    <a:pt x="250" y="1111"/>
                  </a:cubicBezTo>
                  <a:cubicBezTo>
                    <a:pt x="292" y="1100"/>
                    <a:pt x="399" y="1009"/>
                    <a:pt x="411" y="1007"/>
                  </a:cubicBezTo>
                  <a:cubicBezTo>
                    <a:pt x="423" y="1006"/>
                    <a:pt x="473" y="987"/>
                    <a:pt x="486" y="946"/>
                  </a:cubicBezTo>
                  <a:cubicBezTo>
                    <a:pt x="499" y="906"/>
                    <a:pt x="532" y="842"/>
                    <a:pt x="557" y="822"/>
                  </a:cubicBezTo>
                  <a:cubicBezTo>
                    <a:pt x="558" y="822"/>
                    <a:pt x="558" y="821"/>
                    <a:pt x="558" y="821"/>
                  </a:cubicBezTo>
                  <a:cubicBezTo>
                    <a:pt x="581" y="830"/>
                    <a:pt x="610" y="846"/>
                    <a:pt x="610" y="846"/>
                  </a:cubicBezTo>
                  <a:cubicBezTo>
                    <a:pt x="651" y="819"/>
                    <a:pt x="651" y="819"/>
                    <a:pt x="651" y="819"/>
                  </a:cubicBezTo>
                  <a:cubicBezTo>
                    <a:pt x="651" y="819"/>
                    <a:pt x="754" y="834"/>
                    <a:pt x="761" y="853"/>
                  </a:cubicBezTo>
                  <a:cubicBezTo>
                    <a:pt x="767" y="871"/>
                    <a:pt x="748" y="963"/>
                    <a:pt x="757" y="988"/>
                  </a:cubicBezTo>
                  <a:cubicBezTo>
                    <a:pt x="765" y="1013"/>
                    <a:pt x="763" y="1125"/>
                    <a:pt x="758" y="1127"/>
                  </a:cubicBezTo>
                  <a:cubicBezTo>
                    <a:pt x="752" y="1129"/>
                    <a:pt x="719" y="1154"/>
                    <a:pt x="714" y="1173"/>
                  </a:cubicBezTo>
                  <a:cubicBezTo>
                    <a:pt x="714" y="1173"/>
                    <a:pt x="700" y="1181"/>
                    <a:pt x="703" y="1188"/>
                  </a:cubicBezTo>
                  <a:cubicBezTo>
                    <a:pt x="707" y="1194"/>
                    <a:pt x="725" y="1216"/>
                    <a:pt x="739" y="1229"/>
                  </a:cubicBezTo>
                  <a:cubicBezTo>
                    <a:pt x="753" y="1242"/>
                    <a:pt x="824" y="1297"/>
                    <a:pt x="837" y="1304"/>
                  </a:cubicBezTo>
                  <a:cubicBezTo>
                    <a:pt x="850" y="1310"/>
                    <a:pt x="886" y="1329"/>
                    <a:pt x="891" y="1318"/>
                  </a:cubicBezTo>
                  <a:cubicBezTo>
                    <a:pt x="896" y="1307"/>
                    <a:pt x="890" y="1290"/>
                    <a:pt x="882" y="1282"/>
                  </a:cubicBezTo>
                  <a:close/>
                </a:path>
              </a:pathLst>
            </a:custGeom>
            <a:solidFill>
              <a:schemeClr val="tx2"/>
            </a:solidFill>
            <a:ln w="9525">
              <a:noFill/>
              <a:round/>
              <a:headEnd/>
              <a:tailEnd/>
            </a:ln>
          </p:spPr>
          <p:txBody>
            <a:bodyPr vert="horz" wrap="square" lIns="91296" tIns="45648" rIns="91296" bIns="45648" numCol="1" anchor="t" anchorCtr="0" compatLnSpc="1">
              <a:prstTxWarp prst="textNoShape">
                <a:avLst/>
              </a:prstTxWarp>
            </a:bodyPr>
            <a:lstStyle/>
            <a:p>
              <a:endParaRPr lang="en-US" sz="1797" dirty="0">
                <a:solidFill>
                  <a:srgbClr val="646464"/>
                </a:solidFill>
                <a:latin typeface="EYInterstate" panose="02000503020000020004" pitchFamily="2" charset="0"/>
              </a:endParaRPr>
            </a:p>
          </p:txBody>
        </p:sp>
        <p:sp>
          <p:nvSpPr>
            <p:cNvPr id="52" name="Freeform 17"/>
            <p:cNvSpPr>
              <a:spLocks noEditPoints="1"/>
            </p:cNvSpPr>
            <p:nvPr/>
          </p:nvSpPr>
          <p:spPr bwMode="auto">
            <a:xfrm>
              <a:off x="6611355" y="3673627"/>
              <a:ext cx="374111" cy="288561"/>
            </a:xfrm>
            <a:custGeom>
              <a:avLst/>
              <a:gdLst>
                <a:gd name="T0" fmla="*/ 386 w 386"/>
                <a:gd name="T1" fmla="*/ 0 h 440"/>
                <a:gd name="T2" fmla="*/ 360 w 386"/>
                <a:gd name="T3" fmla="*/ 384 h 440"/>
                <a:gd name="T4" fmla="*/ 379 w 386"/>
                <a:gd name="T5" fmla="*/ 384 h 440"/>
                <a:gd name="T6" fmla="*/ 379 w 386"/>
                <a:gd name="T7" fmla="*/ 331 h 440"/>
                <a:gd name="T8" fmla="*/ 360 w 386"/>
                <a:gd name="T9" fmla="*/ 237 h 440"/>
                <a:gd name="T10" fmla="*/ 379 w 386"/>
                <a:gd name="T11" fmla="*/ 225 h 440"/>
                <a:gd name="T12" fmla="*/ 379 w 386"/>
                <a:gd name="T13" fmla="*/ 225 h 440"/>
                <a:gd name="T14" fmla="*/ 379 w 386"/>
                <a:gd name="T15" fmla="*/ 132 h 440"/>
                <a:gd name="T16" fmla="*/ 360 w 386"/>
                <a:gd name="T17" fmla="*/ 121 h 440"/>
                <a:gd name="T18" fmla="*/ 379 w 386"/>
                <a:gd name="T19" fmla="*/ 121 h 440"/>
                <a:gd name="T20" fmla="*/ 379 w 386"/>
                <a:gd name="T21" fmla="*/ 68 h 440"/>
                <a:gd name="T22" fmla="*/ 129 w 386"/>
                <a:gd name="T23" fmla="*/ 144 h 440"/>
                <a:gd name="T24" fmla="*/ 94 w 386"/>
                <a:gd name="T25" fmla="*/ 155 h 440"/>
                <a:gd name="T26" fmla="*/ 94 w 386"/>
                <a:gd name="T27" fmla="*/ 155 h 440"/>
                <a:gd name="T28" fmla="*/ 94 w 386"/>
                <a:gd name="T29" fmla="*/ 239 h 440"/>
                <a:gd name="T30" fmla="*/ 117 w 386"/>
                <a:gd name="T31" fmla="*/ 252 h 440"/>
                <a:gd name="T32" fmla="*/ 94 w 386"/>
                <a:gd name="T33" fmla="*/ 252 h 440"/>
                <a:gd name="T34" fmla="*/ 94 w 386"/>
                <a:gd name="T35" fmla="*/ 297 h 440"/>
                <a:gd name="T36" fmla="*/ 117 w 386"/>
                <a:gd name="T37" fmla="*/ 382 h 440"/>
                <a:gd name="T38" fmla="*/ 53 w 386"/>
                <a:gd name="T39" fmla="*/ 155 h 440"/>
                <a:gd name="T40" fmla="*/ 53 w 386"/>
                <a:gd name="T41" fmla="*/ 155 h 440"/>
                <a:gd name="T42" fmla="*/ 53 w 386"/>
                <a:gd name="T43" fmla="*/ 239 h 440"/>
                <a:gd name="T44" fmla="*/ 76 w 386"/>
                <a:gd name="T45" fmla="*/ 252 h 440"/>
                <a:gd name="T46" fmla="*/ 53 w 386"/>
                <a:gd name="T47" fmla="*/ 252 h 440"/>
                <a:gd name="T48" fmla="*/ 53 w 386"/>
                <a:gd name="T49" fmla="*/ 297 h 440"/>
                <a:gd name="T50" fmla="*/ 76 w 386"/>
                <a:gd name="T51" fmla="*/ 382 h 440"/>
                <a:gd name="T52" fmla="*/ 13 w 386"/>
                <a:gd name="T53" fmla="*/ 155 h 440"/>
                <a:gd name="T54" fmla="*/ 13 w 386"/>
                <a:gd name="T55" fmla="*/ 155 h 440"/>
                <a:gd name="T56" fmla="*/ 13 w 386"/>
                <a:gd name="T57" fmla="*/ 239 h 440"/>
                <a:gd name="T58" fmla="*/ 36 w 386"/>
                <a:gd name="T59" fmla="*/ 252 h 440"/>
                <a:gd name="T60" fmla="*/ 13 w 386"/>
                <a:gd name="T61" fmla="*/ 252 h 440"/>
                <a:gd name="T62" fmla="*/ 13 w 386"/>
                <a:gd name="T63" fmla="*/ 297 h 440"/>
                <a:gd name="T64" fmla="*/ 36 w 386"/>
                <a:gd name="T65" fmla="*/ 382 h 440"/>
                <a:gd name="T66" fmla="*/ 148 w 386"/>
                <a:gd name="T67" fmla="*/ 440 h 440"/>
                <a:gd name="T68" fmla="*/ 148 w 386"/>
                <a:gd name="T69" fmla="*/ 440 h 440"/>
                <a:gd name="T70" fmla="*/ 247 w 386"/>
                <a:gd name="T71" fmla="*/ 287 h 440"/>
                <a:gd name="T72" fmla="*/ 265 w 386"/>
                <a:gd name="T73" fmla="*/ 296 h 440"/>
                <a:gd name="T74" fmla="*/ 247 w 386"/>
                <a:gd name="T75" fmla="*/ 296 h 440"/>
                <a:gd name="T76" fmla="*/ 247 w 386"/>
                <a:gd name="T77" fmla="*/ 324 h 440"/>
                <a:gd name="T78" fmla="*/ 265 w 386"/>
                <a:gd name="T79" fmla="*/ 378 h 440"/>
                <a:gd name="T80" fmla="*/ 219 w 386"/>
                <a:gd name="T81" fmla="*/ 266 h 440"/>
                <a:gd name="T82" fmla="*/ 219 w 386"/>
                <a:gd name="T83" fmla="*/ 266 h 440"/>
                <a:gd name="T84" fmla="*/ 219 w 386"/>
                <a:gd name="T85" fmla="*/ 318 h 440"/>
                <a:gd name="T86" fmla="*/ 237 w 386"/>
                <a:gd name="T87" fmla="*/ 324 h 440"/>
                <a:gd name="T88" fmla="*/ 219 w 386"/>
                <a:gd name="T89" fmla="*/ 324 h 440"/>
                <a:gd name="T90" fmla="*/ 219 w 386"/>
                <a:gd name="T91" fmla="*/ 355 h 440"/>
                <a:gd name="T92" fmla="*/ 208 w 386"/>
                <a:gd name="T93" fmla="*/ 287 h 440"/>
                <a:gd name="T94" fmla="*/ 191 w 386"/>
                <a:gd name="T95" fmla="*/ 296 h 440"/>
                <a:gd name="T96" fmla="*/ 191 w 386"/>
                <a:gd name="T97" fmla="*/ 296 h 440"/>
                <a:gd name="T98" fmla="*/ 191 w 386"/>
                <a:gd name="T99" fmla="*/ 348 h 440"/>
                <a:gd name="T100" fmla="*/ 208 w 386"/>
                <a:gd name="T101" fmla="*/ 355 h 440"/>
                <a:gd name="T102" fmla="*/ 191 w 386"/>
                <a:gd name="T103" fmla="*/ 355 h 440"/>
                <a:gd name="T104" fmla="*/ 161 w 386"/>
                <a:gd name="T105" fmla="*/ 266 h 440"/>
                <a:gd name="T106" fmla="*/ 180 w 386"/>
                <a:gd name="T107" fmla="*/ 318 h 440"/>
                <a:gd name="T108" fmla="*/ 161 w 386"/>
                <a:gd name="T109" fmla="*/ 324 h 440"/>
                <a:gd name="T110" fmla="*/ 161 w 386"/>
                <a:gd name="T111" fmla="*/ 324 h 440"/>
                <a:gd name="T112" fmla="*/ 161 w 386"/>
                <a:gd name="T113" fmla="*/ 378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6" h="440">
                  <a:moveTo>
                    <a:pt x="358" y="0"/>
                  </a:moveTo>
                  <a:lnTo>
                    <a:pt x="296" y="105"/>
                  </a:lnTo>
                  <a:lnTo>
                    <a:pt x="296" y="440"/>
                  </a:lnTo>
                  <a:lnTo>
                    <a:pt x="386" y="440"/>
                  </a:lnTo>
                  <a:lnTo>
                    <a:pt x="386" y="0"/>
                  </a:lnTo>
                  <a:lnTo>
                    <a:pt x="358" y="0"/>
                  </a:lnTo>
                  <a:lnTo>
                    <a:pt x="358" y="0"/>
                  </a:lnTo>
                  <a:lnTo>
                    <a:pt x="358" y="0"/>
                  </a:lnTo>
                  <a:close/>
                  <a:moveTo>
                    <a:pt x="379" y="384"/>
                  </a:moveTo>
                  <a:lnTo>
                    <a:pt x="360" y="384"/>
                  </a:lnTo>
                  <a:lnTo>
                    <a:pt x="360" y="341"/>
                  </a:lnTo>
                  <a:lnTo>
                    <a:pt x="379" y="341"/>
                  </a:lnTo>
                  <a:lnTo>
                    <a:pt x="379" y="384"/>
                  </a:lnTo>
                  <a:lnTo>
                    <a:pt x="379" y="384"/>
                  </a:lnTo>
                  <a:lnTo>
                    <a:pt x="379" y="384"/>
                  </a:lnTo>
                  <a:close/>
                  <a:moveTo>
                    <a:pt x="379" y="331"/>
                  </a:moveTo>
                  <a:lnTo>
                    <a:pt x="360" y="331"/>
                  </a:lnTo>
                  <a:lnTo>
                    <a:pt x="360" y="289"/>
                  </a:lnTo>
                  <a:lnTo>
                    <a:pt x="379" y="289"/>
                  </a:lnTo>
                  <a:lnTo>
                    <a:pt x="379" y="331"/>
                  </a:lnTo>
                  <a:lnTo>
                    <a:pt x="379" y="331"/>
                  </a:lnTo>
                  <a:lnTo>
                    <a:pt x="379" y="331"/>
                  </a:lnTo>
                  <a:close/>
                  <a:moveTo>
                    <a:pt x="379" y="278"/>
                  </a:moveTo>
                  <a:lnTo>
                    <a:pt x="360" y="278"/>
                  </a:lnTo>
                  <a:lnTo>
                    <a:pt x="360" y="237"/>
                  </a:lnTo>
                  <a:lnTo>
                    <a:pt x="379" y="237"/>
                  </a:lnTo>
                  <a:lnTo>
                    <a:pt x="379" y="278"/>
                  </a:lnTo>
                  <a:lnTo>
                    <a:pt x="379" y="278"/>
                  </a:lnTo>
                  <a:lnTo>
                    <a:pt x="379" y="278"/>
                  </a:lnTo>
                  <a:close/>
                  <a:moveTo>
                    <a:pt x="379" y="225"/>
                  </a:moveTo>
                  <a:lnTo>
                    <a:pt x="360" y="225"/>
                  </a:lnTo>
                  <a:lnTo>
                    <a:pt x="360" y="185"/>
                  </a:lnTo>
                  <a:lnTo>
                    <a:pt x="379" y="185"/>
                  </a:lnTo>
                  <a:lnTo>
                    <a:pt x="379" y="225"/>
                  </a:lnTo>
                  <a:lnTo>
                    <a:pt x="379" y="225"/>
                  </a:lnTo>
                  <a:lnTo>
                    <a:pt x="379" y="225"/>
                  </a:lnTo>
                  <a:close/>
                  <a:moveTo>
                    <a:pt x="379" y="172"/>
                  </a:moveTo>
                  <a:lnTo>
                    <a:pt x="360" y="172"/>
                  </a:lnTo>
                  <a:lnTo>
                    <a:pt x="360" y="132"/>
                  </a:lnTo>
                  <a:lnTo>
                    <a:pt x="379" y="132"/>
                  </a:lnTo>
                  <a:lnTo>
                    <a:pt x="379" y="172"/>
                  </a:lnTo>
                  <a:lnTo>
                    <a:pt x="379" y="172"/>
                  </a:lnTo>
                  <a:lnTo>
                    <a:pt x="379" y="172"/>
                  </a:lnTo>
                  <a:close/>
                  <a:moveTo>
                    <a:pt x="379" y="121"/>
                  </a:moveTo>
                  <a:lnTo>
                    <a:pt x="360" y="121"/>
                  </a:lnTo>
                  <a:lnTo>
                    <a:pt x="360" y="79"/>
                  </a:lnTo>
                  <a:lnTo>
                    <a:pt x="379" y="79"/>
                  </a:lnTo>
                  <a:lnTo>
                    <a:pt x="379" y="121"/>
                  </a:lnTo>
                  <a:lnTo>
                    <a:pt x="379" y="121"/>
                  </a:lnTo>
                  <a:lnTo>
                    <a:pt x="379" y="121"/>
                  </a:lnTo>
                  <a:close/>
                  <a:moveTo>
                    <a:pt x="379" y="68"/>
                  </a:moveTo>
                  <a:lnTo>
                    <a:pt x="360" y="68"/>
                  </a:lnTo>
                  <a:lnTo>
                    <a:pt x="360" y="28"/>
                  </a:lnTo>
                  <a:lnTo>
                    <a:pt x="379" y="28"/>
                  </a:lnTo>
                  <a:lnTo>
                    <a:pt x="379" y="68"/>
                  </a:lnTo>
                  <a:lnTo>
                    <a:pt x="379" y="68"/>
                  </a:lnTo>
                  <a:lnTo>
                    <a:pt x="379" y="68"/>
                  </a:lnTo>
                  <a:close/>
                  <a:moveTo>
                    <a:pt x="0" y="440"/>
                  </a:moveTo>
                  <a:lnTo>
                    <a:pt x="129" y="440"/>
                  </a:lnTo>
                  <a:lnTo>
                    <a:pt x="129" y="144"/>
                  </a:lnTo>
                  <a:lnTo>
                    <a:pt x="0" y="144"/>
                  </a:lnTo>
                  <a:lnTo>
                    <a:pt x="0" y="440"/>
                  </a:lnTo>
                  <a:lnTo>
                    <a:pt x="0" y="440"/>
                  </a:lnTo>
                  <a:lnTo>
                    <a:pt x="0" y="440"/>
                  </a:lnTo>
                  <a:close/>
                  <a:moveTo>
                    <a:pt x="94" y="155"/>
                  </a:moveTo>
                  <a:lnTo>
                    <a:pt x="117" y="155"/>
                  </a:lnTo>
                  <a:lnTo>
                    <a:pt x="117" y="190"/>
                  </a:lnTo>
                  <a:lnTo>
                    <a:pt x="94" y="190"/>
                  </a:lnTo>
                  <a:lnTo>
                    <a:pt x="94" y="155"/>
                  </a:lnTo>
                  <a:lnTo>
                    <a:pt x="94" y="155"/>
                  </a:lnTo>
                  <a:lnTo>
                    <a:pt x="94" y="155"/>
                  </a:lnTo>
                  <a:close/>
                  <a:moveTo>
                    <a:pt x="94" y="202"/>
                  </a:moveTo>
                  <a:lnTo>
                    <a:pt x="117" y="202"/>
                  </a:lnTo>
                  <a:lnTo>
                    <a:pt x="117" y="239"/>
                  </a:lnTo>
                  <a:lnTo>
                    <a:pt x="94" y="239"/>
                  </a:lnTo>
                  <a:lnTo>
                    <a:pt x="94" y="202"/>
                  </a:lnTo>
                  <a:lnTo>
                    <a:pt x="94" y="202"/>
                  </a:lnTo>
                  <a:lnTo>
                    <a:pt x="94" y="202"/>
                  </a:lnTo>
                  <a:close/>
                  <a:moveTo>
                    <a:pt x="94" y="252"/>
                  </a:moveTo>
                  <a:lnTo>
                    <a:pt x="117" y="252"/>
                  </a:lnTo>
                  <a:lnTo>
                    <a:pt x="117" y="287"/>
                  </a:lnTo>
                  <a:lnTo>
                    <a:pt x="94" y="287"/>
                  </a:lnTo>
                  <a:lnTo>
                    <a:pt x="94" y="252"/>
                  </a:lnTo>
                  <a:lnTo>
                    <a:pt x="94" y="252"/>
                  </a:lnTo>
                  <a:lnTo>
                    <a:pt x="94" y="252"/>
                  </a:lnTo>
                  <a:close/>
                  <a:moveTo>
                    <a:pt x="94" y="297"/>
                  </a:moveTo>
                  <a:lnTo>
                    <a:pt x="117" y="297"/>
                  </a:lnTo>
                  <a:lnTo>
                    <a:pt x="117" y="334"/>
                  </a:lnTo>
                  <a:lnTo>
                    <a:pt x="94" y="334"/>
                  </a:lnTo>
                  <a:lnTo>
                    <a:pt x="94" y="297"/>
                  </a:lnTo>
                  <a:lnTo>
                    <a:pt x="94" y="297"/>
                  </a:lnTo>
                  <a:lnTo>
                    <a:pt x="94" y="297"/>
                  </a:lnTo>
                  <a:close/>
                  <a:moveTo>
                    <a:pt x="94" y="347"/>
                  </a:moveTo>
                  <a:lnTo>
                    <a:pt x="117" y="347"/>
                  </a:lnTo>
                  <a:lnTo>
                    <a:pt x="117" y="382"/>
                  </a:lnTo>
                  <a:lnTo>
                    <a:pt x="94" y="382"/>
                  </a:lnTo>
                  <a:lnTo>
                    <a:pt x="94" y="347"/>
                  </a:lnTo>
                  <a:lnTo>
                    <a:pt x="94" y="347"/>
                  </a:lnTo>
                  <a:lnTo>
                    <a:pt x="94" y="347"/>
                  </a:lnTo>
                  <a:close/>
                  <a:moveTo>
                    <a:pt x="53" y="155"/>
                  </a:moveTo>
                  <a:lnTo>
                    <a:pt x="76" y="155"/>
                  </a:lnTo>
                  <a:lnTo>
                    <a:pt x="76" y="190"/>
                  </a:lnTo>
                  <a:lnTo>
                    <a:pt x="53" y="190"/>
                  </a:lnTo>
                  <a:lnTo>
                    <a:pt x="53" y="155"/>
                  </a:lnTo>
                  <a:lnTo>
                    <a:pt x="53" y="155"/>
                  </a:lnTo>
                  <a:lnTo>
                    <a:pt x="53" y="155"/>
                  </a:lnTo>
                  <a:close/>
                  <a:moveTo>
                    <a:pt x="53" y="202"/>
                  </a:moveTo>
                  <a:lnTo>
                    <a:pt x="76" y="202"/>
                  </a:lnTo>
                  <a:lnTo>
                    <a:pt x="76" y="239"/>
                  </a:lnTo>
                  <a:lnTo>
                    <a:pt x="53" y="239"/>
                  </a:lnTo>
                  <a:lnTo>
                    <a:pt x="53" y="202"/>
                  </a:lnTo>
                  <a:lnTo>
                    <a:pt x="53" y="202"/>
                  </a:lnTo>
                  <a:lnTo>
                    <a:pt x="53" y="202"/>
                  </a:lnTo>
                  <a:close/>
                  <a:moveTo>
                    <a:pt x="53" y="252"/>
                  </a:moveTo>
                  <a:lnTo>
                    <a:pt x="76" y="252"/>
                  </a:lnTo>
                  <a:lnTo>
                    <a:pt x="76" y="287"/>
                  </a:lnTo>
                  <a:lnTo>
                    <a:pt x="53" y="287"/>
                  </a:lnTo>
                  <a:lnTo>
                    <a:pt x="53" y="252"/>
                  </a:lnTo>
                  <a:lnTo>
                    <a:pt x="53" y="252"/>
                  </a:lnTo>
                  <a:lnTo>
                    <a:pt x="53" y="252"/>
                  </a:lnTo>
                  <a:close/>
                  <a:moveTo>
                    <a:pt x="53" y="297"/>
                  </a:moveTo>
                  <a:lnTo>
                    <a:pt x="76" y="297"/>
                  </a:lnTo>
                  <a:lnTo>
                    <a:pt x="76" y="334"/>
                  </a:lnTo>
                  <a:lnTo>
                    <a:pt x="53" y="334"/>
                  </a:lnTo>
                  <a:lnTo>
                    <a:pt x="53" y="297"/>
                  </a:lnTo>
                  <a:lnTo>
                    <a:pt x="53" y="297"/>
                  </a:lnTo>
                  <a:lnTo>
                    <a:pt x="53" y="297"/>
                  </a:lnTo>
                  <a:close/>
                  <a:moveTo>
                    <a:pt x="53" y="347"/>
                  </a:moveTo>
                  <a:lnTo>
                    <a:pt x="76" y="347"/>
                  </a:lnTo>
                  <a:lnTo>
                    <a:pt x="76" y="382"/>
                  </a:lnTo>
                  <a:lnTo>
                    <a:pt x="53" y="382"/>
                  </a:lnTo>
                  <a:lnTo>
                    <a:pt x="53" y="347"/>
                  </a:lnTo>
                  <a:lnTo>
                    <a:pt x="53" y="347"/>
                  </a:lnTo>
                  <a:lnTo>
                    <a:pt x="53" y="347"/>
                  </a:lnTo>
                  <a:close/>
                  <a:moveTo>
                    <a:pt x="13" y="155"/>
                  </a:moveTo>
                  <a:lnTo>
                    <a:pt x="36" y="155"/>
                  </a:lnTo>
                  <a:lnTo>
                    <a:pt x="36" y="190"/>
                  </a:lnTo>
                  <a:lnTo>
                    <a:pt x="13" y="190"/>
                  </a:lnTo>
                  <a:lnTo>
                    <a:pt x="13" y="155"/>
                  </a:lnTo>
                  <a:lnTo>
                    <a:pt x="13" y="155"/>
                  </a:lnTo>
                  <a:lnTo>
                    <a:pt x="13" y="155"/>
                  </a:lnTo>
                  <a:close/>
                  <a:moveTo>
                    <a:pt x="13" y="202"/>
                  </a:moveTo>
                  <a:lnTo>
                    <a:pt x="36" y="202"/>
                  </a:lnTo>
                  <a:lnTo>
                    <a:pt x="36" y="239"/>
                  </a:lnTo>
                  <a:lnTo>
                    <a:pt x="13" y="239"/>
                  </a:lnTo>
                  <a:lnTo>
                    <a:pt x="13" y="202"/>
                  </a:lnTo>
                  <a:lnTo>
                    <a:pt x="13" y="202"/>
                  </a:lnTo>
                  <a:lnTo>
                    <a:pt x="13" y="202"/>
                  </a:lnTo>
                  <a:close/>
                  <a:moveTo>
                    <a:pt x="13" y="252"/>
                  </a:moveTo>
                  <a:lnTo>
                    <a:pt x="36" y="252"/>
                  </a:lnTo>
                  <a:lnTo>
                    <a:pt x="36" y="287"/>
                  </a:lnTo>
                  <a:lnTo>
                    <a:pt x="13" y="287"/>
                  </a:lnTo>
                  <a:lnTo>
                    <a:pt x="13" y="252"/>
                  </a:lnTo>
                  <a:lnTo>
                    <a:pt x="13" y="252"/>
                  </a:lnTo>
                  <a:lnTo>
                    <a:pt x="13" y="252"/>
                  </a:lnTo>
                  <a:close/>
                  <a:moveTo>
                    <a:pt x="13" y="297"/>
                  </a:moveTo>
                  <a:lnTo>
                    <a:pt x="36" y="297"/>
                  </a:lnTo>
                  <a:lnTo>
                    <a:pt x="36" y="334"/>
                  </a:lnTo>
                  <a:lnTo>
                    <a:pt x="13" y="334"/>
                  </a:lnTo>
                  <a:lnTo>
                    <a:pt x="13" y="297"/>
                  </a:lnTo>
                  <a:lnTo>
                    <a:pt x="13" y="297"/>
                  </a:lnTo>
                  <a:lnTo>
                    <a:pt x="13" y="297"/>
                  </a:lnTo>
                  <a:close/>
                  <a:moveTo>
                    <a:pt x="13" y="347"/>
                  </a:moveTo>
                  <a:lnTo>
                    <a:pt x="36" y="347"/>
                  </a:lnTo>
                  <a:lnTo>
                    <a:pt x="36" y="382"/>
                  </a:lnTo>
                  <a:lnTo>
                    <a:pt x="13" y="382"/>
                  </a:lnTo>
                  <a:lnTo>
                    <a:pt x="13" y="347"/>
                  </a:lnTo>
                  <a:lnTo>
                    <a:pt x="13" y="347"/>
                  </a:lnTo>
                  <a:lnTo>
                    <a:pt x="13" y="347"/>
                  </a:lnTo>
                  <a:close/>
                  <a:moveTo>
                    <a:pt x="148" y="440"/>
                  </a:moveTo>
                  <a:lnTo>
                    <a:pt x="277" y="440"/>
                  </a:lnTo>
                  <a:lnTo>
                    <a:pt x="277" y="252"/>
                  </a:lnTo>
                  <a:lnTo>
                    <a:pt x="148" y="252"/>
                  </a:lnTo>
                  <a:lnTo>
                    <a:pt x="148" y="440"/>
                  </a:lnTo>
                  <a:lnTo>
                    <a:pt x="148" y="440"/>
                  </a:lnTo>
                  <a:lnTo>
                    <a:pt x="148" y="440"/>
                  </a:lnTo>
                  <a:close/>
                  <a:moveTo>
                    <a:pt x="247" y="266"/>
                  </a:moveTo>
                  <a:lnTo>
                    <a:pt x="265" y="266"/>
                  </a:lnTo>
                  <a:lnTo>
                    <a:pt x="265" y="287"/>
                  </a:lnTo>
                  <a:lnTo>
                    <a:pt x="247" y="287"/>
                  </a:lnTo>
                  <a:lnTo>
                    <a:pt x="247" y="266"/>
                  </a:lnTo>
                  <a:lnTo>
                    <a:pt x="247" y="266"/>
                  </a:lnTo>
                  <a:lnTo>
                    <a:pt x="247" y="266"/>
                  </a:lnTo>
                  <a:close/>
                  <a:moveTo>
                    <a:pt x="247" y="296"/>
                  </a:moveTo>
                  <a:lnTo>
                    <a:pt x="265" y="296"/>
                  </a:lnTo>
                  <a:lnTo>
                    <a:pt x="265" y="318"/>
                  </a:lnTo>
                  <a:lnTo>
                    <a:pt x="247" y="318"/>
                  </a:lnTo>
                  <a:lnTo>
                    <a:pt x="247" y="296"/>
                  </a:lnTo>
                  <a:lnTo>
                    <a:pt x="247" y="296"/>
                  </a:lnTo>
                  <a:lnTo>
                    <a:pt x="247" y="296"/>
                  </a:lnTo>
                  <a:close/>
                  <a:moveTo>
                    <a:pt x="247" y="324"/>
                  </a:moveTo>
                  <a:lnTo>
                    <a:pt x="265" y="324"/>
                  </a:lnTo>
                  <a:lnTo>
                    <a:pt x="265" y="348"/>
                  </a:lnTo>
                  <a:lnTo>
                    <a:pt x="247" y="348"/>
                  </a:lnTo>
                  <a:lnTo>
                    <a:pt x="247" y="324"/>
                  </a:lnTo>
                  <a:lnTo>
                    <a:pt x="247" y="324"/>
                  </a:lnTo>
                  <a:lnTo>
                    <a:pt x="247" y="324"/>
                  </a:lnTo>
                  <a:close/>
                  <a:moveTo>
                    <a:pt x="247" y="355"/>
                  </a:moveTo>
                  <a:lnTo>
                    <a:pt x="265" y="355"/>
                  </a:lnTo>
                  <a:lnTo>
                    <a:pt x="265" y="378"/>
                  </a:lnTo>
                  <a:lnTo>
                    <a:pt x="247" y="378"/>
                  </a:lnTo>
                  <a:lnTo>
                    <a:pt x="247" y="355"/>
                  </a:lnTo>
                  <a:lnTo>
                    <a:pt x="247" y="355"/>
                  </a:lnTo>
                  <a:lnTo>
                    <a:pt x="247" y="355"/>
                  </a:lnTo>
                  <a:close/>
                  <a:moveTo>
                    <a:pt x="219" y="266"/>
                  </a:moveTo>
                  <a:lnTo>
                    <a:pt x="237" y="266"/>
                  </a:lnTo>
                  <a:lnTo>
                    <a:pt x="237" y="287"/>
                  </a:lnTo>
                  <a:lnTo>
                    <a:pt x="219" y="287"/>
                  </a:lnTo>
                  <a:lnTo>
                    <a:pt x="219" y="266"/>
                  </a:lnTo>
                  <a:lnTo>
                    <a:pt x="219" y="266"/>
                  </a:lnTo>
                  <a:lnTo>
                    <a:pt x="219" y="266"/>
                  </a:lnTo>
                  <a:close/>
                  <a:moveTo>
                    <a:pt x="219" y="296"/>
                  </a:moveTo>
                  <a:lnTo>
                    <a:pt x="237" y="296"/>
                  </a:lnTo>
                  <a:lnTo>
                    <a:pt x="237" y="318"/>
                  </a:lnTo>
                  <a:lnTo>
                    <a:pt x="219" y="318"/>
                  </a:lnTo>
                  <a:lnTo>
                    <a:pt x="219" y="296"/>
                  </a:lnTo>
                  <a:lnTo>
                    <a:pt x="219" y="296"/>
                  </a:lnTo>
                  <a:lnTo>
                    <a:pt x="219" y="296"/>
                  </a:lnTo>
                  <a:close/>
                  <a:moveTo>
                    <a:pt x="219" y="324"/>
                  </a:moveTo>
                  <a:lnTo>
                    <a:pt x="237" y="324"/>
                  </a:lnTo>
                  <a:lnTo>
                    <a:pt x="237" y="348"/>
                  </a:lnTo>
                  <a:lnTo>
                    <a:pt x="219" y="348"/>
                  </a:lnTo>
                  <a:lnTo>
                    <a:pt x="219" y="324"/>
                  </a:lnTo>
                  <a:lnTo>
                    <a:pt x="219" y="324"/>
                  </a:lnTo>
                  <a:lnTo>
                    <a:pt x="219" y="324"/>
                  </a:lnTo>
                  <a:close/>
                  <a:moveTo>
                    <a:pt x="219" y="355"/>
                  </a:moveTo>
                  <a:lnTo>
                    <a:pt x="237" y="355"/>
                  </a:lnTo>
                  <a:lnTo>
                    <a:pt x="237" y="378"/>
                  </a:lnTo>
                  <a:lnTo>
                    <a:pt x="219" y="378"/>
                  </a:lnTo>
                  <a:lnTo>
                    <a:pt x="219" y="355"/>
                  </a:lnTo>
                  <a:lnTo>
                    <a:pt x="219" y="355"/>
                  </a:lnTo>
                  <a:lnTo>
                    <a:pt x="219" y="355"/>
                  </a:lnTo>
                  <a:close/>
                  <a:moveTo>
                    <a:pt x="191" y="266"/>
                  </a:moveTo>
                  <a:lnTo>
                    <a:pt x="208" y="266"/>
                  </a:lnTo>
                  <a:lnTo>
                    <a:pt x="208" y="287"/>
                  </a:lnTo>
                  <a:lnTo>
                    <a:pt x="191" y="287"/>
                  </a:lnTo>
                  <a:lnTo>
                    <a:pt x="191" y="266"/>
                  </a:lnTo>
                  <a:lnTo>
                    <a:pt x="191" y="266"/>
                  </a:lnTo>
                  <a:lnTo>
                    <a:pt x="191" y="266"/>
                  </a:lnTo>
                  <a:close/>
                  <a:moveTo>
                    <a:pt x="191" y="296"/>
                  </a:moveTo>
                  <a:lnTo>
                    <a:pt x="208" y="296"/>
                  </a:lnTo>
                  <a:lnTo>
                    <a:pt x="208" y="318"/>
                  </a:lnTo>
                  <a:lnTo>
                    <a:pt x="191" y="318"/>
                  </a:lnTo>
                  <a:lnTo>
                    <a:pt x="191" y="296"/>
                  </a:lnTo>
                  <a:lnTo>
                    <a:pt x="191" y="296"/>
                  </a:lnTo>
                  <a:lnTo>
                    <a:pt x="191" y="296"/>
                  </a:lnTo>
                  <a:close/>
                  <a:moveTo>
                    <a:pt x="191" y="324"/>
                  </a:moveTo>
                  <a:lnTo>
                    <a:pt x="208" y="324"/>
                  </a:lnTo>
                  <a:lnTo>
                    <a:pt x="208" y="348"/>
                  </a:lnTo>
                  <a:lnTo>
                    <a:pt x="191" y="348"/>
                  </a:lnTo>
                  <a:lnTo>
                    <a:pt x="191" y="324"/>
                  </a:lnTo>
                  <a:lnTo>
                    <a:pt x="191" y="324"/>
                  </a:lnTo>
                  <a:lnTo>
                    <a:pt x="191" y="324"/>
                  </a:lnTo>
                  <a:close/>
                  <a:moveTo>
                    <a:pt x="191" y="355"/>
                  </a:moveTo>
                  <a:lnTo>
                    <a:pt x="208" y="355"/>
                  </a:lnTo>
                  <a:lnTo>
                    <a:pt x="208" y="378"/>
                  </a:lnTo>
                  <a:lnTo>
                    <a:pt x="191" y="378"/>
                  </a:lnTo>
                  <a:lnTo>
                    <a:pt x="191" y="355"/>
                  </a:lnTo>
                  <a:lnTo>
                    <a:pt x="191" y="355"/>
                  </a:lnTo>
                  <a:lnTo>
                    <a:pt x="191" y="355"/>
                  </a:lnTo>
                  <a:close/>
                  <a:moveTo>
                    <a:pt x="161" y="266"/>
                  </a:moveTo>
                  <a:lnTo>
                    <a:pt x="180" y="266"/>
                  </a:lnTo>
                  <a:lnTo>
                    <a:pt x="180" y="287"/>
                  </a:lnTo>
                  <a:lnTo>
                    <a:pt x="161" y="287"/>
                  </a:lnTo>
                  <a:lnTo>
                    <a:pt x="161" y="266"/>
                  </a:lnTo>
                  <a:lnTo>
                    <a:pt x="161" y="266"/>
                  </a:lnTo>
                  <a:lnTo>
                    <a:pt x="161" y="266"/>
                  </a:lnTo>
                  <a:close/>
                  <a:moveTo>
                    <a:pt x="161" y="296"/>
                  </a:moveTo>
                  <a:lnTo>
                    <a:pt x="180" y="296"/>
                  </a:lnTo>
                  <a:lnTo>
                    <a:pt x="180" y="318"/>
                  </a:lnTo>
                  <a:lnTo>
                    <a:pt x="161" y="318"/>
                  </a:lnTo>
                  <a:lnTo>
                    <a:pt x="161" y="296"/>
                  </a:lnTo>
                  <a:lnTo>
                    <a:pt x="161" y="296"/>
                  </a:lnTo>
                  <a:lnTo>
                    <a:pt x="161" y="296"/>
                  </a:lnTo>
                  <a:close/>
                  <a:moveTo>
                    <a:pt x="161" y="324"/>
                  </a:moveTo>
                  <a:lnTo>
                    <a:pt x="180" y="324"/>
                  </a:lnTo>
                  <a:lnTo>
                    <a:pt x="180" y="348"/>
                  </a:lnTo>
                  <a:lnTo>
                    <a:pt x="161" y="348"/>
                  </a:lnTo>
                  <a:lnTo>
                    <a:pt x="161" y="324"/>
                  </a:lnTo>
                  <a:lnTo>
                    <a:pt x="161" y="324"/>
                  </a:lnTo>
                  <a:lnTo>
                    <a:pt x="161" y="324"/>
                  </a:lnTo>
                  <a:close/>
                  <a:moveTo>
                    <a:pt x="161" y="355"/>
                  </a:moveTo>
                  <a:lnTo>
                    <a:pt x="180" y="355"/>
                  </a:lnTo>
                  <a:lnTo>
                    <a:pt x="180" y="378"/>
                  </a:lnTo>
                  <a:lnTo>
                    <a:pt x="161" y="378"/>
                  </a:lnTo>
                  <a:lnTo>
                    <a:pt x="161" y="355"/>
                  </a:lnTo>
                  <a:lnTo>
                    <a:pt x="161" y="355"/>
                  </a:lnTo>
                  <a:lnTo>
                    <a:pt x="161" y="355"/>
                  </a:lnTo>
                  <a:close/>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en-IN" sz="1797" dirty="0">
                <a:solidFill>
                  <a:srgbClr val="646464"/>
                </a:solidFill>
                <a:latin typeface="EYInterstate" panose="02000503020000020004" pitchFamily="2" charset="0"/>
              </a:endParaRPr>
            </a:p>
          </p:txBody>
        </p:sp>
        <p:sp>
          <p:nvSpPr>
            <p:cNvPr id="53" name="Freeform 49"/>
            <p:cNvSpPr>
              <a:spLocks noEditPoints="1"/>
            </p:cNvSpPr>
            <p:nvPr/>
          </p:nvSpPr>
          <p:spPr bwMode="auto">
            <a:xfrm>
              <a:off x="5362862" y="3899598"/>
              <a:ext cx="214724" cy="405123"/>
            </a:xfrm>
            <a:custGeom>
              <a:avLst/>
              <a:gdLst>
                <a:gd name="T0" fmla="*/ 60 w 135"/>
                <a:gd name="T1" fmla="*/ 7 h 295"/>
                <a:gd name="T2" fmla="*/ 74 w 135"/>
                <a:gd name="T3" fmla="*/ 11 h 295"/>
                <a:gd name="T4" fmla="*/ 61 w 135"/>
                <a:gd name="T5" fmla="*/ 14 h 295"/>
                <a:gd name="T6" fmla="*/ 67 w 135"/>
                <a:gd name="T7" fmla="*/ 11 h 295"/>
                <a:gd name="T8" fmla="*/ 76 w 135"/>
                <a:gd name="T9" fmla="*/ 25 h 295"/>
                <a:gd name="T10" fmla="*/ 58 w 135"/>
                <a:gd name="T11" fmla="*/ 27 h 295"/>
                <a:gd name="T12" fmla="*/ 58 w 135"/>
                <a:gd name="T13" fmla="*/ 27 h 295"/>
                <a:gd name="T14" fmla="*/ 74 w 135"/>
                <a:gd name="T15" fmla="*/ 30 h 295"/>
                <a:gd name="T16" fmla="*/ 70 w 135"/>
                <a:gd name="T17" fmla="*/ 41 h 295"/>
                <a:gd name="T18" fmla="*/ 70 w 135"/>
                <a:gd name="T19" fmla="*/ 41 h 295"/>
                <a:gd name="T20" fmla="*/ 58 w 135"/>
                <a:gd name="T21" fmla="*/ 36 h 295"/>
                <a:gd name="T22" fmla="*/ 74 w 135"/>
                <a:gd name="T23" fmla="*/ 50 h 295"/>
                <a:gd name="T24" fmla="*/ 67 w 135"/>
                <a:gd name="T25" fmla="*/ 58 h 295"/>
                <a:gd name="T26" fmla="*/ 67 w 135"/>
                <a:gd name="T27" fmla="*/ 58 h 295"/>
                <a:gd name="T28" fmla="*/ 54 w 135"/>
                <a:gd name="T29" fmla="*/ 57 h 295"/>
                <a:gd name="T30" fmla="*/ 49 w 135"/>
                <a:gd name="T31" fmla="*/ 55 h 295"/>
                <a:gd name="T32" fmla="*/ 72 w 135"/>
                <a:gd name="T33" fmla="*/ 62 h 295"/>
                <a:gd name="T34" fmla="*/ 72 w 135"/>
                <a:gd name="T35" fmla="*/ 62 h 295"/>
                <a:gd name="T36" fmla="*/ 84 w 135"/>
                <a:gd name="T37" fmla="*/ 55 h 295"/>
                <a:gd name="T38" fmla="*/ 74 w 135"/>
                <a:gd name="T39" fmla="*/ 71 h 295"/>
                <a:gd name="T40" fmla="*/ 69 w 135"/>
                <a:gd name="T41" fmla="*/ 83 h 295"/>
                <a:gd name="T42" fmla="*/ 69 w 135"/>
                <a:gd name="T43" fmla="*/ 83 h 295"/>
                <a:gd name="T44" fmla="*/ 83 w 135"/>
                <a:gd name="T45" fmla="*/ 78 h 295"/>
                <a:gd name="T46" fmla="*/ 63 w 135"/>
                <a:gd name="T47" fmla="*/ 87 h 295"/>
                <a:gd name="T48" fmla="*/ 54 w 135"/>
                <a:gd name="T49" fmla="*/ 101 h 295"/>
                <a:gd name="T50" fmla="*/ 69 w 135"/>
                <a:gd name="T51" fmla="*/ 90 h 295"/>
                <a:gd name="T52" fmla="*/ 63 w 135"/>
                <a:gd name="T53" fmla="*/ 115 h 295"/>
                <a:gd name="T54" fmla="*/ 72 w 135"/>
                <a:gd name="T55" fmla="*/ 115 h 295"/>
                <a:gd name="T56" fmla="*/ 72 w 135"/>
                <a:gd name="T57" fmla="*/ 115 h 295"/>
                <a:gd name="T58" fmla="*/ 47 w 135"/>
                <a:gd name="T59" fmla="*/ 136 h 295"/>
                <a:gd name="T60" fmla="*/ 67 w 135"/>
                <a:gd name="T61" fmla="*/ 143 h 295"/>
                <a:gd name="T62" fmla="*/ 69 w 135"/>
                <a:gd name="T63" fmla="*/ 118 h 295"/>
                <a:gd name="T64" fmla="*/ 90 w 135"/>
                <a:gd name="T65" fmla="*/ 143 h 295"/>
                <a:gd name="T66" fmla="*/ 39 w 135"/>
                <a:gd name="T67" fmla="*/ 162 h 295"/>
                <a:gd name="T68" fmla="*/ 39 w 135"/>
                <a:gd name="T69" fmla="*/ 162 h 295"/>
                <a:gd name="T70" fmla="*/ 46 w 135"/>
                <a:gd name="T71" fmla="*/ 150 h 295"/>
                <a:gd name="T72" fmla="*/ 90 w 135"/>
                <a:gd name="T73" fmla="*/ 150 h 295"/>
                <a:gd name="T74" fmla="*/ 98 w 135"/>
                <a:gd name="T75" fmla="*/ 162 h 295"/>
                <a:gd name="T76" fmla="*/ 98 w 135"/>
                <a:gd name="T77" fmla="*/ 162 h 295"/>
                <a:gd name="T78" fmla="*/ 69 w 135"/>
                <a:gd name="T79" fmla="*/ 152 h 295"/>
                <a:gd name="T80" fmla="*/ 84 w 135"/>
                <a:gd name="T81" fmla="*/ 169 h 295"/>
                <a:gd name="T82" fmla="*/ 40 w 135"/>
                <a:gd name="T83" fmla="*/ 199 h 295"/>
                <a:gd name="T84" fmla="*/ 40 w 135"/>
                <a:gd name="T85" fmla="*/ 199 h 295"/>
                <a:gd name="T86" fmla="*/ 93 w 135"/>
                <a:gd name="T87" fmla="*/ 171 h 295"/>
                <a:gd name="T88" fmla="*/ 69 w 135"/>
                <a:gd name="T89" fmla="*/ 226 h 295"/>
                <a:gd name="T90" fmla="*/ 44 w 135"/>
                <a:gd name="T91" fmla="*/ 203 h 295"/>
                <a:gd name="T92" fmla="*/ 40 w 135"/>
                <a:gd name="T93" fmla="*/ 208 h 295"/>
                <a:gd name="T94" fmla="*/ 106 w 135"/>
                <a:gd name="T95" fmla="*/ 288 h 295"/>
                <a:gd name="T96" fmla="*/ 104 w 135"/>
                <a:gd name="T97" fmla="*/ 295 h 295"/>
                <a:gd name="T98" fmla="*/ 35 w 135"/>
                <a:gd name="T99" fmla="*/ 293 h 295"/>
                <a:gd name="T100" fmla="*/ 0 w 135"/>
                <a:gd name="T101" fmla="*/ 148 h 295"/>
                <a:gd name="T102" fmla="*/ 3 w 135"/>
                <a:gd name="T103" fmla="*/ 143 h 295"/>
                <a:gd name="T104" fmla="*/ 40 w 135"/>
                <a:gd name="T105" fmla="*/ 132 h 295"/>
                <a:gd name="T106" fmla="*/ 7 w 135"/>
                <a:gd name="T107" fmla="*/ 50 h 295"/>
                <a:gd name="T108" fmla="*/ 12 w 135"/>
                <a:gd name="T109" fmla="*/ 50 h 295"/>
                <a:gd name="T110" fmla="*/ 53 w 135"/>
                <a:gd name="T111" fmla="*/ 14 h 295"/>
                <a:gd name="T112" fmla="*/ 84 w 135"/>
                <a:gd name="T113" fmla="*/ 50 h 295"/>
                <a:gd name="T114" fmla="*/ 130 w 135"/>
                <a:gd name="T115" fmla="*/ 37 h 295"/>
                <a:gd name="T116" fmla="*/ 95 w 135"/>
                <a:gd name="T117" fmla="*/ 143 h 295"/>
                <a:gd name="T118" fmla="*/ 135 w 135"/>
                <a:gd name="T119" fmla="*/ 132 h 295"/>
                <a:gd name="T120" fmla="*/ 98 w 135"/>
                <a:gd name="T121" fmla="*/ 16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5" h="295">
                  <a:moveTo>
                    <a:pt x="60" y="11"/>
                  </a:moveTo>
                  <a:lnTo>
                    <a:pt x="61" y="7"/>
                  </a:lnTo>
                  <a:lnTo>
                    <a:pt x="60" y="7"/>
                  </a:lnTo>
                  <a:lnTo>
                    <a:pt x="60" y="11"/>
                  </a:lnTo>
                  <a:close/>
                  <a:moveTo>
                    <a:pt x="70" y="7"/>
                  </a:moveTo>
                  <a:lnTo>
                    <a:pt x="74" y="11"/>
                  </a:lnTo>
                  <a:lnTo>
                    <a:pt x="74" y="6"/>
                  </a:lnTo>
                  <a:lnTo>
                    <a:pt x="70" y="7"/>
                  </a:lnTo>
                  <a:close/>
                  <a:moveTo>
                    <a:pt x="61" y="14"/>
                  </a:moveTo>
                  <a:lnTo>
                    <a:pt x="67" y="18"/>
                  </a:lnTo>
                  <a:lnTo>
                    <a:pt x="70" y="14"/>
                  </a:lnTo>
                  <a:lnTo>
                    <a:pt x="67" y="11"/>
                  </a:lnTo>
                  <a:lnTo>
                    <a:pt x="61" y="14"/>
                  </a:lnTo>
                  <a:close/>
                  <a:moveTo>
                    <a:pt x="72" y="21"/>
                  </a:moveTo>
                  <a:lnTo>
                    <a:pt x="76" y="25"/>
                  </a:lnTo>
                  <a:lnTo>
                    <a:pt x="76" y="20"/>
                  </a:lnTo>
                  <a:lnTo>
                    <a:pt x="72" y="21"/>
                  </a:lnTo>
                  <a:close/>
                  <a:moveTo>
                    <a:pt x="58" y="27"/>
                  </a:moveTo>
                  <a:lnTo>
                    <a:pt x="63" y="21"/>
                  </a:lnTo>
                  <a:lnTo>
                    <a:pt x="58" y="20"/>
                  </a:lnTo>
                  <a:lnTo>
                    <a:pt x="58" y="27"/>
                  </a:lnTo>
                  <a:close/>
                  <a:moveTo>
                    <a:pt x="61" y="32"/>
                  </a:moveTo>
                  <a:lnTo>
                    <a:pt x="67" y="37"/>
                  </a:lnTo>
                  <a:lnTo>
                    <a:pt x="74" y="30"/>
                  </a:lnTo>
                  <a:lnTo>
                    <a:pt x="67" y="25"/>
                  </a:lnTo>
                  <a:lnTo>
                    <a:pt x="61" y="32"/>
                  </a:lnTo>
                  <a:close/>
                  <a:moveTo>
                    <a:pt x="70" y="41"/>
                  </a:moveTo>
                  <a:lnTo>
                    <a:pt x="79" y="46"/>
                  </a:lnTo>
                  <a:lnTo>
                    <a:pt x="77" y="36"/>
                  </a:lnTo>
                  <a:lnTo>
                    <a:pt x="70" y="41"/>
                  </a:lnTo>
                  <a:close/>
                  <a:moveTo>
                    <a:pt x="56" y="48"/>
                  </a:moveTo>
                  <a:lnTo>
                    <a:pt x="63" y="41"/>
                  </a:lnTo>
                  <a:lnTo>
                    <a:pt x="58" y="36"/>
                  </a:lnTo>
                  <a:lnTo>
                    <a:pt x="56" y="48"/>
                  </a:lnTo>
                  <a:close/>
                  <a:moveTo>
                    <a:pt x="61" y="50"/>
                  </a:moveTo>
                  <a:lnTo>
                    <a:pt x="74" y="50"/>
                  </a:lnTo>
                  <a:lnTo>
                    <a:pt x="69" y="44"/>
                  </a:lnTo>
                  <a:lnTo>
                    <a:pt x="61" y="50"/>
                  </a:lnTo>
                  <a:close/>
                  <a:moveTo>
                    <a:pt x="67" y="58"/>
                  </a:moveTo>
                  <a:lnTo>
                    <a:pt x="72" y="55"/>
                  </a:lnTo>
                  <a:lnTo>
                    <a:pt x="61" y="55"/>
                  </a:lnTo>
                  <a:lnTo>
                    <a:pt x="67" y="58"/>
                  </a:lnTo>
                  <a:close/>
                  <a:moveTo>
                    <a:pt x="54" y="69"/>
                  </a:moveTo>
                  <a:lnTo>
                    <a:pt x="63" y="62"/>
                  </a:lnTo>
                  <a:lnTo>
                    <a:pt x="54" y="57"/>
                  </a:lnTo>
                  <a:lnTo>
                    <a:pt x="54" y="69"/>
                  </a:lnTo>
                  <a:close/>
                  <a:moveTo>
                    <a:pt x="47" y="69"/>
                  </a:moveTo>
                  <a:lnTo>
                    <a:pt x="49" y="55"/>
                  </a:lnTo>
                  <a:lnTo>
                    <a:pt x="26" y="55"/>
                  </a:lnTo>
                  <a:lnTo>
                    <a:pt x="47" y="69"/>
                  </a:lnTo>
                  <a:close/>
                  <a:moveTo>
                    <a:pt x="72" y="62"/>
                  </a:moveTo>
                  <a:lnTo>
                    <a:pt x="81" y="69"/>
                  </a:lnTo>
                  <a:lnTo>
                    <a:pt x="79" y="57"/>
                  </a:lnTo>
                  <a:lnTo>
                    <a:pt x="72" y="62"/>
                  </a:lnTo>
                  <a:close/>
                  <a:moveTo>
                    <a:pt x="88" y="69"/>
                  </a:moveTo>
                  <a:lnTo>
                    <a:pt x="111" y="55"/>
                  </a:lnTo>
                  <a:lnTo>
                    <a:pt x="84" y="55"/>
                  </a:lnTo>
                  <a:lnTo>
                    <a:pt x="88" y="69"/>
                  </a:lnTo>
                  <a:close/>
                  <a:moveTo>
                    <a:pt x="60" y="71"/>
                  </a:moveTo>
                  <a:lnTo>
                    <a:pt x="74" y="71"/>
                  </a:lnTo>
                  <a:lnTo>
                    <a:pt x="67" y="66"/>
                  </a:lnTo>
                  <a:lnTo>
                    <a:pt x="60" y="71"/>
                  </a:lnTo>
                  <a:close/>
                  <a:moveTo>
                    <a:pt x="69" y="83"/>
                  </a:moveTo>
                  <a:lnTo>
                    <a:pt x="74" y="76"/>
                  </a:lnTo>
                  <a:lnTo>
                    <a:pt x="61" y="76"/>
                  </a:lnTo>
                  <a:lnTo>
                    <a:pt x="69" y="83"/>
                  </a:lnTo>
                  <a:close/>
                  <a:moveTo>
                    <a:pt x="72" y="87"/>
                  </a:moveTo>
                  <a:lnTo>
                    <a:pt x="84" y="95"/>
                  </a:lnTo>
                  <a:lnTo>
                    <a:pt x="83" y="78"/>
                  </a:lnTo>
                  <a:lnTo>
                    <a:pt x="72" y="87"/>
                  </a:lnTo>
                  <a:close/>
                  <a:moveTo>
                    <a:pt x="51" y="95"/>
                  </a:moveTo>
                  <a:lnTo>
                    <a:pt x="63" y="87"/>
                  </a:lnTo>
                  <a:lnTo>
                    <a:pt x="53" y="78"/>
                  </a:lnTo>
                  <a:lnTo>
                    <a:pt x="51" y="95"/>
                  </a:lnTo>
                  <a:close/>
                  <a:moveTo>
                    <a:pt x="54" y="101"/>
                  </a:moveTo>
                  <a:lnTo>
                    <a:pt x="69" y="111"/>
                  </a:lnTo>
                  <a:lnTo>
                    <a:pt x="81" y="101"/>
                  </a:lnTo>
                  <a:lnTo>
                    <a:pt x="69" y="90"/>
                  </a:lnTo>
                  <a:lnTo>
                    <a:pt x="54" y="101"/>
                  </a:lnTo>
                  <a:close/>
                  <a:moveTo>
                    <a:pt x="47" y="127"/>
                  </a:moveTo>
                  <a:lnTo>
                    <a:pt x="63" y="115"/>
                  </a:lnTo>
                  <a:lnTo>
                    <a:pt x="51" y="104"/>
                  </a:lnTo>
                  <a:lnTo>
                    <a:pt x="47" y="127"/>
                  </a:lnTo>
                  <a:close/>
                  <a:moveTo>
                    <a:pt x="72" y="115"/>
                  </a:moveTo>
                  <a:lnTo>
                    <a:pt x="88" y="127"/>
                  </a:lnTo>
                  <a:lnTo>
                    <a:pt x="84" y="104"/>
                  </a:lnTo>
                  <a:lnTo>
                    <a:pt x="72" y="115"/>
                  </a:lnTo>
                  <a:close/>
                  <a:moveTo>
                    <a:pt x="46" y="143"/>
                  </a:moveTo>
                  <a:lnTo>
                    <a:pt x="58" y="143"/>
                  </a:lnTo>
                  <a:lnTo>
                    <a:pt x="47" y="136"/>
                  </a:lnTo>
                  <a:lnTo>
                    <a:pt x="46" y="143"/>
                  </a:lnTo>
                  <a:close/>
                  <a:moveTo>
                    <a:pt x="51" y="132"/>
                  </a:moveTo>
                  <a:lnTo>
                    <a:pt x="67" y="143"/>
                  </a:lnTo>
                  <a:lnTo>
                    <a:pt x="69" y="143"/>
                  </a:lnTo>
                  <a:lnTo>
                    <a:pt x="84" y="132"/>
                  </a:lnTo>
                  <a:lnTo>
                    <a:pt x="69" y="118"/>
                  </a:lnTo>
                  <a:lnTo>
                    <a:pt x="51" y="132"/>
                  </a:lnTo>
                  <a:close/>
                  <a:moveTo>
                    <a:pt x="77" y="143"/>
                  </a:moveTo>
                  <a:lnTo>
                    <a:pt x="90" y="143"/>
                  </a:lnTo>
                  <a:lnTo>
                    <a:pt x="88" y="136"/>
                  </a:lnTo>
                  <a:lnTo>
                    <a:pt x="77" y="143"/>
                  </a:lnTo>
                  <a:close/>
                  <a:moveTo>
                    <a:pt x="39" y="162"/>
                  </a:moveTo>
                  <a:lnTo>
                    <a:pt x="40" y="150"/>
                  </a:lnTo>
                  <a:lnTo>
                    <a:pt x="12" y="150"/>
                  </a:lnTo>
                  <a:lnTo>
                    <a:pt x="39" y="162"/>
                  </a:lnTo>
                  <a:close/>
                  <a:moveTo>
                    <a:pt x="44" y="162"/>
                  </a:moveTo>
                  <a:lnTo>
                    <a:pt x="61" y="150"/>
                  </a:lnTo>
                  <a:lnTo>
                    <a:pt x="46" y="150"/>
                  </a:lnTo>
                  <a:lnTo>
                    <a:pt x="44" y="162"/>
                  </a:lnTo>
                  <a:close/>
                  <a:moveTo>
                    <a:pt x="91" y="162"/>
                  </a:moveTo>
                  <a:lnTo>
                    <a:pt x="90" y="150"/>
                  </a:lnTo>
                  <a:lnTo>
                    <a:pt x="74" y="150"/>
                  </a:lnTo>
                  <a:lnTo>
                    <a:pt x="91" y="162"/>
                  </a:lnTo>
                  <a:close/>
                  <a:moveTo>
                    <a:pt x="98" y="162"/>
                  </a:moveTo>
                  <a:lnTo>
                    <a:pt x="121" y="150"/>
                  </a:lnTo>
                  <a:lnTo>
                    <a:pt x="97" y="150"/>
                  </a:lnTo>
                  <a:lnTo>
                    <a:pt x="98" y="162"/>
                  </a:lnTo>
                  <a:close/>
                  <a:moveTo>
                    <a:pt x="51" y="164"/>
                  </a:moveTo>
                  <a:lnTo>
                    <a:pt x="84" y="164"/>
                  </a:lnTo>
                  <a:lnTo>
                    <a:pt x="69" y="152"/>
                  </a:lnTo>
                  <a:lnTo>
                    <a:pt x="51" y="164"/>
                  </a:lnTo>
                  <a:close/>
                  <a:moveTo>
                    <a:pt x="69" y="180"/>
                  </a:moveTo>
                  <a:lnTo>
                    <a:pt x="84" y="169"/>
                  </a:lnTo>
                  <a:lnTo>
                    <a:pt x="53" y="169"/>
                  </a:lnTo>
                  <a:lnTo>
                    <a:pt x="69" y="180"/>
                  </a:lnTo>
                  <a:close/>
                  <a:moveTo>
                    <a:pt x="40" y="199"/>
                  </a:moveTo>
                  <a:lnTo>
                    <a:pt x="63" y="184"/>
                  </a:lnTo>
                  <a:lnTo>
                    <a:pt x="44" y="171"/>
                  </a:lnTo>
                  <a:lnTo>
                    <a:pt x="40" y="199"/>
                  </a:lnTo>
                  <a:close/>
                  <a:moveTo>
                    <a:pt x="74" y="184"/>
                  </a:moveTo>
                  <a:lnTo>
                    <a:pt x="95" y="199"/>
                  </a:lnTo>
                  <a:lnTo>
                    <a:pt x="93" y="171"/>
                  </a:lnTo>
                  <a:lnTo>
                    <a:pt x="74" y="184"/>
                  </a:lnTo>
                  <a:close/>
                  <a:moveTo>
                    <a:pt x="44" y="203"/>
                  </a:moveTo>
                  <a:lnTo>
                    <a:pt x="69" y="226"/>
                  </a:lnTo>
                  <a:lnTo>
                    <a:pt x="91" y="203"/>
                  </a:lnTo>
                  <a:lnTo>
                    <a:pt x="69" y="187"/>
                  </a:lnTo>
                  <a:lnTo>
                    <a:pt x="44" y="203"/>
                  </a:lnTo>
                  <a:close/>
                  <a:moveTo>
                    <a:pt x="32" y="286"/>
                  </a:moveTo>
                  <a:lnTo>
                    <a:pt x="65" y="229"/>
                  </a:lnTo>
                  <a:lnTo>
                    <a:pt x="40" y="208"/>
                  </a:lnTo>
                  <a:lnTo>
                    <a:pt x="32" y="286"/>
                  </a:lnTo>
                  <a:close/>
                  <a:moveTo>
                    <a:pt x="70" y="229"/>
                  </a:moveTo>
                  <a:lnTo>
                    <a:pt x="106" y="288"/>
                  </a:lnTo>
                  <a:lnTo>
                    <a:pt x="97" y="206"/>
                  </a:lnTo>
                  <a:lnTo>
                    <a:pt x="70" y="229"/>
                  </a:lnTo>
                  <a:close/>
                  <a:moveTo>
                    <a:pt x="104" y="295"/>
                  </a:moveTo>
                  <a:lnTo>
                    <a:pt x="69" y="236"/>
                  </a:lnTo>
                  <a:lnTo>
                    <a:pt x="35" y="293"/>
                  </a:lnTo>
                  <a:lnTo>
                    <a:pt x="35" y="293"/>
                  </a:lnTo>
                  <a:lnTo>
                    <a:pt x="26" y="293"/>
                  </a:lnTo>
                  <a:lnTo>
                    <a:pt x="39" y="168"/>
                  </a:lnTo>
                  <a:lnTo>
                    <a:pt x="0" y="148"/>
                  </a:lnTo>
                  <a:lnTo>
                    <a:pt x="0" y="132"/>
                  </a:lnTo>
                  <a:lnTo>
                    <a:pt x="3" y="132"/>
                  </a:lnTo>
                  <a:lnTo>
                    <a:pt x="3" y="143"/>
                  </a:lnTo>
                  <a:lnTo>
                    <a:pt x="40" y="143"/>
                  </a:lnTo>
                  <a:lnTo>
                    <a:pt x="42" y="132"/>
                  </a:lnTo>
                  <a:lnTo>
                    <a:pt x="40" y="132"/>
                  </a:lnTo>
                  <a:lnTo>
                    <a:pt x="42" y="132"/>
                  </a:lnTo>
                  <a:lnTo>
                    <a:pt x="47" y="76"/>
                  </a:lnTo>
                  <a:lnTo>
                    <a:pt x="7" y="50"/>
                  </a:lnTo>
                  <a:lnTo>
                    <a:pt x="7" y="37"/>
                  </a:lnTo>
                  <a:lnTo>
                    <a:pt x="12" y="37"/>
                  </a:lnTo>
                  <a:lnTo>
                    <a:pt x="12" y="50"/>
                  </a:lnTo>
                  <a:lnTo>
                    <a:pt x="49" y="50"/>
                  </a:lnTo>
                  <a:lnTo>
                    <a:pt x="53" y="14"/>
                  </a:lnTo>
                  <a:lnTo>
                    <a:pt x="53" y="14"/>
                  </a:lnTo>
                  <a:lnTo>
                    <a:pt x="54" y="0"/>
                  </a:lnTo>
                  <a:lnTo>
                    <a:pt x="79" y="0"/>
                  </a:lnTo>
                  <a:lnTo>
                    <a:pt x="84" y="50"/>
                  </a:lnTo>
                  <a:lnTo>
                    <a:pt x="125" y="50"/>
                  </a:lnTo>
                  <a:lnTo>
                    <a:pt x="125" y="37"/>
                  </a:lnTo>
                  <a:lnTo>
                    <a:pt x="130" y="37"/>
                  </a:lnTo>
                  <a:lnTo>
                    <a:pt x="130" y="50"/>
                  </a:lnTo>
                  <a:lnTo>
                    <a:pt x="88" y="76"/>
                  </a:lnTo>
                  <a:lnTo>
                    <a:pt x="95" y="143"/>
                  </a:lnTo>
                  <a:lnTo>
                    <a:pt x="128" y="143"/>
                  </a:lnTo>
                  <a:lnTo>
                    <a:pt x="128" y="132"/>
                  </a:lnTo>
                  <a:lnTo>
                    <a:pt x="135" y="132"/>
                  </a:lnTo>
                  <a:lnTo>
                    <a:pt x="135" y="148"/>
                  </a:lnTo>
                  <a:lnTo>
                    <a:pt x="135" y="150"/>
                  </a:lnTo>
                  <a:lnTo>
                    <a:pt x="98" y="168"/>
                  </a:lnTo>
                  <a:lnTo>
                    <a:pt x="113" y="295"/>
                  </a:lnTo>
                  <a:lnTo>
                    <a:pt x="104" y="295"/>
                  </a:lnTo>
                  <a:close/>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en-IN" sz="1797" dirty="0">
                <a:solidFill>
                  <a:srgbClr val="646464"/>
                </a:solidFill>
                <a:latin typeface="EYInterstate" panose="02000503020000020004" pitchFamily="2" charset="0"/>
              </a:endParaRPr>
            </a:p>
          </p:txBody>
        </p:sp>
        <p:grpSp>
          <p:nvGrpSpPr>
            <p:cNvPr id="94" name="Group 93"/>
            <p:cNvGrpSpPr/>
            <p:nvPr/>
          </p:nvGrpSpPr>
          <p:grpSpPr>
            <a:xfrm>
              <a:off x="7200368" y="3447085"/>
              <a:ext cx="406400" cy="405710"/>
              <a:chOff x="7088076" y="3336315"/>
              <a:chExt cx="406400" cy="405710"/>
            </a:xfrm>
          </p:grpSpPr>
          <p:sp>
            <p:nvSpPr>
              <p:cNvPr id="18" name="Oval 17"/>
              <p:cNvSpPr/>
              <p:nvPr/>
            </p:nvSpPr>
            <p:spPr>
              <a:xfrm>
                <a:off x="7088076" y="3336315"/>
                <a:ext cx="406400" cy="405710"/>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55" name="Freeform 30"/>
              <p:cNvSpPr>
                <a:spLocks noChangeAspect="1" noEditPoints="1"/>
              </p:cNvSpPr>
              <p:nvPr/>
            </p:nvSpPr>
            <p:spPr bwMode="auto">
              <a:xfrm>
                <a:off x="7156337" y="3435661"/>
                <a:ext cx="264715" cy="199247"/>
              </a:xfrm>
              <a:custGeom>
                <a:avLst/>
                <a:gdLst>
                  <a:gd name="T0" fmla="*/ 2147483647 w 6336"/>
                  <a:gd name="T1" fmla="*/ 2147483647 h 4763"/>
                  <a:gd name="T2" fmla="*/ 2147483647 w 6336"/>
                  <a:gd name="T3" fmla="*/ 2147483647 h 4763"/>
                  <a:gd name="T4" fmla="*/ 2147483647 w 6336"/>
                  <a:gd name="T5" fmla="*/ 2147483647 h 4763"/>
                  <a:gd name="T6" fmla="*/ 2147483647 w 6336"/>
                  <a:gd name="T7" fmla="*/ 2147483647 h 4763"/>
                  <a:gd name="T8" fmla="*/ 2147483647 w 6336"/>
                  <a:gd name="T9" fmla="*/ 2147483647 h 4763"/>
                  <a:gd name="T10" fmla="*/ 2147483647 w 6336"/>
                  <a:gd name="T11" fmla="*/ 2147483647 h 4763"/>
                  <a:gd name="T12" fmla="*/ 2147483647 w 6336"/>
                  <a:gd name="T13" fmla="*/ 2147483647 h 4763"/>
                  <a:gd name="T14" fmla="*/ 2147483647 w 6336"/>
                  <a:gd name="T15" fmla="*/ 2147483647 h 4763"/>
                  <a:gd name="T16" fmla="*/ 2147483647 w 6336"/>
                  <a:gd name="T17" fmla="*/ 2147483647 h 4763"/>
                  <a:gd name="T18" fmla="*/ 2147483647 w 6336"/>
                  <a:gd name="T19" fmla="*/ 2147483647 h 4763"/>
                  <a:gd name="T20" fmla="*/ 2147483647 w 6336"/>
                  <a:gd name="T21" fmla="*/ 2147483647 h 4763"/>
                  <a:gd name="T22" fmla="*/ 2147483647 w 6336"/>
                  <a:gd name="T23" fmla="*/ 2147483647 h 4763"/>
                  <a:gd name="T24" fmla="*/ 2147483647 w 6336"/>
                  <a:gd name="T25" fmla="*/ 2147483647 h 4763"/>
                  <a:gd name="T26" fmla="*/ 2147483647 w 6336"/>
                  <a:gd name="T27" fmla="*/ 2147483647 h 4763"/>
                  <a:gd name="T28" fmla="*/ 2147483647 w 6336"/>
                  <a:gd name="T29" fmla="*/ 2147483647 h 4763"/>
                  <a:gd name="T30" fmla="*/ 2147483647 w 6336"/>
                  <a:gd name="T31" fmla="*/ 2147483647 h 4763"/>
                  <a:gd name="T32" fmla="*/ 2147483647 w 6336"/>
                  <a:gd name="T33" fmla="*/ 2147483647 h 4763"/>
                  <a:gd name="T34" fmla="*/ 2147483647 w 6336"/>
                  <a:gd name="T35" fmla="*/ 2147483647 h 4763"/>
                  <a:gd name="T36" fmla="*/ 2147483647 w 6336"/>
                  <a:gd name="T37" fmla="*/ 2147483647 h 4763"/>
                  <a:gd name="T38" fmla="*/ 2147483647 w 6336"/>
                  <a:gd name="T39" fmla="*/ 2147483647 h 4763"/>
                  <a:gd name="T40" fmla="*/ 2147483647 w 6336"/>
                  <a:gd name="T41" fmla="*/ 2147483647 h 4763"/>
                  <a:gd name="T42" fmla="*/ 2147483647 w 6336"/>
                  <a:gd name="T43" fmla="*/ 2147483647 h 4763"/>
                  <a:gd name="T44" fmla="*/ 2147483647 w 6336"/>
                  <a:gd name="T45" fmla="*/ 2147483647 h 4763"/>
                  <a:gd name="T46" fmla="*/ 2147483647 w 6336"/>
                  <a:gd name="T47" fmla="*/ 2147483647 h 4763"/>
                  <a:gd name="T48" fmla="*/ 2147483647 w 6336"/>
                  <a:gd name="T49" fmla="*/ 2147483647 h 4763"/>
                  <a:gd name="T50" fmla="*/ 2147483647 w 6336"/>
                  <a:gd name="T51" fmla="*/ 2147483647 h 4763"/>
                  <a:gd name="T52" fmla="*/ 2147483647 w 6336"/>
                  <a:gd name="T53" fmla="*/ 2147483647 h 4763"/>
                  <a:gd name="T54" fmla="*/ 2147483647 w 6336"/>
                  <a:gd name="T55" fmla="*/ 2147483647 h 4763"/>
                  <a:gd name="T56" fmla="*/ 2147483647 w 6336"/>
                  <a:gd name="T57" fmla="*/ 2147483647 h 4763"/>
                  <a:gd name="T58" fmla="*/ 2147483647 w 6336"/>
                  <a:gd name="T59" fmla="*/ 2147483647 h 4763"/>
                  <a:gd name="T60" fmla="*/ 2147483647 w 6336"/>
                  <a:gd name="T61" fmla="*/ 2147483647 h 4763"/>
                  <a:gd name="T62" fmla="*/ 2147483647 w 6336"/>
                  <a:gd name="T63" fmla="*/ 2147483647 h 4763"/>
                  <a:gd name="T64" fmla="*/ 2147483647 w 6336"/>
                  <a:gd name="T65" fmla="*/ 2147483647 h 4763"/>
                  <a:gd name="T66" fmla="*/ 2147483647 w 6336"/>
                  <a:gd name="T67" fmla="*/ 2147483647 h 4763"/>
                  <a:gd name="T68" fmla="*/ 2147483647 w 6336"/>
                  <a:gd name="T69" fmla="*/ 2147483647 h 4763"/>
                  <a:gd name="T70" fmla="*/ 2147483647 w 6336"/>
                  <a:gd name="T71" fmla="*/ 2147483647 h 4763"/>
                  <a:gd name="T72" fmla="*/ 2147483647 w 6336"/>
                  <a:gd name="T73" fmla="*/ 2147483647 h 4763"/>
                  <a:gd name="T74" fmla="*/ 2147483647 w 6336"/>
                  <a:gd name="T75" fmla="*/ 2147483647 h 4763"/>
                  <a:gd name="T76" fmla="*/ 2147483647 w 6336"/>
                  <a:gd name="T77" fmla="*/ 2147483647 h 4763"/>
                  <a:gd name="T78" fmla="*/ 2147483647 w 6336"/>
                  <a:gd name="T79" fmla="*/ 2147483647 h 4763"/>
                  <a:gd name="T80" fmla="*/ 2147483647 w 6336"/>
                  <a:gd name="T81" fmla="*/ 2147483647 h 4763"/>
                  <a:gd name="T82" fmla="*/ 2147483647 w 6336"/>
                  <a:gd name="T83" fmla="*/ 2147483647 h 4763"/>
                  <a:gd name="T84" fmla="*/ 2147483647 w 6336"/>
                  <a:gd name="T85" fmla="*/ 2147483647 h 4763"/>
                  <a:gd name="T86" fmla="*/ 0 w 6336"/>
                  <a:gd name="T87" fmla="*/ 2147483647 h 4763"/>
                  <a:gd name="T88" fmla="*/ 2147483647 w 6336"/>
                  <a:gd name="T89" fmla="*/ 2147483647 h 4763"/>
                  <a:gd name="T90" fmla="*/ 0 w 6336"/>
                  <a:gd name="T91" fmla="*/ 2147483647 h 4763"/>
                  <a:gd name="T92" fmla="*/ 2147483647 w 6336"/>
                  <a:gd name="T93" fmla="*/ 2147483647 h 4763"/>
                  <a:gd name="T94" fmla="*/ 2147483647 w 6336"/>
                  <a:gd name="T95" fmla="*/ 2147483647 h 4763"/>
                  <a:gd name="T96" fmla="*/ 2147483647 w 6336"/>
                  <a:gd name="T97" fmla="*/ 2147483647 h 4763"/>
                  <a:gd name="T98" fmla="*/ 2147483647 w 6336"/>
                  <a:gd name="T99" fmla="*/ 2147483647 h 4763"/>
                  <a:gd name="T100" fmla="*/ 2147483647 w 6336"/>
                  <a:gd name="T101" fmla="*/ 2147483647 h 4763"/>
                  <a:gd name="T102" fmla="*/ 2147483647 w 6336"/>
                  <a:gd name="T103" fmla="*/ 2147483647 h 4763"/>
                  <a:gd name="T104" fmla="*/ 2147483647 w 6336"/>
                  <a:gd name="T105" fmla="*/ 2147483647 h 4763"/>
                  <a:gd name="T106" fmla="*/ 2147483647 w 6336"/>
                  <a:gd name="T107" fmla="*/ 2147483647 h 4763"/>
                  <a:gd name="T108" fmla="*/ 2147483647 w 6336"/>
                  <a:gd name="T109" fmla="*/ 2147483647 h 4763"/>
                  <a:gd name="T110" fmla="*/ 2147483647 w 6336"/>
                  <a:gd name="T111" fmla="*/ 2147483647 h 4763"/>
                  <a:gd name="T112" fmla="*/ 2147483647 w 6336"/>
                  <a:gd name="T113" fmla="*/ 2147483647 h 4763"/>
                  <a:gd name="T114" fmla="*/ 2147483647 w 6336"/>
                  <a:gd name="T115" fmla="*/ 2147483647 h 4763"/>
                  <a:gd name="T116" fmla="*/ 2147483647 w 6336"/>
                  <a:gd name="T117" fmla="*/ 2147483647 h 4763"/>
                  <a:gd name="T118" fmla="*/ 2147483647 w 6336"/>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36"/>
                  <a:gd name="T181" fmla="*/ 0 h 4763"/>
                  <a:gd name="T182" fmla="*/ 6336 w 6336"/>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36" h="4763">
                    <a:moveTo>
                      <a:pt x="1772" y="3695"/>
                    </a:moveTo>
                    <a:lnTo>
                      <a:pt x="109" y="2820"/>
                    </a:lnTo>
                    <a:lnTo>
                      <a:pt x="109" y="2672"/>
                    </a:lnTo>
                    <a:lnTo>
                      <a:pt x="1772" y="3547"/>
                    </a:lnTo>
                    <a:lnTo>
                      <a:pt x="1772" y="3695"/>
                    </a:lnTo>
                    <a:close/>
                    <a:moveTo>
                      <a:pt x="3814" y="1925"/>
                    </a:moveTo>
                    <a:lnTo>
                      <a:pt x="4488" y="1668"/>
                    </a:lnTo>
                    <a:lnTo>
                      <a:pt x="2515" y="608"/>
                    </a:lnTo>
                    <a:lnTo>
                      <a:pt x="1795" y="857"/>
                    </a:lnTo>
                    <a:lnTo>
                      <a:pt x="3814" y="1925"/>
                    </a:lnTo>
                    <a:close/>
                    <a:moveTo>
                      <a:pt x="4541" y="1785"/>
                    </a:moveTo>
                    <a:lnTo>
                      <a:pt x="3830" y="2056"/>
                    </a:lnTo>
                    <a:lnTo>
                      <a:pt x="3830" y="4109"/>
                    </a:lnTo>
                    <a:lnTo>
                      <a:pt x="4501" y="3874"/>
                    </a:lnTo>
                    <a:lnTo>
                      <a:pt x="4541" y="1785"/>
                    </a:lnTo>
                    <a:close/>
                    <a:moveTo>
                      <a:pt x="2218" y="1229"/>
                    </a:moveTo>
                    <a:lnTo>
                      <a:pt x="2218" y="1229"/>
                    </a:lnTo>
                    <a:lnTo>
                      <a:pt x="2183" y="1250"/>
                    </a:lnTo>
                    <a:lnTo>
                      <a:pt x="2148" y="1271"/>
                    </a:lnTo>
                    <a:lnTo>
                      <a:pt x="2116" y="1291"/>
                    </a:lnTo>
                    <a:lnTo>
                      <a:pt x="2084" y="1312"/>
                    </a:lnTo>
                    <a:lnTo>
                      <a:pt x="2056" y="1333"/>
                    </a:lnTo>
                    <a:lnTo>
                      <a:pt x="2030" y="1354"/>
                    </a:lnTo>
                    <a:lnTo>
                      <a:pt x="2005" y="1374"/>
                    </a:lnTo>
                    <a:lnTo>
                      <a:pt x="1982" y="1395"/>
                    </a:lnTo>
                    <a:lnTo>
                      <a:pt x="1961" y="1416"/>
                    </a:lnTo>
                    <a:lnTo>
                      <a:pt x="1944" y="1435"/>
                    </a:lnTo>
                    <a:lnTo>
                      <a:pt x="1928" y="1456"/>
                    </a:lnTo>
                    <a:lnTo>
                      <a:pt x="1914" y="1476"/>
                    </a:lnTo>
                    <a:lnTo>
                      <a:pt x="1904" y="1496"/>
                    </a:lnTo>
                    <a:lnTo>
                      <a:pt x="1894" y="1515"/>
                    </a:lnTo>
                    <a:lnTo>
                      <a:pt x="1888" y="1536"/>
                    </a:lnTo>
                    <a:lnTo>
                      <a:pt x="1885" y="1553"/>
                    </a:lnTo>
                    <a:lnTo>
                      <a:pt x="1885" y="1569"/>
                    </a:lnTo>
                    <a:lnTo>
                      <a:pt x="1886" y="1587"/>
                    </a:lnTo>
                    <a:lnTo>
                      <a:pt x="1890" y="1603"/>
                    </a:lnTo>
                    <a:lnTo>
                      <a:pt x="1898" y="1619"/>
                    </a:lnTo>
                    <a:lnTo>
                      <a:pt x="1907" y="1634"/>
                    </a:lnTo>
                    <a:lnTo>
                      <a:pt x="1920" y="1650"/>
                    </a:lnTo>
                    <a:lnTo>
                      <a:pt x="1936" y="1666"/>
                    </a:lnTo>
                    <a:lnTo>
                      <a:pt x="1955" y="1681"/>
                    </a:lnTo>
                    <a:lnTo>
                      <a:pt x="1976" y="1695"/>
                    </a:lnTo>
                    <a:lnTo>
                      <a:pt x="2001" y="1710"/>
                    </a:lnTo>
                    <a:lnTo>
                      <a:pt x="2032" y="1724"/>
                    </a:lnTo>
                    <a:lnTo>
                      <a:pt x="2064" y="1737"/>
                    </a:lnTo>
                    <a:lnTo>
                      <a:pt x="2100" y="1748"/>
                    </a:lnTo>
                    <a:lnTo>
                      <a:pt x="2140" y="1759"/>
                    </a:lnTo>
                    <a:lnTo>
                      <a:pt x="2185" y="1769"/>
                    </a:lnTo>
                    <a:lnTo>
                      <a:pt x="2234" y="1778"/>
                    </a:lnTo>
                    <a:lnTo>
                      <a:pt x="2282" y="1785"/>
                    </a:lnTo>
                    <a:lnTo>
                      <a:pt x="2333" y="1791"/>
                    </a:lnTo>
                    <a:lnTo>
                      <a:pt x="2386" y="1796"/>
                    </a:lnTo>
                    <a:lnTo>
                      <a:pt x="2440" y="1797"/>
                    </a:lnTo>
                    <a:lnTo>
                      <a:pt x="2496" y="1799"/>
                    </a:lnTo>
                    <a:lnTo>
                      <a:pt x="2554" y="1799"/>
                    </a:lnTo>
                    <a:lnTo>
                      <a:pt x="2611" y="1799"/>
                    </a:lnTo>
                    <a:lnTo>
                      <a:pt x="2670" y="1796"/>
                    </a:lnTo>
                    <a:lnTo>
                      <a:pt x="2731" y="1791"/>
                    </a:lnTo>
                    <a:lnTo>
                      <a:pt x="2791" y="1786"/>
                    </a:lnTo>
                    <a:lnTo>
                      <a:pt x="2854" y="1780"/>
                    </a:lnTo>
                    <a:lnTo>
                      <a:pt x="2914" y="1772"/>
                    </a:lnTo>
                    <a:lnTo>
                      <a:pt x="2976" y="1764"/>
                    </a:lnTo>
                    <a:lnTo>
                      <a:pt x="3040" y="1754"/>
                    </a:lnTo>
                    <a:lnTo>
                      <a:pt x="3103" y="1743"/>
                    </a:lnTo>
                    <a:lnTo>
                      <a:pt x="3165" y="1730"/>
                    </a:lnTo>
                    <a:lnTo>
                      <a:pt x="2218" y="1229"/>
                    </a:lnTo>
                    <a:close/>
                    <a:moveTo>
                      <a:pt x="4258" y="1084"/>
                    </a:moveTo>
                    <a:lnTo>
                      <a:pt x="4258" y="1084"/>
                    </a:lnTo>
                    <a:lnTo>
                      <a:pt x="4252" y="1073"/>
                    </a:lnTo>
                    <a:lnTo>
                      <a:pt x="4244" y="1060"/>
                    </a:lnTo>
                    <a:lnTo>
                      <a:pt x="4234" y="1049"/>
                    </a:lnTo>
                    <a:lnTo>
                      <a:pt x="4223" y="1038"/>
                    </a:lnTo>
                    <a:lnTo>
                      <a:pt x="4210" y="1026"/>
                    </a:lnTo>
                    <a:lnTo>
                      <a:pt x="4196" y="1015"/>
                    </a:lnTo>
                    <a:lnTo>
                      <a:pt x="4180" y="1004"/>
                    </a:lnTo>
                    <a:lnTo>
                      <a:pt x="4162" y="994"/>
                    </a:lnTo>
                    <a:lnTo>
                      <a:pt x="4143" y="985"/>
                    </a:lnTo>
                    <a:lnTo>
                      <a:pt x="4122" y="975"/>
                    </a:lnTo>
                    <a:lnTo>
                      <a:pt x="4078" y="958"/>
                    </a:lnTo>
                    <a:lnTo>
                      <a:pt x="4027" y="942"/>
                    </a:lnTo>
                    <a:lnTo>
                      <a:pt x="3969" y="929"/>
                    </a:lnTo>
                    <a:lnTo>
                      <a:pt x="3907" y="918"/>
                    </a:lnTo>
                    <a:lnTo>
                      <a:pt x="3841" y="908"/>
                    </a:lnTo>
                    <a:lnTo>
                      <a:pt x="3770" y="900"/>
                    </a:lnTo>
                    <a:lnTo>
                      <a:pt x="3693" y="897"/>
                    </a:lnTo>
                    <a:lnTo>
                      <a:pt x="3613" y="895"/>
                    </a:lnTo>
                    <a:lnTo>
                      <a:pt x="3529" y="895"/>
                    </a:lnTo>
                    <a:lnTo>
                      <a:pt x="3441" y="900"/>
                    </a:lnTo>
                    <a:lnTo>
                      <a:pt x="3348" y="908"/>
                    </a:lnTo>
                    <a:lnTo>
                      <a:pt x="4132" y="1328"/>
                    </a:lnTo>
                    <a:lnTo>
                      <a:pt x="4154" y="1309"/>
                    </a:lnTo>
                    <a:lnTo>
                      <a:pt x="4173" y="1290"/>
                    </a:lnTo>
                    <a:lnTo>
                      <a:pt x="4191" y="1272"/>
                    </a:lnTo>
                    <a:lnTo>
                      <a:pt x="4207" y="1253"/>
                    </a:lnTo>
                    <a:lnTo>
                      <a:pt x="4220" y="1235"/>
                    </a:lnTo>
                    <a:lnTo>
                      <a:pt x="4233" y="1219"/>
                    </a:lnTo>
                    <a:lnTo>
                      <a:pt x="4242" y="1204"/>
                    </a:lnTo>
                    <a:lnTo>
                      <a:pt x="4250" y="1188"/>
                    </a:lnTo>
                    <a:lnTo>
                      <a:pt x="4256" y="1172"/>
                    </a:lnTo>
                    <a:lnTo>
                      <a:pt x="4261" y="1157"/>
                    </a:lnTo>
                    <a:lnTo>
                      <a:pt x="4263" y="1144"/>
                    </a:lnTo>
                    <a:lnTo>
                      <a:pt x="4264" y="1130"/>
                    </a:lnTo>
                    <a:lnTo>
                      <a:pt x="4266" y="1117"/>
                    </a:lnTo>
                    <a:lnTo>
                      <a:pt x="4264" y="1106"/>
                    </a:lnTo>
                    <a:lnTo>
                      <a:pt x="4261" y="1095"/>
                    </a:lnTo>
                    <a:lnTo>
                      <a:pt x="4258" y="1084"/>
                    </a:lnTo>
                    <a:close/>
                    <a:moveTo>
                      <a:pt x="1997" y="1111"/>
                    </a:moveTo>
                    <a:lnTo>
                      <a:pt x="383" y="1655"/>
                    </a:lnTo>
                    <a:lnTo>
                      <a:pt x="1933" y="2482"/>
                    </a:lnTo>
                    <a:lnTo>
                      <a:pt x="3516" y="1915"/>
                    </a:lnTo>
                    <a:lnTo>
                      <a:pt x="3342" y="1824"/>
                    </a:lnTo>
                    <a:lnTo>
                      <a:pt x="3269" y="1842"/>
                    </a:lnTo>
                    <a:lnTo>
                      <a:pt x="3194" y="1858"/>
                    </a:lnTo>
                    <a:lnTo>
                      <a:pt x="3119" y="1872"/>
                    </a:lnTo>
                    <a:lnTo>
                      <a:pt x="3044" y="1885"/>
                    </a:lnTo>
                    <a:lnTo>
                      <a:pt x="2969" y="1898"/>
                    </a:lnTo>
                    <a:lnTo>
                      <a:pt x="2893" y="1907"/>
                    </a:lnTo>
                    <a:lnTo>
                      <a:pt x="2820" y="1915"/>
                    </a:lnTo>
                    <a:lnTo>
                      <a:pt x="2747" y="1922"/>
                    </a:lnTo>
                    <a:lnTo>
                      <a:pt x="2675" y="1927"/>
                    </a:lnTo>
                    <a:lnTo>
                      <a:pt x="2603" y="1930"/>
                    </a:lnTo>
                    <a:lnTo>
                      <a:pt x="2534" y="1931"/>
                    </a:lnTo>
                    <a:lnTo>
                      <a:pt x="2466" y="1930"/>
                    </a:lnTo>
                    <a:lnTo>
                      <a:pt x="2399" y="1927"/>
                    </a:lnTo>
                    <a:lnTo>
                      <a:pt x="2335" y="1923"/>
                    </a:lnTo>
                    <a:lnTo>
                      <a:pt x="2273" y="1915"/>
                    </a:lnTo>
                    <a:lnTo>
                      <a:pt x="2212" y="1907"/>
                    </a:lnTo>
                    <a:lnTo>
                      <a:pt x="2166" y="1899"/>
                    </a:lnTo>
                    <a:lnTo>
                      <a:pt x="2118" y="1888"/>
                    </a:lnTo>
                    <a:lnTo>
                      <a:pt x="2073" y="1877"/>
                    </a:lnTo>
                    <a:lnTo>
                      <a:pt x="2030" y="1863"/>
                    </a:lnTo>
                    <a:lnTo>
                      <a:pt x="1989" y="1847"/>
                    </a:lnTo>
                    <a:lnTo>
                      <a:pt x="1949" y="1829"/>
                    </a:lnTo>
                    <a:lnTo>
                      <a:pt x="1912" y="1810"/>
                    </a:lnTo>
                    <a:lnTo>
                      <a:pt x="1878" y="1788"/>
                    </a:lnTo>
                    <a:lnTo>
                      <a:pt x="1848" y="1764"/>
                    </a:lnTo>
                    <a:lnTo>
                      <a:pt x="1834" y="1753"/>
                    </a:lnTo>
                    <a:lnTo>
                      <a:pt x="1821" y="1738"/>
                    </a:lnTo>
                    <a:lnTo>
                      <a:pt x="1808" y="1725"/>
                    </a:lnTo>
                    <a:lnTo>
                      <a:pt x="1799" y="1711"/>
                    </a:lnTo>
                    <a:lnTo>
                      <a:pt x="1787" y="1697"/>
                    </a:lnTo>
                    <a:lnTo>
                      <a:pt x="1780" y="1681"/>
                    </a:lnTo>
                    <a:lnTo>
                      <a:pt x="1772" y="1665"/>
                    </a:lnTo>
                    <a:lnTo>
                      <a:pt x="1765" y="1649"/>
                    </a:lnTo>
                    <a:lnTo>
                      <a:pt x="1760" y="1631"/>
                    </a:lnTo>
                    <a:lnTo>
                      <a:pt x="1757" y="1614"/>
                    </a:lnTo>
                    <a:lnTo>
                      <a:pt x="1754" y="1596"/>
                    </a:lnTo>
                    <a:lnTo>
                      <a:pt x="1752" y="1577"/>
                    </a:lnTo>
                    <a:lnTo>
                      <a:pt x="1752" y="1558"/>
                    </a:lnTo>
                    <a:lnTo>
                      <a:pt x="1754" y="1539"/>
                    </a:lnTo>
                    <a:lnTo>
                      <a:pt x="1759" y="1512"/>
                    </a:lnTo>
                    <a:lnTo>
                      <a:pt x="1765" y="1486"/>
                    </a:lnTo>
                    <a:lnTo>
                      <a:pt x="1775" y="1461"/>
                    </a:lnTo>
                    <a:lnTo>
                      <a:pt x="1786" y="1435"/>
                    </a:lnTo>
                    <a:lnTo>
                      <a:pt x="1800" y="1411"/>
                    </a:lnTo>
                    <a:lnTo>
                      <a:pt x="1816" y="1385"/>
                    </a:lnTo>
                    <a:lnTo>
                      <a:pt x="1834" y="1362"/>
                    </a:lnTo>
                    <a:lnTo>
                      <a:pt x="1855" y="1338"/>
                    </a:lnTo>
                    <a:lnTo>
                      <a:pt x="1875" y="1314"/>
                    </a:lnTo>
                    <a:lnTo>
                      <a:pt x="1899" y="1290"/>
                    </a:lnTo>
                    <a:lnTo>
                      <a:pt x="1926" y="1266"/>
                    </a:lnTo>
                    <a:lnTo>
                      <a:pt x="1953" y="1243"/>
                    </a:lnTo>
                    <a:lnTo>
                      <a:pt x="1982" y="1221"/>
                    </a:lnTo>
                    <a:lnTo>
                      <a:pt x="2013" y="1199"/>
                    </a:lnTo>
                    <a:lnTo>
                      <a:pt x="2046" y="1176"/>
                    </a:lnTo>
                    <a:lnTo>
                      <a:pt x="2080" y="1156"/>
                    </a:lnTo>
                    <a:lnTo>
                      <a:pt x="1997" y="1111"/>
                    </a:lnTo>
                    <a:close/>
                    <a:moveTo>
                      <a:pt x="2753" y="587"/>
                    </a:moveTo>
                    <a:lnTo>
                      <a:pt x="4496" y="0"/>
                    </a:lnTo>
                    <a:lnTo>
                      <a:pt x="6307" y="926"/>
                    </a:lnTo>
                    <a:lnTo>
                      <a:pt x="6307" y="1188"/>
                    </a:lnTo>
                    <a:lnTo>
                      <a:pt x="4671" y="1773"/>
                    </a:lnTo>
                    <a:lnTo>
                      <a:pt x="4667" y="2011"/>
                    </a:lnTo>
                    <a:lnTo>
                      <a:pt x="6221" y="1456"/>
                    </a:lnTo>
                    <a:lnTo>
                      <a:pt x="6221" y="1596"/>
                    </a:lnTo>
                    <a:lnTo>
                      <a:pt x="4665" y="2150"/>
                    </a:lnTo>
                    <a:lnTo>
                      <a:pt x="4662" y="2340"/>
                    </a:lnTo>
                    <a:lnTo>
                      <a:pt x="6336" y="1743"/>
                    </a:lnTo>
                    <a:lnTo>
                      <a:pt x="6336" y="1882"/>
                    </a:lnTo>
                    <a:lnTo>
                      <a:pt x="4659" y="2480"/>
                    </a:lnTo>
                    <a:lnTo>
                      <a:pt x="4655" y="2670"/>
                    </a:lnTo>
                    <a:lnTo>
                      <a:pt x="6218" y="2113"/>
                    </a:lnTo>
                    <a:lnTo>
                      <a:pt x="6218" y="2252"/>
                    </a:lnTo>
                    <a:lnTo>
                      <a:pt x="4652" y="2811"/>
                    </a:lnTo>
                    <a:lnTo>
                      <a:pt x="4649" y="2999"/>
                    </a:lnTo>
                    <a:lnTo>
                      <a:pt x="6336" y="2397"/>
                    </a:lnTo>
                    <a:lnTo>
                      <a:pt x="6336" y="2538"/>
                    </a:lnTo>
                    <a:lnTo>
                      <a:pt x="4646" y="3140"/>
                    </a:lnTo>
                    <a:lnTo>
                      <a:pt x="4643" y="3330"/>
                    </a:lnTo>
                    <a:lnTo>
                      <a:pt x="6223" y="2766"/>
                    </a:lnTo>
                    <a:lnTo>
                      <a:pt x="6223" y="2905"/>
                    </a:lnTo>
                    <a:lnTo>
                      <a:pt x="4639" y="3470"/>
                    </a:lnTo>
                    <a:lnTo>
                      <a:pt x="4636" y="3658"/>
                    </a:lnTo>
                    <a:lnTo>
                      <a:pt x="6336" y="3053"/>
                    </a:lnTo>
                    <a:lnTo>
                      <a:pt x="6336" y="3192"/>
                    </a:lnTo>
                    <a:lnTo>
                      <a:pt x="4633" y="3799"/>
                    </a:lnTo>
                    <a:lnTo>
                      <a:pt x="4630" y="3968"/>
                    </a:lnTo>
                    <a:lnTo>
                      <a:pt x="3699" y="4294"/>
                    </a:lnTo>
                    <a:lnTo>
                      <a:pt x="3699" y="4133"/>
                    </a:lnTo>
                    <a:lnTo>
                      <a:pt x="1933" y="4763"/>
                    </a:lnTo>
                    <a:lnTo>
                      <a:pt x="0" y="3745"/>
                    </a:lnTo>
                    <a:lnTo>
                      <a:pt x="0" y="3596"/>
                    </a:lnTo>
                    <a:lnTo>
                      <a:pt x="1944" y="4619"/>
                    </a:lnTo>
                    <a:lnTo>
                      <a:pt x="3699" y="3994"/>
                    </a:lnTo>
                    <a:lnTo>
                      <a:pt x="3699" y="3805"/>
                    </a:lnTo>
                    <a:lnTo>
                      <a:pt x="1933" y="4436"/>
                    </a:lnTo>
                    <a:lnTo>
                      <a:pt x="109" y="3475"/>
                    </a:lnTo>
                    <a:lnTo>
                      <a:pt x="109" y="3326"/>
                    </a:lnTo>
                    <a:lnTo>
                      <a:pt x="1944" y="4292"/>
                    </a:lnTo>
                    <a:lnTo>
                      <a:pt x="3699" y="3666"/>
                    </a:lnTo>
                    <a:lnTo>
                      <a:pt x="3699" y="3478"/>
                    </a:lnTo>
                    <a:lnTo>
                      <a:pt x="1933" y="4107"/>
                    </a:lnTo>
                    <a:lnTo>
                      <a:pt x="0" y="3090"/>
                    </a:lnTo>
                    <a:lnTo>
                      <a:pt x="0" y="2942"/>
                    </a:lnTo>
                    <a:lnTo>
                      <a:pt x="1944" y="3965"/>
                    </a:lnTo>
                    <a:lnTo>
                      <a:pt x="3699" y="3338"/>
                    </a:lnTo>
                    <a:lnTo>
                      <a:pt x="3699" y="3149"/>
                    </a:lnTo>
                    <a:lnTo>
                      <a:pt x="1947" y="3775"/>
                    </a:lnTo>
                    <a:lnTo>
                      <a:pt x="1947" y="3636"/>
                    </a:lnTo>
                    <a:lnTo>
                      <a:pt x="3699" y="3010"/>
                    </a:lnTo>
                    <a:lnTo>
                      <a:pt x="3699" y="2822"/>
                    </a:lnTo>
                    <a:lnTo>
                      <a:pt x="1933" y="3453"/>
                    </a:lnTo>
                    <a:lnTo>
                      <a:pt x="0" y="2434"/>
                    </a:lnTo>
                    <a:lnTo>
                      <a:pt x="0" y="2286"/>
                    </a:lnTo>
                    <a:lnTo>
                      <a:pt x="1944" y="3309"/>
                    </a:lnTo>
                    <a:lnTo>
                      <a:pt x="3699" y="2683"/>
                    </a:lnTo>
                    <a:lnTo>
                      <a:pt x="3699" y="2495"/>
                    </a:lnTo>
                    <a:lnTo>
                      <a:pt x="2089" y="3069"/>
                    </a:lnTo>
                    <a:lnTo>
                      <a:pt x="2089" y="2931"/>
                    </a:lnTo>
                    <a:lnTo>
                      <a:pt x="3699" y="2356"/>
                    </a:lnTo>
                    <a:lnTo>
                      <a:pt x="3699" y="2121"/>
                    </a:lnTo>
                    <a:lnTo>
                      <a:pt x="1914" y="2760"/>
                    </a:lnTo>
                    <a:lnTo>
                      <a:pt x="26" y="1754"/>
                    </a:lnTo>
                    <a:lnTo>
                      <a:pt x="26" y="1507"/>
                    </a:lnTo>
                    <a:lnTo>
                      <a:pt x="1465" y="1022"/>
                    </a:lnTo>
                    <a:lnTo>
                      <a:pt x="1465" y="832"/>
                    </a:lnTo>
                    <a:lnTo>
                      <a:pt x="1468" y="832"/>
                    </a:lnTo>
                    <a:lnTo>
                      <a:pt x="2526" y="466"/>
                    </a:lnTo>
                    <a:lnTo>
                      <a:pt x="2753" y="587"/>
                    </a:lnTo>
                    <a:close/>
                    <a:moveTo>
                      <a:pt x="4475" y="276"/>
                    </a:moveTo>
                    <a:lnTo>
                      <a:pt x="3061" y="753"/>
                    </a:lnTo>
                    <a:lnTo>
                      <a:pt x="3154" y="803"/>
                    </a:lnTo>
                    <a:lnTo>
                      <a:pt x="3259" y="789"/>
                    </a:lnTo>
                    <a:lnTo>
                      <a:pt x="3364" y="777"/>
                    </a:lnTo>
                    <a:lnTo>
                      <a:pt x="3466" y="769"/>
                    </a:lnTo>
                    <a:lnTo>
                      <a:pt x="3567" y="765"/>
                    </a:lnTo>
                    <a:lnTo>
                      <a:pt x="3666" y="765"/>
                    </a:lnTo>
                    <a:lnTo>
                      <a:pt x="3712" y="765"/>
                    </a:lnTo>
                    <a:lnTo>
                      <a:pt x="3760" y="768"/>
                    </a:lnTo>
                    <a:lnTo>
                      <a:pt x="3805" y="771"/>
                    </a:lnTo>
                    <a:lnTo>
                      <a:pt x="3849" y="774"/>
                    </a:lnTo>
                    <a:lnTo>
                      <a:pt x="3894" y="779"/>
                    </a:lnTo>
                    <a:lnTo>
                      <a:pt x="3936" y="785"/>
                    </a:lnTo>
                    <a:lnTo>
                      <a:pt x="3977" y="792"/>
                    </a:lnTo>
                    <a:lnTo>
                      <a:pt x="4015" y="801"/>
                    </a:lnTo>
                    <a:lnTo>
                      <a:pt x="4054" y="809"/>
                    </a:lnTo>
                    <a:lnTo>
                      <a:pt x="4090" y="820"/>
                    </a:lnTo>
                    <a:lnTo>
                      <a:pt x="4126" y="832"/>
                    </a:lnTo>
                    <a:lnTo>
                      <a:pt x="4158" y="844"/>
                    </a:lnTo>
                    <a:lnTo>
                      <a:pt x="4189" y="857"/>
                    </a:lnTo>
                    <a:lnTo>
                      <a:pt x="4220" y="873"/>
                    </a:lnTo>
                    <a:lnTo>
                      <a:pt x="4247" y="889"/>
                    </a:lnTo>
                    <a:lnTo>
                      <a:pt x="4272" y="905"/>
                    </a:lnTo>
                    <a:lnTo>
                      <a:pt x="4295" y="924"/>
                    </a:lnTo>
                    <a:lnTo>
                      <a:pt x="4317" y="943"/>
                    </a:lnTo>
                    <a:lnTo>
                      <a:pt x="4336" y="964"/>
                    </a:lnTo>
                    <a:lnTo>
                      <a:pt x="4352" y="986"/>
                    </a:lnTo>
                    <a:lnTo>
                      <a:pt x="4367" y="1009"/>
                    </a:lnTo>
                    <a:lnTo>
                      <a:pt x="4379" y="1033"/>
                    </a:lnTo>
                    <a:lnTo>
                      <a:pt x="4387" y="1057"/>
                    </a:lnTo>
                    <a:lnTo>
                      <a:pt x="4394" y="1081"/>
                    </a:lnTo>
                    <a:lnTo>
                      <a:pt x="4397" y="1103"/>
                    </a:lnTo>
                    <a:lnTo>
                      <a:pt x="4397" y="1127"/>
                    </a:lnTo>
                    <a:lnTo>
                      <a:pt x="4397" y="1149"/>
                    </a:lnTo>
                    <a:lnTo>
                      <a:pt x="4392" y="1173"/>
                    </a:lnTo>
                    <a:lnTo>
                      <a:pt x="4387" y="1196"/>
                    </a:lnTo>
                    <a:lnTo>
                      <a:pt x="4379" y="1219"/>
                    </a:lnTo>
                    <a:lnTo>
                      <a:pt x="4370" y="1242"/>
                    </a:lnTo>
                    <a:lnTo>
                      <a:pt x="4359" y="1264"/>
                    </a:lnTo>
                    <a:lnTo>
                      <a:pt x="4344" y="1287"/>
                    </a:lnTo>
                    <a:lnTo>
                      <a:pt x="4330" y="1309"/>
                    </a:lnTo>
                    <a:lnTo>
                      <a:pt x="4312" y="1331"/>
                    </a:lnTo>
                    <a:lnTo>
                      <a:pt x="4295" y="1352"/>
                    </a:lnTo>
                    <a:lnTo>
                      <a:pt x="4276" y="1373"/>
                    </a:lnTo>
                    <a:lnTo>
                      <a:pt x="4255" y="1393"/>
                    </a:lnTo>
                    <a:lnTo>
                      <a:pt x="4542" y="1548"/>
                    </a:lnTo>
                    <a:lnTo>
                      <a:pt x="5967" y="1038"/>
                    </a:lnTo>
                    <a:lnTo>
                      <a:pt x="4475" y="276"/>
                    </a:lnTo>
                    <a:close/>
                    <a:moveTo>
                      <a:pt x="1912" y="3114"/>
                    </a:moveTo>
                    <a:lnTo>
                      <a:pt x="94" y="2156"/>
                    </a:lnTo>
                    <a:lnTo>
                      <a:pt x="94" y="2008"/>
                    </a:lnTo>
                    <a:lnTo>
                      <a:pt x="1912" y="2966"/>
                    </a:lnTo>
                    <a:lnTo>
                      <a:pt x="1912" y="3114"/>
                    </a:lnTo>
                    <a:close/>
                  </a:path>
                </a:pathLst>
              </a:custGeom>
              <a:solidFill>
                <a:schemeClr val="tx2"/>
              </a:solidFill>
              <a:ln>
                <a:noFill/>
              </a:ln>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grpSp>
        <p:grpSp>
          <p:nvGrpSpPr>
            <p:cNvPr id="93" name="Group 92"/>
            <p:cNvGrpSpPr/>
            <p:nvPr/>
          </p:nvGrpSpPr>
          <p:grpSpPr>
            <a:xfrm>
              <a:off x="6658967" y="4478641"/>
              <a:ext cx="369455" cy="368827"/>
              <a:chOff x="6799598" y="4248408"/>
              <a:chExt cx="369455" cy="368827"/>
            </a:xfrm>
          </p:grpSpPr>
          <p:sp>
            <p:nvSpPr>
              <p:cNvPr id="16" name="Oval 15"/>
              <p:cNvSpPr/>
              <p:nvPr/>
            </p:nvSpPr>
            <p:spPr>
              <a:xfrm>
                <a:off x="6799598" y="4248408"/>
                <a:ext cx="369455" cy="368827"/>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grpSp>
            <p:nvGrpSpPr>
              <p:cNvPr id="56" name="Gruppieren 92"/>
              <p:cNvGrpSpPr/>
              <p:nvPr/>
            </p:nvGrpSpPr>
            <p:grpSpPr>
              <a:xfrm>
                <a:off x="6894435" y="4301289"/>
                <a:ext cx="205676" cy="241054"/>
                <a:chOff x="2130425" y="2852738"/>
                <a:chExt cx="2178050" cy="2552701"/>
              </a:xfrm>
              <a:solidFill>
                <a:schemeClr val="tx1"/>
              </a:solidFill>
            </p:grpSpPr>
            <p:sp>
              <p:nvSpPr>
                <p:cNvPr id="57" name="Freeform 22"/>
                <p:cNvSpPr>
                  <a:spLocks/>
                </p:cNvSpPr>
                <p:nvPr/>
              </p:nvSpPr>
              <p:spPr bwMode="auto">
                <a:xfrm>
                  <a:off x="2130425" y="3776663"/>
                  <a:ext cx="2178050" cy="1285875"/>
                </a:xfrm>
                <a:custGeom>
                  <a:avLst/>
                  <a:gdLst>
                    <a:gd name="T0" fmla="*/ 704 w 2744"/>
                    <a:gd name="T1" fmla="*/ 1100 h 1621"/>
                    <a:gd name="T2" fmla="*/ 999 w 2744"/>
                    <a:gd name="T3" fmla="*/ 1402 h 1621"/>
                    <a:gd name="T4" fmla="*/ 1464 w 2744"/>
                    <a:gd name="T5" fmla="*/ 642 h 1621"/>
                    <a:gd name="T6" fmla="*/ 2055 w 2744"/>
                    <a:gd name="T7" fmla="*/ 1170 h 1621"/>
                    <a:gd name="T8" fmla="*/ 2744 w 2744"/>
                    <a:gd name="T9" fmla="*/ 268 h 1621"/>
                    <a:gd name="T10" fmla="*/ 2706 w 2744"/>
                    <a:gd name="T11" fmla="*/ 0 h 1621"/>
                    <a:gd name="T12" fmla="*/ 2439 w 2744"/>
                    <a:gd name="T13" fmla="*/ 38 h 1621"/>
                    <a:gd name="T14" fmla="*/ 1849 w 2744"/>
                    <a:gd name="T15" fmla="*/ 803 h 1621"/>
                    <a:gd name="T16" fmla="*/ 1433 w 2744"/>
                    <a:gd name="T17" fmla="*/ 436 h 1621"/>
                    <a:gd name="T18" fmla="*/ 975 w 2744"/>
                    <a:gd name="T19" fmla="*/ 1187 h 1621"/>
                    <a:gd name="T20" fmla="*/ 692 w 2744"/>
                    <a:gd name="T21" fmla="*/ 895 h 1621"/>
                    <a:gd name="T22" fmla="*/ 282 w 2744"/>
                    <a:gd name="T23" fmla="*/ 1435 h 1621"/>
                    <a:gd name="T24" fmla="*/ 0 w 2744"/>
                    <a:gd name="T25" fmla="*/ 1222 h 1621"/>
                    <a:gd name="T26" fmla="*/ 0 w 2744"/>
                    <a:gd name="T27" fmla="*/ 1389 h 1621"/>
                    <a:gd name="T28" fmla="*/ 309 w 2744"/>
                    <a:gd name="T29" fmla="*/ 1621 h 1621"/>
                    <a:gd name="T30" fmla="*/ 704 w 2744"/>
                    <a:gd name="T31" fmla="*/ 1100 h 1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44" h="1621">
                      <a:moveTo>
                        <a:pt x="704" y="1100"/>
                      </a:moveTo>
                      <a:lnTo>
                        <a:pt x="999" y="1402"/>
                      </a:lnTo>
                      <a:lnTo>
                        <a:pt x="1464" y="642"/>
                      </a:lnTo>
                      <a:lnTo>
                        <a:pt x="2055" y="1170"/>
                      </a:lnTo>
                      <a:lnTo>
                        <a:pt x="2744" y="268"/>
                      </a:lnTo>
                      <a:lnTo>
                        <a:pt x="2706" y="0"/>
                      </a:lnTo>
                      <a:lnTo>
                        <a:pt x="2439" y="38"/>
                      </a:lnTo>
                      <a:lnTo>
                        <a:pt x="1849" y="803"/>
                      </a:lnTo>
                      <a:lnTo>
                        <a:pt x="1433" y="436"/>
                      </a:lnTo>
                      <a:lnTo>
                        <a:pt x="975" y="1187"/>
                      </a:lnTo>
                      <a:lnTo>
                        <a:pt x="692" y="895"/>
                      </a:lnTo>
                      <a:lnTo>
                        <a:pt x="282" y="1435"/>
                      </a:lnTo>
                      <a:lnTo>
                        <a:pt x="0" y="1222"/>
                      </a:lnTo>
                      <a:lnTo>
                        <a:pt x="0" y="1389"/>
                      </a:lnTo>
                      <a:lnTo>
                        <a:pt x="309" y="1621"/>
                      </a:lnTo>
                      <a:lnTo>
                        <a:pt x="704" y="1100"/>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sp>
              <p:nvSpPr>
                <p:cNvPr id="58" name="Freeform 23"/>
                <p:cNvSpPr>
                  <a:spLocks/>
                </p:cNvSpPr>
                <p:nvPr/>
              </p:nvSpPr>
              <p:spPr bwMode="auto">
                <a:xfrm>
                  <a:off x="3921125" y="3573463"/>
                  <a:ext cx="103188" cy="336550"/>
                </a:xfrm>
                <a:custGeom>
                  <a:avLst/>
                  <a:gdLst>
                    <a:gd name="T0" fmla="*/ 131 w 131"/>
                    <a:gd name="T1" fmla="*/ 253 h 422"/>
                    <a:gd name="T2" fmla="*/ 131 w 131"/>
                    <a:gd name="T3" fmla="*/ 0 h 422"/>
                    <a:gd name="T4" fmla="*/ 0 w 131"/>
                    <a:gd name="T5" fmla="*/ 0 h 422"/>
                    <a:gd name="T6" fmla="*/ 0 w 131"/>
                    <a:gd name="T7" fmla="*/ 422 h 422"/>
                    <a:gd name="T8" fmla="*/ 131 w 131"/>
                    <a:gd name="T9" fmla="*/ 253 h 422"/>
                  </a:gdLst>
                  <a:ahLst/>
                  <a:cxnLst>
                    <a:cxn ang="0">
                      <a:pos x="T0" y="T1"/>
                    </a:cxn>
                    <a:cxn ang="0">
                      <a:pos x="T2" y="T3"/>
                    </a:cxn>
                    <a:cxn ang="0">
                      <a:pos x="T4" y="T5"/>
                    </a:cxn>
                    <a:cxn ang="0">
                      <a:pos x="T6" y="T7"/>
                    </a:cxn>
                    <a:cxn ang="0">
                      <a:pos x="T8" y="T9"/>
                    </a:cxn>
                  </a:cxnLst>
                  <a:rect l="0" t="0" r="r" b="b"/>
                  <a:pathLst>
                    <a:path w="131" h="422">
                      <a:moveTo>
                        <a:pt x="131" y="253"/>
                      </a:moveTo>
                      <a:lnTo>
                        <a:pt x="131" y="0"/>
                      </a:lnTo>
                      <a:lnTo>
                        <a:pt x="0" y="0"/>
                      </a:lnTo>
                      <a:lnTo>
                        <a:pt x="0" y="422"/>
                      </a:lnTo>
                      <a:lnTo>
                        <a:pt x="131" y="253"/>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sp>
              <p:nvSpPr>
                <p:cNvPr id="59" name="Freeform 24"/>
                <p:cNvSpPr>
                  <a:spLocks/>
                </p:cNvSpPr>
                <p:nvPr/>
              </p:nvSpPr>
              <p:spPr bwMode="auto">
                <a:xfrm>
                  <a:off x="2189163" y="4445001"/>
                  <a:ext cx="1835150" cy="960438"/>
                </a:xfrm>
                <a:custGeom>
                  <a:avLst/>
                  <a:gdLst>
                    <a:gd name="T0" fmla="*/ 2183 w 2314"/>
                    <a:gd name="T1" fmla="*/ 1078 h 1209"/>
                    <a:gd name="T2" fmla="*/ 131 w 2314"/>
                    <a:gd name="T3" fmla="*/ 1078 h 1209"/>
                    <a:gd name="T4" fmla="*/ 131 w 2314"/>
                    <a:gd name="T5" fmla="*/ 780 h 1209"/>
                    <a:gd name="T6" fmla="*/ 0 w 2314"/>
                    <a:gd name="T7" fmla="*/ 682 h 1209"/>
                    <a:gd name="T8" fmla="*/ 0 w 2314"/>
                    <a:gd name="T9" fmla="*/ 1209 h 1209"/>
                    <a:gd name="T10" fmla="*/ 2314 w 2314"/>
                    <a:gd name="T11" fmla="*/ 1209 h 1209"/>
                    <a:gd name="T12" fmla="*/ 2314 w 2314"/>
                    <a:gd name="T13" fmla="*/ 0 h 1209"/>
                    <a:gd name="T14" fmla="*/ 2183 w 2314"/>
                    <a:gd name="T15" fmla="*/ 171 h 1209"/>
                    <a:gd name="T16" fmla="*/ 2183 w 2314"/>
                    <a:gd name="T17" fmla="*/ 1078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4" h="1209">
                      <a:moveTo>
                        <a:pt x="2183" y="1078"/>
                      </a:moveTo>
                      <a:lnTo>
                        <a:pt x="131" y="1078"/>
                      </a:lnTo>
                      <a:lnTo>
                        <a:pt x="131" y="780"/>
                      </a:lnTo>
                      <a:lnTo>
                        <a:pt x="0" y="682"/>
                      </a:lnTo>
                      <a:lnTo>
                        <a:pt x="0" y="1209"/>
                      </a:lnTo>
                      <a:lnTo>
                        <a:pt x="2314" y="1209"/>
                      </a:lnTo>
                      <a:lnTo>
                        <a:pt x="2314" y="0"/>
                      </a:lnTo>
                      <a:lnTo>
                        <a:pt x="2183" y="171"/>
                      </a:lnTo>
                      <a:lnTo>
                        <a:pt x="2183" y="1078"/>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sp>
              <p:nvSpPr>
                <p:cNvPr id="60" name="Freeform 25"/>
                <p:cNvSpPr>
                  <a:spLocks noEditPoints="1"/>
                </p:cNvSpPr>
                <p:nvPr/>
              </p:nvSpPr>
              <p:spPr bwMode="auto">
                <a:xfrm>
                  <a:off x="2189163" y="2852738"/>
                  <a:ext cx="1835150" cy="1951038"/>
                </a:xfrm>
                <a:custGeom>
                  <a:avLst/>
                  <a:gdLst>
                    <a:gd name="T0" fmla="*/ 131 w 2314"/>
                    <a:gd name="T1" fmla="*/ 131 h 2457"/>
                    <a:gd name="T2" fmla="*/ 1535 w 2314"/>
                    <a:gd name="T3" fmla="*/ 131 h 2457"/>
                    <a:gd name="T4" fmla="*/ 1535 w 2314"/>
                    <a:gd name="T5" fmla="*/ 778 h 2457"/>
                    <a:gd name="T6" fmla="*/ 2314 w 2314"/>
                    <a:gd name="T7" fmla="*/ 778 h 2457"/>
                    <a:gd name="T8" fmla="*/ 2314 w 2314"/>
                    <a:gd name="T9" fmla="*/ 687 h 2457"/>
                    <a:gd name="T10" fmla="*/ 1626 w 2314"/>
                    <a:gd name="T11" fmla="*/ 0 h 2457"/>
                    <a:gd name="T12" fmla="*/ 0 w 2314"/>
                    <a:gd name="T13" fmla="*/ 0 h 2457"/>
                    <a:gd name="T14" fmla="*/ 0 w 2314"/>
                    <a:gd name="T15" fmla="*/ 2358 h 2457"/>
                    <a:gd name="T16" fmla="*/ 131 w 2314"/>
                    <a:gd name="T17" fmla="*/ 2457 h 2457"/>
                    <a:gd name="T18" fmla="*/ 131 w 2314"/>
                    <a:gd name="T19" fmla="*/ 131 h 2457"/>
                    <a:gd name="T20" fmla="*/ 1665 w 2314"/>
                    <a:gd name="T21" fmla="*/ 222 h 2457"/>
                    <a:gd name="T22" fmla="*/ 2092 w 2314"/>
                    <a:gd name="T23" fmla="*/ 648 h 2457"/>
                    <a:gd name="T24" fmla="*/ 1665 w 2314"/>
                    <a:gd name="T25" fmla="*/ 648 h 2457"/>
                    <a:gd name="T26" fmla="*/ 1665 w 2314"/>
                    <a:gd name="T27" fmla="*/ 222 h 2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4" h="2457">
                      <a:moveTo>
                        <a:pt x="131" y="131"/>
                      </a:moveTo>
                      <a:lnTo>
                        <a:pt x="1535" y="131"/>
                      </a:lnTo>
                      <a:lnTo>
                        <a:pt x="1535" y="778"/>
                      </a:lnTo>
                      <a:lnTo>
                        <a:pt x="2314" y="778"/>
                      </a:lnTo>
                      <a:lnTo>
                        <a:pt x="2314" y="687"/>
                      </a:lnTo>
                      <a:lnTo>
                        <a:pt x="1626" y="0"/>
                      </a:lnTo>
                      <a:lnTo>
                        <a:pt x="0" y="0"/>
                      </a:lnTo>
                      <a:lnTo>
                        <a:pt x="0" y="2358"/>
                      </a:lnTo>
                      <a:lnTo>
                        <a:pt x="131" y="2457"/>
                      </a:lnTo>
                      <a:lnTo>
                        <a:pt x="131" y="131"/>
                      </a:lnTo>
                      <a:close/>
                      <a:moveTo>
                        <a:pt x="1665" y="222"/>
                      </a:moveTo>
                      <a:lnTo>
                        <a:pt x="2092" y="648"/>
                      </a:lnTo>
                      <a:lnTo>
                        <a:pt x="1665" y="648"/>
                      </a:lnTo>
                      <a:lnTo>
                        <a:pt x="1665" y="222"/>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sp>
              <p:nvSpPr>
                <p:cNvPr id="61" name="Freeform 26"/>
                <p:cNvSpPr>
                  <a:spLocks noEditPoints="1"/>
                </p:cNvSpPr>
                <p:nvPr/>
              </p:nvSpPr>
              <p:spPr bwMode="auto">
                <a:xfrm>
                  <a:off x="2373313" y="4687888"/>
                  <a:ext cx="1466850" cy="490538"/>
                </a:xfrm>
                <a:custGeom>
                  <a:avLst/>
                  <a:gdLst>
                    <a:gd name="T0" fmla="*/ 0 w 1848"/>
                    <a:gd name="T1" fmla="*/ 584 h 618"/>
                    <a:gd name="T2" fmla="*/ 0 w 1848"/>
                    <a:gd name="T3" fmla="*/ 618 h 618"/>
                    <a:gd name="T4" fmla="*/ 1848 w 1848"/>
                    <a:gd name="T5" fmla="*/ 618 h 618"/>
                    <a:gd name="T6" fmla="*/ 1848 w 1848"/>
                    <a:gd name="T7" fmla="*/ 0 h 618"/>
                    <a:gd name="T8" fmla="*/ 1782 w 1848"/>
                    <a:gd name="T9" fmla="*/ 85 h 618"/>
                    <a:gd name="T10" fmla="*/ 1782 w 1848"/>
                    <a:gd name="T11" fmla="*/ 361 h 618"/>
                    <a:gd name="T12" fmla="*/ 912 w 1848"/>
                    <a:gd name="T13" fmla="*/ 361 h 618"/>
                    <a:gd name="T14" fmla="*/ 912 w 1848"/>
                    <a:gd name="T15" fmla="*/ 18 h 618"/>
                    <a:gd name="T16" fmla="*/ 847 w 1848"/>
                    <a:gd name="T17" fmla="*/ 124 h 618"/>
                    <a:gd name="T18" fmla="*/ 847 w 1848"/>
                    <a:gd name="T19" fmla="*/ 361 h 618"/>
                    <a:gd name="T20" fmla="*/ 488 w 1848"/>
                    <a:gd name="T21" fmla="*/ 361 h 618"/>
                    <a:gd name="T22" fmla="*/ 488 w 1848"/>
                    <a:gd name="T23" fmla="*/ 137 h 618"/>
                    <a:gd name="T24" fmla="*/ 423 w 1848"/>
                    <a:gd name="T25" fmla="*/ 70 h 618"/>
                    <a:gd name="T26" fmla="*/ 423 w 1848"/>
                    <a:gd name="T27" fmla="*/ 361 h 618"/>
                    <a:gd name="T28" fmla="*/ 168 w 1848"/>
                    <a:gd name="T29" fmla="*/ 361 h 618"/>
                    <a:gd name="T30" fmla="*/ 119 w 1848"/>
                    <a:gd name="T31" fmla="*/ 426 h 618"/>
                    <a:gd name="T32" fmla="*/ 423 w 1848"/>
                    <a:gd name="T33" fmla="*/ 426 h 618"/>
                    <a:gd name="T34" fmla="*/ 423 w 1848"/>
                    <a:gd name="T35" fmla="*/ 553 h 618"/>
                    <a:gd name="T36" fmla="*/ 65 w 1848"/>
                    <a:gd name="T37" fmla="*/ 553 h 618"/>
                    <a:gd name="T38" fmla="*/ 65 w 1848"/>
                    <a:gd name="T39" fmla="*/ 498 h 618"/>
                    <a:gd name="T40" fmla="*/ 0 w 1848"/>
                    <a:gd name="T41" fmla="*/ 584 h 618"/>
                    <a:gd name="T42" fmla="*/ 912 w 1848"/>
                    <a:gd name="T43" fmla="*/ 426 h 618"/>
                    <a:gd name="T44" fmla="*/ 1782 w 1848"/>
                    <a:gd name="T45" fmla="*/ 426 h 618"/>
                    <a:gd name="T46" fmla="*/ 1782 w 1848"/>
                    <a:gd name="T47" fmla="*/ 553 h 618"/>
                    <a:gd name="T48" fmla="*/ 912 w 1848"/>
                    <a:gd name="T49" fmla="*/ 553 h 618"/>
                    <a:gd name="T50" fmla="*/ 912 w 1848"/>
                    <a:gd name="T51" fmla="*/ 426 h 618"/>
                    <a:gd name="T52" fmla="*/ 488 w 1848"/>
                    <a:gd name="T53" fmla="*/ 426 h 618"/>
                    <a:gd name="T54" fmla="*/ 847 w 1848"/>
                    <a:gd name="T55" fmla="*/ 426 h 618"/>
                    <a:gd name="T56" fmla="*/ 847 w 1848"/>
                    <a:gd name="T57" fmla="*/ 553 h 618"/>
                    <a:gd name="T58" fmla="*/ 488 w 1848"/>
                    <a:gd name="T59" fmla="*/ 553 h 618"/>
                    <a:gd name="T60" fmla="*/ 488 w 1848"/>
                    <a:gd name="T61" fmla="*/ 4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48" h="618">
                      <a:moveTo>
                        <a:pt x="0" y="584"/>
                      </a:moveTo>
                      <a:lnTo>
                        <a:pt x="0" y="618"/>
                      </a:lnTo>
                      <a:lnTo>
                        <a:pt x="1848" y="618"/>
                      </a:lnTo>
                      <a:lnTo>
                        <a:pt x="1848" y="0"/>
                      </a:lnTo>
                      <a:lnTo>
                        <a:pt x="1782" y="85"/>
                      </a:lnTo>
                      <a:lnTo>
                        <a:pt x="1782" y="361"/>
                      </a:lnTo>
                      <a:lnTo>
                        <a:pt x="912" y="361"/>
                      </a:lnTo>
                      <a:lnTo>
                        <a:pt x="912" y="18"/>
                      </a:lnTo>
                      <a:lnTo>
                        <a:pt x="847" y="124"/>
                      </a:lnTo>
                      <a:lnTo>
                        <a:pt x="847" y="361"/>
                      </a:lnTo>
                      <a:lnTo>
                        <a:pt x="488" y="361"/>
                      </a:lnTo>
                      <a:lnTo>
                        <a:pt x="488" y="137"/>
                      </a:lnTo>
                      <a:lnTo>
                        <a:pt x="423" y="70"/>
                      </a:lnTo>
                      <a:lnTo>
                        <a:pt x="423" y="361"/>
                      </a:lnTo>
                      <a:lnTo>
                        <a:pt x="168" y="361"/>
                      </a:lnTo>
                      <a:lnTo>
                        <a:pt x="119" y="426"/>
                      </a:lnTo>
                      <a:lnTo>
                        <a:pt x="423" y="426"/>
                      </a:lnTo>
                      <a:lnTo>
                        <a:pt x="423" y="553"/>
                      </a:lnTo>
                      <a:lnTo>
                        <a:pt x="65" y="553"/>
                      </a:lnTo>
                      <a:lnTo>
                        <a:pt x="65" y="498"/>
                      </a:lnTo>
                      <a:lnTo>
                        <a:pt x="0" y="584"/>
                      </a:lnTo>
                      <a:close/>
                      <a:moveTo>
                        <a:pt x="912" y="426"/>
                      </a:moveTo>
                      <a:lnTo>
                        <a:pt x="1782" y="426"/>
                      </a:lnTo>
                      <a:lnTo>
                        <a:pt x="1782" y="553"/>
                      </a:lnTo>
                      <a:lnTo>
                        <a:pt x="912" y="553"/>
                      </a:lnTo>
                      <a:lnTo>
                        <a:pt x="912" y="426"/>
                      </a:lnTo>
                      <a:close/>
                      <a:moveTo>
                        <a:pt x="488" y="426"/>
                      </a:moveTo>
                      <a:lnTo>
                        <a:pt x="847" y="426"/>
                      </a:lnTo>
                      <a:lnTo>
                        <a:pt x="847" y="553"/>
                      </a:lnTo>
                      <a:lnTo>
                        <a:pt x="488" y="553"/>
                      </a:lnTo>
                      <a:lnTo>
                        <a:pt x="488" y="426"/>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sp>
              <p:nvSpPr>
                <p:cNvPr id="62" name="Freeform 27"/>
                <p:cNvSpPr>
                  <a:spLocks/>
                </p:cNvSpPr>
                <p:nvPr/>
              </p:nvSpPr>
              <p:spPr bwMode="auto">
                <a:xfrm>
                  <a:off x="2373313" y="3573463"/>
                  <a:ext cx="1466850" cy="1230313"/>
                </a:xfrm>
                <a:custGeom>
                  <a:avLst/>
                  <a:gdLst>
                    <a:gd name="T0" fmla="*/ 1848 w 1848"/>
                    <a:gd name="T1" fmla="*/ 555 h 1550"/>
                    <a:gd name="T2" fmla="*/ 1848 w 1848"/>
                    <a:gd name="T3" fmla="*/ 0 h 1550"/>
                    <a:gd name="T4" fmla="*/ 0 w 1848"/>
                    <a:gd name="T5" fmla="*/ 0 h 1550"/>
                    <a:gd name="T6" fmla="*/ 0 w 1848"/>
                    <a:gd name="T7" fmla="*/ 1550 h 1550"/>
                    <a:gd name="T8" fmla="*/ 65 w 1848"/>
                    <a:gd name="T9" fmla="*/ 1463 h 1550"/>
                    <a:gd name="T10" fmla="*/ 65 w 1848"/>
                    <a:gd name="T11" fmla="*/ 65 h 1550"/>
                    <a:gd name="T12" fmla="*/ 423 w 1848"/>
                    <a:gd name="T13" fmla="*/ 65 h 1550"/>
                    <a:gd name="T14" fmla="*/ 423 w 1848"/>
                    <a:gd name="T15" fmla="*/ 1095 h 1550"/>
                    <a:gd name="T16" fmla="*/ 488 w 1848"/>
                    <a:gd name="T17" fmla="*/ 1162 h 1550"/>
                    <a:gd name="T18" fmla="*/ 488 w 1848"/>
                    <a:gd name="T19" fmla="*/ 65 h 1550"/>
                    <a:gd name="T20" fmla="*/ 847 w 1848"/>
                    <a:gd name="T21" fmla="*/ 65 h 1550"/>
                    <a:gd name="T22" fmla="*/ 847 w 1848"/>
                    <a:gd name="T23" fmla="*/ 1023 h 1550"/>
                    <a:gd name="T24" fmla="*/ 912 w 1848"/>
                    <a:gd name="T25" fmla="*/ 915 h 1550"/>
                    <a:gd name="T26" fmla="*/ 912 w 1848"/>
                    <a:gd name="T27" fmla="*/ 65 h 1550"/>
                    <a:gd name="T28" fmla="*/ 1782 w 1848"/>
                    <a:gd name="T29" fmla="*/ 65 h 1550"/>
                    <a:gd name="T30" fmla="*/ 1782 w 1848"/>
                    <a:gd name="T31" fmla="*/ 639 h 1550"/>
                    <a:gd name="T32" fmla="*/ 1848 w 1848"/>
                    <a:gd name="T33" fmla="*/ 555 h 1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48" h="1550">
                      <a:moveTo>
                        <a:pt x="1848" y="555"/>
                      </a:moveTo>
                      <a:lnTo>
                        <a:pt x="1848" y="0"/>
                      </a:lnTo>
                      <a:lnTo>
                        <a:pt x="0" y="0"/>
                      </a:lnTo>
                      <a:lnTo>
                        <a:pt x="0" y="1550"/>
                      </a:lnTo>
                      <a:lnTo>
                        <a:pt x="65" y="1463"/>
                      </a:lnTo>
                      <a:lnTo>
                        <a:pt x="65" y="65"/>
                      </a:lnTo>
                      <a:lnTo>
                        <a:pt x="423" y="65"/>
                      </a:lnTo>
                      <a:lnTo>
                        <a:pt x="423" y="1095"/>
                      </a:lnTo>
                      <a:lnTo>
                        <a:pt x="488" y="1162"/>
                      </a:lnTo>
                      <a:lnTo>
                        <a:pt x="488" y="65"/>
                      </a:lnTo>
                      <a:lnTo>
                        <a:pt x="847" y="65"/>
                      </a:lnTo>
                      <a:lnTo>
                        <a:pt x="847" y="1023"/>
                      </a:lnTo>
                      <a:lnTo>
                        <a:pt x="912" y="915"/>
                      </a:lnTo>
                      <a:lnTo>
                        <a:pt x="912" y="65"/>
                      </a:lnTo>
                      <a:lnTo>
                        <a:pt x="1782" y="65"/>
                      </a:lnTo>
                      <a:lnTo>
                        <a:pt x="1782" y="639"/>
                      </a:lnTo>
                      <a:lnTo>
                        <a:pt x="1848" y="555"/>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grpSp>
        </p:grpSp>
        <p:grpSp>
          <p:nvGrpSpPr>
            <p:cNvPr id="95" name="Group 94"/>
            <p:cNvGrpSpPr/>
            <p:nvPr/>
          </p:nvGrpSpPr>
          <p:grpSpPr>
            <a:xfrm>
              <a:off x="6600079" y="2252769"/>
              <a:ext cx="540918" cy="540000"/>
              <a:chOff x="6600079" y="2365890"/>
              <a:chExt cx="540918" cy="540000"/>
            </a:xfrm>
          </p:grpSpPr>
          <p:sp>
            <p:nvSpPr>
              <p:cNvPr id="19" name="Oval 18"/>
              <p:cNvSpPr/>
              <p:nvPr/>
            </p:nvSpPr>
            <p:spPr>
              <a:xfrm>
                <a:off x="6600079" y="2365890"/>
                <a:ext cx="540918" cy="540000"/>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64" name="Freeform 26"/>
              <p:cNvSpPr>
                <a:spLocks noEditPoints="1"/>
              </p:cNvSpPr>
              <p:nvPr/>
            </p:nvSpPr>
            <p:spPr bwMode="auto">
              <a:xfrm>
                <a:off x="6677822" y="2498104"/>
                <a:ext cx="415006" cy="296766"/>
              </a:xfrm>
              <a:custGeom>
                <a:avLst/>
                <a:gdLst>
                  <a:gd name="T0" fmla="*/ 499 w 1355"/>
                  <a:gd name="T1" fmla="*/ 962 h 969"/>
                  <a:gd name="T2" fmla="*/ 499 w 1355"/>
                  <a:gd name="T3" fmla="*/ 840 h 969"/>
                  <a:gd name="T4" fmla="*/ 494 w 1355"/>
                  <a:gd name="T5" fmla="*/ 816 h 969"/>
                  <a:gd name="T6" fmla="*/ 736 w 1355"/>
                  <a:gd name="T7" fmla="*/ 494 h 969"/>
                  <a:gd name="T8" fmla="*/ 738 w 1355"/>
                  <a:gd name="T9" fmla="*/ 493 h 969"/>
                  <a:gd name="T10" fmla="*/ 738 w 1355"/>
                  <a:gd name="T11" fmla="*/ 969 h 969"/>
                  <a:gd name="T12" fmla="*/ 793 w 1355"/>
                  <a:gd name="T13" fmla="*/ 969 h 969"/>
                  <a:gd name="T14" fmla="*/ 793 w 1355"/>
                  <a:gd name="T15" fmla="*/ 468 h 969"/>
                  <a:gd name="T16" fmla="*/ 1135 w 1355"/>
                  <a:gd name="T17" fmla="*/ 316 h 969"/>
                  <a:gd name="T18" fmla="*/ 1286 w 1355"/>
                  <a:gd name="T19" fmla="*/ 525 h 969"/>
                  <a:gd name="T20" fmla="*/ 1310 w 1355"/>
                  <a:gd name="T21" fmla="*/ 213 h 969"/>
                  <a:gd name="T22" fmla="*/ 1031 w 1355"/>
                  <a:gd name="T23" fmla="*/ 2 h 969"/>
                  <a:gd name="T24" fmla="*/ 1080 w 1355"/>
                  <a:gd name="T25" fmla="*/ 217 h 969"/>
                  <a:gd name="T26" fmla="*/ 203 w 1355"/>
                  <a:gd name="T27" fmla="*/ 609 h 969"/>
                  <a:gd name="T28" fmla="*/ 155 w 1355"/>
                  <a:gd name="T29" fmla="*/ 597 h 969"/>
                  <a:gd name="T30" fmla="*/ 50 w 1355"/>
                  <a:gd name="T31" fmla="*/ 702 h 969"/>
                  <a:gd name="T32" fmla="*/ 99 w 1355"/>
                  <a:gd name="T33" fmla="*/ 792 h 969"/>
                  <a:gd name="T34" fmla="*/ 39 w 1355"/>
                  <a:gd name="T35" fmla="*/ 792 h 969"/>
                  <a:gd name="T36" fmla="*/ 0 w 1355"/>
                  <a:gd name="T37" fmla="*/ 840 h 969"/>
                  <a:gd name="T38" fmla="*/ 0 w 1355"/>
                  <a:gd name="T39" fmla="*/ 962 h 969"/>
                  <a:gd name="T40" fmla="*/ 1 w 1355"/>
                  <a:gd name="T41" fmla="*/ 969 h 969"/>
                  <a:gd name="T42" fmla="*/ 499 w 1355"/>
                  <a:gd name="T43" fmla="*/ 969 h 969"/>
                  <a:gd name="T44" fmla="*/ 499 w 1355"/>
                  <a:gd name="T45" fmla="*/ 962 h 969"/>
                  <a:gd name="T46" fmla="*/ 1264 w 1355"/>
                  <a:gd name="T47" fmla="*/ 430 h 969"/>
                  <a:gd name="T48" fmla="*/ 1180 w 1355"/>
                  <a:gd name="T49" fmla="*/ 316 h 969"/>
                  <a:gd name="T50" fmla="*/ 1289 w 1355"/>
                  <a:gd name="T51" fmla="*/ 331 h 969"/>
                  <a:gd name="T52" fmla="*/ 1264 w 1355"/>
                  <a:gd name="T53" fmla="*/ 430 h 969"/>
                  <a:gd name="T54" fmla="*/ 1285 w 1355"/>
                  <a:gd name="T55" fmla="*/ 296 h 969"/>
                  <a:gd name="T56" fmla="*/ 1167 w 1355"/>
                  <a:gd name="T57" fmla="*/ 280 h 969"/>
                  <a:gd name="T58" fmla="*/ 1266 w 1355"/>
                  <a:gd name="T59" fmla="*/ 231 h 969"/>
                  <a:gd name="T60" fmla="*/ 1285 w 1355"/>
                  <a:gd name="T61" fmla="*/ 296 h 969"/>
                  <a:gd name="T62" fmla="*/ 1245 w 1355"/>
                  <a:gd name="T63" fmla="*/ 185 h 969"/>
                  <a:gd name="T64" fmla="*/ 1149 w 1355"/>
                  <a:gd name="T65" fmla="*/ 231 h 969"/>
                  <a:gd name="T66" fmla="*/ 1201 w 1355"/>
                  <a:gd name="T67" fmla="*/ 124 h 969"/>
                  <a:gd name="T68" fmla="*/ 1245 w 1355"/>
                  <a:gd name="T69" fmla="*/ 185 h 969"/>
                  <a:gd name="T70" fmla="*/ 1173 w 1355"/>
                  <a:gd name="T71" fmla="*/ 101 h 969"/>
                  <a:gd name="T72" fmla="*/ 1126 w 1355"/>
                  <a:gd name="T73" fmla="*/ 201 h 969"/>
                  <a:gd name="T74" fmla="*/ 1097 w 1355"/>
                  <a:gd name="T75" fmla="*/ 80 h 969"/>
                  <a:gd name="T76" fmla="*/ 1173 w 1355"/>
                  <a:gd name="T77" fmla="*/ 101 h 969"/>
                  <a:gd name="T78" fmla="*/ 460 w 1355"/>
                  <a:gd name="T79" fmla="*/ 792 h 969"/>
                  <a:gd name="T80" fmla="*/ 211 w 1355"/>
                  <a:gd name="T81" fmla="*/ 792 h 969"/>
                  <a:gd name="T82" fmla="*/ 260 w 1355"/>
                  <a:gd name="T83" fmla="*/ 706 h 969"/>
                  <a:gd name="T84" fmla="*/ 667 w 1355"/>
                  <a:gd name="T85" fmla="*/ 525 h 969"/>
                  <a:gd name="T86" fmla="*/ 466 w 1355"/>
                  <a:gd name="T87" fmla="*/ 792 h 969"/>
                  <a:gd name="T88" fmla="*/ 460 w 1355"/>
                  <a:gd name="T89" fmla="*/ 792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5" h="969">
                    <a:moveTo>
                      <a:pt x="499" y="962"/>
                    </a:moveTo>
                    <a:cubicBezTo>
                      <a:pt x="499" y="840"/>
                      <a:pt x="499" y="840"/>
                      <a:pt x="499" y="840"/>
                    </a:cubicBezTo>
                    <a:cubicBezTo>
                      <a:pt x="499" y="831"/>
                      <a:pt x="497" y="823"/>
                      <a:pt x="494" y="816"/>
                    </a:cubicBezTo>
                    <a:cubicBezTo>
                      <a:pt x="736" y="494"/>
                      <a:pt x="736" y="494"/>
                      <a:pt x="736" y="494"/>
                    </a:cubicBezTo>
                    <a:cubicBezTo>
                      <a:pt x="738" y="493"/>
                      <a:pt x="738" y="493"/>
                      <a:pt x="738" y="493"/>
                    </a:cubicBezTo>
                    <a:cubicBezTo>
                      <a:pt x="738" y="969"/>
                      <a:pt x="738" y="969"/>
                      <a:pt x="738" y="969"/>
                    </a:cubicBezTo>
                    <a:cubicBezTo>
                      <a:pt x="793" y="969"/>
                      <a:pt x="793" y="969"/>
                      <a:pt x="793" y="969"/>
                    </a:cubicBezTo>
                    <a:cubicBezTo>
                      <a:pt x="793" y="468"/>
                      <a:pt x="793" y="468"/>
                      <a:pt x="793" y="468"/>
                    </a:cubicBezTo>
                    <a:cubicBezTo>
                      <a:pt x="1135" y="316"/>
                      <a:pt x="1135" y="316"/>
                      <a:pt x="1135" y="316"/>
                    </a:cubicBezTo>
                    <a:cubicBezTo>
                      <a:pt x="1286" y="525"/>
                      <a:pt x="1286" y="525"/>
                      <a:pt x="1286" y="525"/>
                    </a:cubicBezTo>
                    <a:cubicBezTo>
                      <a:pt x="1343" y="445"/>
                      <a:pt x="1355" y="326"/>
                      <a:pt x="1310" y="213"/>
                    </a:cubicBezTo>
                    <a:cubicBezTo>
                      <a:pt x="1257" y="82"/>
                      <a:pt x="1142" y="0"/>
                      <a:pt x="1031" y="2"/>
                    </a:cubicBezTo>
                    <a:cubicBezTo>
                      <a:pt x="1080" y="217"/>
                      <a:pt x="1080" y="217"/>
                      <a:pt x="1080" y="217"/>
                    </a:cubicBezTo>
                    <a:cubicBezTo>
                      <a:pt x="203" y="609"/>
                      <a:pt x="203" y="609"/>
                      <a:pt x="203" y="609"/>
                    </a:cubicBezTo>
                    <a:cubicBezTo>
                      <a:pt x="189" y="601"/>
                      <a:pt x="172" y="597"/>
                      <a:pt x="155" y="597"/>
                    </a:cubicBezTo>
                    <a:cubicBezTo>
                      <a:pt x="97" y="597"/>
                      <a:pt x="50" y="644"/>
                      <a:pt x="50" y="702"/>
                    </a:cubicBezTo>
                    <a:cubicBezTo>
                      <a:pt x="50" y="740"/>
                      <a:pt x="69" y="773"/>
                      <a:pt x="99" y="792"/>
                    </a:cubicBezTo>
                    <a:cubicBezTo>
                      <a:pt x="39" y="792"/>
                      <a:pt x="39" y="792"/>
                      <a:pt x="39" y="792"/>
                    </a:cubicBezTo>
                    <a:cubicBezTo>
                      <a:pt x="18" y="792"/>
                      <a:pt x="0" y="813"/>
                      <a:pt x="0" y="840"/>
                    </a:cubicBezTo>
                    <a:cubicBezTo>
                      <a:pt x="0" y="962"/>
                      <a:pt x="0" y="962"/>
                      <a:pt x="0" y="962"/>
                    </a:cubicBezTo>
                    <a:cubicBezTo>
                      <a:pt x="0" y="965"/>
                      <a:pt x="1" y="967"/>
                      <a:pt x="1" y="969"/>
                    </a:cubicBezTo>
                    <a:cubicBezTo>
                      <a:pt x="499" y="969"/>
                      <a:pt x="499" y="969"/>
                      <a:pt x="499" y="969"/>
                    </a:cubicBezTo>
                    <a:cubicBezTo>
                      <a:pt x="499" y="967"/>
                      <a:pt x="499" y="965"/>
                      <a:pt x="499" y="962"/>
                    </a:cubicBezTo>
                    <a:close/>
                    <a:moveTo>
                      <a:pt x="1264" y="430"/>
                    </a:moveTo>
                    <a:cubicBezTo>
                      <a:pt x="1180" y="316"/>
                      <a:pt x="1180" y="316"/>
                      <a:pt x="1180" y="316"/>
                    </a:cubicBezTo>
                    <a:cubicBezTo>
                      <a:pt x="1289" y="331"/>
                      <a:pt x="1289" y="331"/>
                      <a:pt x="1289" y="331"/>
                    </a:cubicBezTo>
                    <a:cubicBezTo>
                      <a:pt x="1291" y="367"/>
                      <a:pt x="1283" y="399"/>
                      <a:pt x="1264" y="430"/>
                    </a:cubicBezTo>
                    <a:close/>
                    <a:moveTo>
                      <a:pt x="1285" y="296"/>
                    </a:moveTo>
                    <a:cubicBezTo>
                      <a:pt x="1167" y="280"/>
                      <a:pt x="1167" y="280"/>
                      <a:pt x="1167" y="280"/>
                    </a:cubicBezTo>
                    <a:cubicBezTo>
                      <a:pt x="1266" y="231"/>
                      <a:pt x="1266" y="231"/>
                      <a:pt x="1266" y="231"/>
                    </a:cubicBezTo>
                    <a:cubicBezTo>
                      <a:pt x="1274" y="254"/>
                      <a:pt x="1281" y="276"/>
                      <a:pt x="1285" y="296"/>
                    </a:cubicBezTo>
                    <a:close/>
                    <a:moveTo>
                      <a:pt x="1245" y="185"/>
                    </a:moveTo>
                    <a:cubicBezTo>
                      <a:pt x="1149" y="231"/>
                      <a:pt x="1149" y="231"/>
                      <a:pt x="1149" y="231"/>
                    </a:cubicBezTo>
                    <a:cubicBezTo>
                      <a:pt x="1201" y="124"/>
                      <a:pt x="1201" y="124"/>
                      <a:pt x="1201" y="124"/>
                    </a:cubicBezTo>
                    <a:cubicBezTo>
                      <a:pt x="1218" y="140"/>
                      <a:pt x="1232" y="161"/>
                      <a:pt x="1245" y="185"/>
                    </a:cubicBezTo>
                    <a:close/>
                    <a:moveTo>
                      <a:pt x="1173" y="101"/>
                    </a:moveTo>
                    <a:cubicBezTo>
                      <a:pt x="1126" y="201"/>
                      <a:pt x="1126" y="201"/>
                      <a:pt x="1126" y="201"/>
                    </a:cubicBezTo>
                    <a:cubicBezTo>
                      <a:pt x="1097" y="80"/>
                      <a:pt x="1097" y="80"/>
                      <a:pt x="1097" y="80"/>
                    </a:cubicBezTo>
                    <a:cubicBezTo>
                      <a:pt x="1124" y="79"/>
                      <a:pt x="1150" y="87"/>
                      <a:pt x="1173" y="101"/>
                    </a:cubicBezTo>
                    <a:close/>
                    <a:moveTo>
                      <a:pt x="460" y="792"/>
                    </a:moveTo>
                    <a:cubicBezTo>
                      <a:pt x="211" y="792"/>
                      <a:pt x="211" y="792"/>
                      <a:pt x="211" y="792"/>
                    </a:cubicBezTo>
                    <a:cubicBezTo>
                      <a:pt x="239" y="774"/>
                      <a:pt x="259" y="742"/>
                      <a:pt x="260" y="706"/>
                    </a:cubicBezTo>
                    <a:cubicBezTo>
                      <a:pt x="667" y="525"/>
                      <a:pt x="667" y="525"/>
                      <a:pt x="667" y="525"/>
                    </a:cubicBezTo>
                    <a:cubicBezTo>
                      <a:pt x="466" y="792"/>
                      <a:pt x="466" y="792"/>
                      <a:pt x="466" y="792"/>
                    </a:cubicBezTo>
                    <a:cubicBezTo>
                      <a:pt x="464" y="792"/>
                      <a:pt x="462" y="792"/>
                      <a:pt x="460" y="792"/>
                    </a:cubicBezTo>
                    <a:close/>
                  </a:path>
                </a:pathLst>
              </a:custGeom>
              <a:solidFill>
                <a:schemeClr val="tx2"/>
              </a:solidFill>
              <a:ln>
                <a:noFill/>
              </a:ln>
            </p:spPr>
            <p:txBody>
              <a:bodyPr vert="horz" wrap="square" lIns="91296" tIns="45648" rIns="91296" bIns="45648" numCol="1" anchor="t" anchorCtr="0" compatLnSpc="1">
                <a:prstTxWarp prst="textNoShape">
                  <a:avLst/>
                </a:prstTxWarp>
              </a:bodyPr>
              <a:lstStyle/>
              <a:p>
                <a:endParaRPr lang="en-US" sz="1797" dirty="0">
                  <a:solidFill>
                    <a:srgbClr val="646464"/>
                  </a:solidFill>
                  <a:latin typeface="EYInterstate" panose="02000503020000020004" pitchFamily="2" charset="0"/>
                </a:endParaRPr>
              </a:p>
            </p:txBody>
          </p:sp>
        </p:grpSp>
        <p:grpSp>
          <p:nvGrpSpPr>
            <p:cNvPr id="65" name="Gruppieren 279"/>
            <p:cNvGrpSpPr/>
            <p:nvPr/>
          </p:nvGrpSpPr>
          <p:grpSpPr>
            <a:xfrm>
              <a:off x="6178873" y="3273763"/>
              <a:ext cx="263698" cy="256581"/>
              <a:chOff x="4408488" y="4341813"/>
              <a:chExt cx="1117600" cy="1087437"/>
            </a:xfrm>
            <a:solidFill>
              <a:schemeClr val="tx1"/>
            </a:solidFill>
          </p:grpSpPr>
          <p:sp>
            <p:nvSpPr>
              <p:cNvPr id="66" name="Freeform 121"/>
              <p:cNvSpPr>
                <a:spLocks noEditPoints="1"/>
              </p:cNvSpPr>
              <p:nvPr/>
            </p:nvSpPr>
            <p:spPr bwMode="auto">
              <a:xfrm>
                <a:off x="4635501" y="4341813"/>
                <a:ext cx="709613" cy="530225"/>
              </a:xfrm>
              <a:custGeom>
                <a:avLst/>
                <a:gdLst>
                  <a:gd name="T0" fmla="*/ 4 w 187"/>
                  <a:gd name="T1" fmla="*/ 83 h 140"/>
                  <a:gd name="T2" fmla="*/ 53 w 187"/>
                  <a:gd name="T3" fmla="*/ 104 h 140"/>
                  <a:gd name="T4" fmla="*/ 113 w 187"/>
                  <a:gd name="T5" fmla="*/ 57 h 140"/>
                  <a:gd name="T6" fmla="*/ 75 w 187"/>
                  <a:gd name="T7" fmla="*/ 18 h 140"/>
                  <a:gd name="T8" fmla="*/ 113 w 187"/>
                  <a:gd name="T9" fmla="*/ 57 h 140"/>
                  <a:gd name="T10" fmla="*/ 113 w 187"/>
                  <a:gd name="T11" fmla="*/ 60 h 140"/>
                  <a:gd name="T12" fmla="*/ 133 w 187"/>
                  <a:gd name="T13" fmla="*/ 114 h 140"/>
                  <a:gd name="T14" fmla="*/ 66 w 187"/>
                  <a:gd name="T15" fmla="*/ 36 h 140"/>
                  <a:gd name="T16" fmla="*/ 66 w 187"/>
                  <a:gd name="T17" fmla="*/ 52 h 140"/>
                  <a:gd name="T18" fmla="*/ 66 w 187"/>
                  <a:gd name="T19" fmla="*/ 36 h 140"/>
                  <a:gd name="T20" fmla="*/ 99 w 187"/>
                  <a:gd name="T21" fmla="*/ 27 h 140"/>
                  <a:gd name="T22" fmla="*/ 126 w 187"/>
                  <a:gd name="T23" fmla="*/ 32 h 140"/>
                  <a:gd name="T24" fmla="*/ 12 w 187"/>
                  <a:gd name="T25" fmla="*/ 49 h 140"/>
                  <a:gd name="T26" fmla="*/ 104 w 187"/>
                  <a:gd name="T27" fmla="*/ 56 h 140"/>
                  <a:gd name="T28" fmla="*/ 66 w 187"/>
                  <a:gd name="T29" fmla="*/ 56 h 140"/>
                  <a:gd name="T30" fmla="*/ 62 w 187"/>
                  <a:gd name="T31" fmla="*/ 34 h 140"/>
                  <a:gd name="T32" fmla="*/ 82 w 187"/>
                  <a:gd name="T33" fmla="*/ 17 h 140"/>
                  <a:gd name="T34" fmla="*/ 186 w 187"/>
                  <a:gd name="T35" fmla="*/ 27 h 140"/>
                  <a:gd name="T36" fmla="*/ 138 w 187"/>
                  <a:gd name="T37" fmla="*/ 52 h 140"/>
                  <a:gd name="T38" fmla="*/ 184 w 187"/>
                  <a:gd name="T39" fmla="*/ 43 h 140"/>
                  <a:gd name="T40" fmla="*/ 138 w 187"/>
                  <a:gd name="T41" fmla="*/ 63 h 140"/>
                  <a:gd name="T42" fmla="*/ 187 w 187"/>
                  <a:gd name="T43" fmla="*/ 51 h 140"/>
                  <a:gd name="T44" fmla="*/ 138 w 187"/>
                  <a:gd name="T45" fmla="*/ 73 h 140"/>
                  <a:gd name="T46" fmla="*/ 184 w 187"/>
                  <a:gd name="T47" fmla="*/ 62 h 140"/>
                  <a:gd name="T48" fmla="*/ 138 w 187"/>
                  <a:gd name="T49" fmla="*/ 83 h 140"/>
                  <a:gd name="T50" fmla="*/ 187 w 187"/>
                  <a:gd name="T51" fmla="*/ 71 h 140"/>
                  <a:gd name="T52" fmla="*/ 137 w 187"/>
                  <a:gd name="T53" fmla="*/ 92 h 140"/>
                  <a:gd name="T54" fmla="*/ 184 w 187"/>
                  <a:gd name="T55" fmla="*/ 81 h 140"/>
                  <a:gd name="T56" fmla="*/ 137 w 187"/>
                  <a:gd name="T57" fmla="*/ 102 h 140"/>
                  <a:gd name="T58" fmla="*/ 187 w 187"/>
                  <a:gd name="T59" fmla="*/ 90 h 140"/>
                  <a:gd name="T60" fmla="*/ 137 w 187"/>
                  <a:gd name="T61" fmla="*/ 112 h 140"/>
                  <a:gd name="T62" fmla="*/ 109 w 187"/>
                  <a:gd name="T63" fmla="*/ 126 h 140"/>
                  <a:gd name="T64" fmla="*/ 57 w 187"/>
                  <a:gd name="T65" fmla="*/ 140 h 140"/>
                  <a:gd name="T66" fmla="*/ 0 w 187"/>
                  <a:gd name="T67" fmla="*/ 106 h 140"/>
                  <a:gd name="T68" fmla="*/ 109 w 187"/>
                  <a:gd name="T69" fmla="*/ 118 h 140"/>
                  <a:gd name="T70" fmla="*/ 57 w 187"/>
                  <a:gd name="T71" fmla="*/ 131 h 140"/>
                  <a:gd name="T72" fmla="*/ 4 w 187"/>
                  <a:gd name="T73" fmla="*/ 98 h 140"/>
                  <a:gd name="T74" fmla="*/ 109 w 187"/>
                  <a:gd name="T75" fmla="*/ 108 h 140"/>
                  <a:gd name="T76" fmla="*/ 57 w 187"/>
                  <a:gd name="T77" fmla="*/ 121 h 140"/>
                  <a:gd name="T78" fmla="*/ 0 w 187"/>
                  <a:gd name="T79" fmla="*/ 87 h 140"/>
                  <a:gd name="T80" fmla="*/ 109 w 187"/>
                  <a:gd name="T81" fmla="*/ 98 h 140"/>
                  <a:gd name="T82" fmla="*/ 58 w 187"/>
                  <a:gd name="T83" fmla="*/ 111 h 140"/>
                  <a:gd name="T84" fmla="*/ 109 w 187"/>
                  <a:gd name="T85" fmla="*/ 89 h 140"/>
                  <a:gd name="T86" fmla="*/ 57 w 187"/>
                  <a:gd name="T87" fmla="*/ 102 h 140"/>
                  <a:gd name="T88" fmla="*/ 0 w 187"/>
                  <a:gd name="T89" fmla="*/ 67 h 140"/>
                  <a:gd name="T90" fmla="*/ 109 w 187"/>
                  <a:gd name="T91" fmla="*/ 79 h 140"/>
                  <a:gd name="T92" fmla="*/ 62 w 187"/>
                  <a:gd name="T93" fmla="*/ 90 h 140"/>
                  <a:gd name="T94" fmla="*/ 109 w 187"/>
                  <a:gd name="T95" fmla="*/ 69 h 140"/>
                  <a:gd name="T96" fmla="*/ 57 w 187"/>
                  <a:gd name="T97" fmla="*/ 81 h 140"/>
                  <a:gd name="T98" fmla="*/ 1 w 187"/>
                  <a:gd name="T99" fmla="*/ 44 h 140"/>
                  <a:gd name="T100" fmla="*/ 44 w 187"/>
                  <a:gd name="T101" fmla="*/ 24 h 140"/>
                  <a:gd name="T102" fmla="*/ 75 w 187"/>
                  <a:gd name="T103" fmla="*/ 14 h 140"/>
                  <a:gd name="T104" fmla="*/ 132 w 187"/>
                  <a:gd name="T105" fmla="*/ 8 h 140"/>
                  <a:gd name="T106" fmla="*/ 93 w 187"/>
                  <a:gd name="T107" fmla="*/ 24 h 140"/>
                  <a:gd name="T108" fmla="*/ 126 w 187"/>
                  <a:gd name="T109" fmla="*/ 41 h 140"/>
                  <a:gd name="T110" fmla="*/ 176 w 187"/>
                  <a:gd name="T111" fmla="*/ 30 h 140"/>
                  <a:gd name="T112" fmla="*/ 57 w 187"/>
                  <a:gd name="T113" fmla="*/ 92 h 140"/>
                  <a:gd name="T114" fmla="*/ 3 w 187"/>
                  <a:gd name="T115" fmla="*/ 59 h 140"/>
                  <a:gd name="T116" fmla="*/ 57 w 187"/>
                  <a:gd name="T117" fmla="*/ 9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7" h="140">
                    <a:moveTo>
                      <a:pt x="53" y="109"/>
                    </a:moveTo>
                    <a:cubicBezTo>
                      <a:pt x="4" y="83"/>
                      <a:pt x="4" y="83"/>
                      <a:pt x="4" y="83"/>
                    </a:cubicBezTo>
                    <a:cubicBezTo>
                      <a:pt x="4" y="79"/>
                      <a:pt x="4" y="79"/>
                      <a:pt x="4" y="79"/>
                    </a:cubicBezTo>
                    <a:cubicBezTo>
                      <a:pt x="53" y="104"/>
                      <a:pt x="53" y="104"/>
                      <a:pt x="53" y="104"/>
                    </a:cubicBezTo>
                    <a:lnTo>
                      <a:pt x="53" y="109"/>
                    </a:lnTo>
                    <a:close/>
                    <a:moveTo>
                      <a:pt x="113" y="57"/>
                    </a:moveTo>
                    <a:cubicBezTo>
                      <a:pt x="133" y="49"/>
                      <a:pt x="133" y="49"/>
                      <a:pt x="133" y="49"/>
                    </a:cubicBezTo>
                    <a:cubicBezTo>
                      <a:pt x="75" y="18"/>
                      <a:pt x="75" y="18"/>
                      <a:pt x="75" y="18"/>
                    </a:cubicBezTo>
                    <a:cubicBezTo>
                      <a:pt x="53" y="25"/>
                      <a:pt x="53" y="25"/>
                      <a:pt x="53" y="25"/>
                    </a:cubicBezTo>
                    <a:lnTo>
                      <a:pt x="113" y="57"/>
                    </a:lnTo>
                    <a:close/>
                    <a:moveTo>
                      <a:pt x="134" y="52"/>
                    </a:moveTo>
                    <a:cubicBezTo>
                      <a:pt x="113" y="60"/>
                      <a:pt x="113" y="60"/>
                      <a:pt x="113" y="60"/>
                    </a:cubicBezTo>
                    <a:cubicBezTo>
                      <a:pt x="113" y="121"/>
                      <a:pt x="113" y="121"/>
                      <a:pt x="113" y="121"/>
                    </a:cubicBezTo>
                    <a:cubicBezTo>
                      <a:pt x="133" y="114"/>
                      <a:pt x="133" y="114"/>
                      <a:pt x="133" y="114"/>
                    </a:cubicBezTo>
                    <a:lnTo>
                      <a:pt x="134" y="52"/>
                    </a:lnTo>
                    <a:close/>
                    <a:moveTo>
                      <a:pt x="66" y="36"/>
                    </a:moveTo>
                    <a:cubicBezTo>
                      <a:pt x="60" y="39"/>
                      <a:pt x="56" y="43"/>
                      <a:pt x="56" y="46"/>
                    </a:cubicBezTo>
                    <a:cubicBezTo>
                      <a:pt x="56" y="48"/>
                      <a:pt x="58" y="51"/>
                      <a:pt x="66" y="52"/>
                    </a:cubicBezTo>
                    <a:cubicBezTo>
                      <a:pt x="74" y="53"/>
                      <a:pt x="84" y="53"/>
                      <a:pt x="94" y="51"/>
                    </a:cubicBezTo>
                    <a:lnTo>
                      <a:pt x="66" y="36"/>
                    </a:lnTo>
                    <a:close/>
                    <a:moveTo>
                      <a:pt x="126" y="32"/>
                    </a:moveTo>
                    <a:cubicBezTo>
                      <a:pt x="124" y="28"/>
                      <a:pt x="114" y="25"/>
                      <a:pt x="99" y="27"/>
                    </a:cubicBezTo>
                    <a:cubicBezTo>
                      <a:pt x="122" y="39"/>
                      <a:pt x="122" y="39"/>
                      <a:pt x="122" y="39"/>
                    </a:cubicBezTo>
                    <a:cubicBezTo>
                      <a:pt x="126" y="36"/>
                      <a:pt x="127" y="33"/>
                      <a:pt x="126" y="32"/>
                    </a:cubicBezTo>
                    <a:close/>
                    <a:moveTo>
                      <a:pt x="59" y="33"/>
                    </a:moveTo>
                    <a:cubicBezTo>
                      <a:pt x="12" y="49"/>
                      <a:pt x="12" y="49"/>
                      <a:pt x="12" y="49"/>
                    </a:cubicBezTo>
                    <a:cubicBezTo>
                      <a:pt x="57" y="73"/>
                      <a:pt x="57" y="73"/>
                      <a:pt x="57" y="73"/>
                    </a:cubicBezTo>
                    <a:cubicBezTo>
                      <a:pt x="104" y="56"/>
                      <a:pt x="104" y="56"/>
                      <a:pt x="104" y="56"/>
                    </a:cubicBezTo>
                    <a:cubicBezTo>
                      <a:pt x="99" y="54"/>
                      <a:pt x="99" y="54"/>
                      <a:pt x="99" y="54"/>
                    </a:cubicBezTo>
                    <a:cubicBezTo>
                      <a:pt x="87" y="57"/>
                      <a:pt x="75" y="58"/>
                      <a:pt x="66" y="56"/>
                    </a:cubicBezTo>
                    <a:cubicBezTo>
                      <a:pt x="58" y="55"/>
                      <a:pt x="51" y="52"/>
                      <a:pt x="52" y="45"/>
                    </a:cubicBezTo>
                    <a:cubicBezTo>
                      <a:pt x="53" y="41"/>
                      <a:pt x="56" y="37"/>
                      <a:pt x="62" y="34"/>
                    </a:cubicBezTo>
                    <a:lnTo>
                      <a:pt x="59" y="33"/>
                    </a:lnTo>
                    <a:close/>
                    <a:moveTo>
                      <a:pt x="82" y="17"/>
                    </a:moveTo>
                    <a:cubicBezTo>
                      <a:pt x="133" y="0"/>
                      <a:pt x="133" y="0"/>
                      <a:pt x="133" y="0"/>
                    </a:cubicBezTo>
                    <a:cubicBezTo>
                      <a:pt x="186" y="27"/>
                      <a:pt x="186" y="27"/>
                      <a:pt x="186" y="27"/>
                    </a:cubicBezTo>
                    <a:cubicBezTo>
                      <a:pt x="186" y="35"/>
                      <a:pt x="186" y="35"/>
                      <a:pt x="186" y="35"/>
                    </a:cubicBezTo>
                    <a:cubicBezTo>
                      <a:pt x="138" y="52"/>
                      <a:pt x="138" y="52"/>
                      <a:pt x="138" y="52"/>
                    </a:cubicBezTo>
                    <a:cubicBezTo>
                      <a:pt x="138" y="59"/>
                      <a:pt x="138" y="59"/>
                      <a:pt x="138" y="59"/>
                    </a:cubicBezTo>
                    <a:cubicBezTo>
                      <a:pt x="184" y="43"/>
                      <a:pt x="184" y="43"/>
                      <a:pt x="184" y="43"/>
                    </a:cubicBezTo>
                    <a:cubicBezTo>
                      <a:pt x="184" y="47"/>
                      <a:pt x="184" y="47"/>
                      <a:pt x="184" y="47"/>
                    </a:cubicBezTo>
                    <a:cubicBezTo>
                      <a:pt x="138" y="63"/>
                      <a:pt x="138" y="63"/>
                      <a:pt x="138" y="63"/>
                    </a:cubicBezTo>
                    <a:cubicBezTo>
                      <a:pt x="138" y="69"/>
                      <a:pt x="138" y="69"/>
                      <a:pt x="138" y="69"/>
                    </a:cubicBezTo>
                    <a:cubicBezTo>
                      <a:pt x="187" y="51"/>
                      <a:pt x="187" y="51"/>
                      <a:pt x="187" y="51"/>
                    </a:cubicBezTo>
                    <a:cubicBezTo>
                      <a:pt x="187" y="55"/>
                      <a:pt x="187" y="55"/>
                      <a:pt x="187" y="55"/>
                    </a:cubicBezTo>
                    <a:cubicBezTo>
                      <a:pt x="138" y="73"/>
                      <a:pt x="138" y="73"/>
                      <a:pt x="138" y="73"/>
                    </a:cubicBezTo>
                    <a:cubicBezTo>
                      <a:pt x="138" y="79"/>
                      <a:pt x="138" y="79"/>
                      <a:pt x="138" y="79"/>
                    </a:cubicBezTo>
                    <a:cubicBezTo>
                      <a:pt x="184" y="62"/>
                      <a:pt x="184" y="62"/>
                      <a:pt x="184" y="62"/>
                    </a:cubicBezTo>
                    <a:cubicBezTo>
                      <a:pt x="184" y="66"/>
                      <a:pt x="184" y="66"/>
                      <a:pt x="184" y="66"/>
                    </a:cubicBezTo>
                    <a:cubicBezTo>
                      <a:pt x="138" y="83"/>
                      <a:pt x="138" y="83"/>
                      <a:pt x="138" y="83"/>
                    </a:cubicBezTo>
                    <a:cubicBezTo>
                      <a:pt x="137" y="88"/>
                      <a:pt x="137" y="88"/>
                      <a:pt x="137" y="88"/>
                    </a:cubicBezTo>
                    <a:cubicBezTo>
                      <a:pt x="187" y="71"/>
                      <a:pt x="187" y="71"/>
                      <a:pt x="187" y="71"/>
                    </a:cubicBezTo>
                    <a:cubicBezTo>
                      <a:pt x="187" y="75"/>
                      <a:pt x="187" y="75"/>
                      <a:pt x="187" y="75"/>
                    </a:cubicBezTo>
                    <a:cubicBezTo>
                      <a:pt x="137" y="92"/>
                      <a:pt x="137" y="92"/>
                      <a:pt x="137" y="92"/>
                    </a:cubicBezTo>
                    <a:cubicBezTo>
                      <a:pt x="137" y="98"/>
                      <a:pt x="137" y="98"/>
                      <a:pt x="137" y="98"/>
                    </a:cubicBezTo>
                    <a:cubicBezTo>
                      <a:pt x="184" y="81"/>
                      <a:pt x="184" y="81"/>
                      <a:pt x="184" y="81"/>
                    </a:cubicBezTo>
                    <a:cubicBezTo>
                      <a:pt x="184" y="85"/>
                      <a:pt x="184" y="85"/>
                      <a:pt x="184" y="85"/>
                    </a:cubicBezTo>
                    <a:cubicBezTo>
                      <a:pt x="137" y="102"/>
                      <a:pt x="137" y="102"/>
                      <a:pt x="137" y="102"/>
                    </a:cubicBezTo>
                    <a:cubicBezTo>
                      <a:pt x="137" y="108"/>
                      <a:pt x="137" y="108"/>
                      <a:pt x="137" y="108"/>
                    </a:cubicBezTo>
                    <a:cubicBezTo>
                      <a:pt x="187" y="90"/>
                      <a:pt x="187" y="90"/>
                      <a:pt x="187" y="90"/>
                    </a:cubicBezTo>
                    <a:cubicBezTo>
                      <a:pt x="187" y="94"/>
                      <a:pt x="187" y="94"/>
                      <a:pt x="187" y="94"/>
                    </a:cubicBezTo>
                    <a:cubicBezTo>
                      <a:pt x="137" y="112"/>
                      <a:pt x="137" y="112"/>
                      <a:pt x="137" y="112"/>
                    </a:cubicBezTo>
                    <a:cubicBezTo>
                      <a:pt x="137" y="117"/>
                      <a:pt x="137" y="117"/>
                      <a:pt x="137" y="117"/>
                    </a:cubicBezTo>
                    <a:cubicBezTo>
                      <a:pt x="109" y="126"/>
                      <a:pt x="109" y="126"/>
                      <a:pt x="109" y="126"/>
                    </a:cubicBezTo>
                    <a:cubicBezTo>
                      <a:pt x="109" y="122"/>
                      <a:pt x="109" y="122"/>
                      <a:pt x="109" y="122"/>
                    </a:cubicBezTo>
                    <a:cubicBezTo>
                      <a:pt x="57" y="140"/>
                      <a:pt x="57" y="140"/>
                      <a:pt x="57" y="140"/>
                    </a:cubicBezTo>
                    <a:cubicBezTo>
                      <a:pt x="0" y="110"/>
                      <a:pt x="0" y="110"/>
                      <a:pt x="0" y="110"/>
                    </a:cubicBezTo>
                    <a:cubicBezTo>
                      <a:pt x="0" y="106"/>
                      <a:pt x="0" y="106"/>
                      <a:pt x="0" y="106"/>
                    </a:cubicBezTo>
                    <a:cubicBezTo>
                      <a:pt x="58" y="136"/>
                      <a:pt x="58" y="136"/>
                      <a:pt x="58" y="136"/>
                    </a:cubicBezTo>
                    <a:cubicBezTo>
                      <a:pt x="109" y="118"/>
                      <a:pt x="109" y="118"/>
                      <a:pt x="109" y="118"/>
                    </a:cubicBezTo>
                    <a:cubicBezTo>
                      <a:pt x="109" y="112"/>
                      <a:pt x="109" y="112"/>
                      <a:pt x="109" y="112"/>
                    </a:cubicBezTo>
                    <a:cubicBezTo>
                      <a:pt x="57" y="131"/>
                      <a:pt x="57" y="131"/>
                      <a:pt x="57" y="131"/>
                    </a:cubicBezTo>
                    <a:cubicBezTo>
                      <a:pt x="4" y="102"/>
                      <a:pt x="4" y="102"/>
                      <a:pt x="4" y="102"/>
                    </a:cubicBezTo>
                    <a:cubicBezTo>
                      <a:pt x="4" y="98"/>
                      <a:pt x="4" y="98"/>
                      <a:pt x="4" y="98"/>
                    </a:cubicBezTo>
                    <a:cubicBezTo>
                      <a:pt x="58" y="126"/>
                      <a:pt x="58" y="126"/>
                      <a:pt x="58" y="126"/>
                    </a:cubicBezTo>
                    <a:cubicBezTo>
                      <a:pt x="109" y="108"/>
                      <a:pt x="109" y="108"/>
                      <a:pt x="109" y="108"/>
                    </a:cubicBezTo>
                    <a:cubicBezTo>
                      <a:pt x="109" y="102"/>
                      <a:pt x="109" y="102"/>
                      <a:pt x="109" y="102"/>
                    </a:cubicBezTo>
                    <a:cubicBezTo>
                      <a:pt x="57" y="121"/>
                      <a:pt x="57" y="121"/>
                      <a:pt x="57" y="121"/>
                    </a:cubicBezTo>
                    <a:cubicBezTo>
                      <a:pt x="0" y="91"/>
                      <a:pt x="0" y="91"/>
                      <a:pt x="0" y="91"/>
                    </a:cubicBezTo>
                    <a:cubicBezTo>
                      <a:pt x="0" y="87"/>
                      <a:pt x="0" y="87"/>
                      <a:pt x="0" y="87"/>
                    </a:cubicBezTo>
                    <a:cubicBezTo>
                      <a:pt x="58" y="117"/>
                      <a:pt x="58" y="117"/>
                      <a:pt x="58" y="117"/>
                    </a:cubicBezTo>
                    <a:cubicBezTo>
                      <a:pt x="109" y="98"/>
                      <a:pt x="109" y="98"/>
                      <a:pt x="109" y="98"/>
                    </a:cubicBezTo>
                    <a:cubicBezTo>
                      <a:pt x="109" y="93"/>
                      <a:pt x="109" y="93"/>
                      <a:pt x="109" y="93"/>
                    </a:cubicBezTo>
                    <a:cubicBezTo>
                      <a:pt x="58" y="111"/>
                      <a:pt x="58" y="111"/>
                      <a:pt x="58" y="111"/>
                    </a:cubicBezTo>
                    <a:cubicBezTo>
                      <a:pt x="58" y="107"/>
                      <a:pt x="58" y="107"/>
                      <a:pt x="58" y="107"/>
                    </a:cubicBezTo>
                    <a:cubicBezTo>
                      <a:pt x="109" y="89"/>
                      <a:pt x="109" y="89"/>
                      <a:pt x="109" y="89"/>
                    </a:cubicBezTo>
                    <a:cubicBezTo>
                      <a:pt x="109" y="83"/>
                      <a:pt x="109" y="83"/>
                      <a:pt x="109" y="83"/>
                    </a:cubicBezTo>
                    <a:cubicBezTo>
                      <a:pt x="57" y="102"/>
                      <a:pt x="57" y="102"/>
                      <a:pt x="57" y="102"/>
                    </a:cubicBezTo>
                    <a:cubicBezTo>
                      <a:pt x="0" y="72"/>
                      <a:pt x="0" y="72"/>
                      <a:pt x="0" y="72"/>
                    </a:cubicBezTo>
                    <a:cubicBezTo>
                      <a:pt x="0" y="67"/>
                      <a:pt x="0" y="67"/>
                      <a:pt x="0" y="67"/>
                    </a:cubicBezTo>
                    <a:cubicBezTo>
                      <a:pt x="58" y="97"/>
                      <a:pt x="58" y="97"/>
                      <a:pt x="58" y="97"/>
                    </a:cubicBezTo>
                    <a:cubicBezTo>
                      <a:pt x="109" y="79"/>
                      <a:pt x="109" y="79"/>
                      <a:pt x="109" y="79"/>
                    </a:cubicBezTo>
                    <a:cubicBezTo>
                      <a:pt x="109" y="73"/>
                      <a:pt x="109" y="73"/>
                      <a:pt x="109" y="73"/>
                    </a:cubicBezTo>
                    <a:cubicBezTo>
                      <a:pt x="62" y="90"/>
                      <a:pt x="62" y="90"/>
                      <a:pt x="62" y="90"/>
                    </a:cubicBezTo>
                    <a:cubicBezTo>
                      <a:pt x="62" y="86"/>
                      <a:pt x="62" y="86"/>
                      <a:pt x="62" y="86"/>
                    </a:cubicBezTo>
                    <a:cubicBezTo>
                      <a:pt x="109" y="69"/>
                      <a:pt x="109" y="69"/>
                      <a:pt x="109" y="69"/>
                    </a:cubicBezTo>
                    <a:cubicBezTo>
                      <a:pt x="109" y="62"/>
                      <a:pt x="109" y="62"/>
                      <a:pt x="109" y="62"/>
                    </a:cubicBezTo>
                    <a:cubicBezTo>
                      <a:pt x="57" y="81"/>
                      <a:pt x="57" y="81"/>
                      <a:pt x="57" y="81"/>
                    </a:cubicBezTo>
                    <a:cubicBezTo>
                      <a:pt x="1" y="52"/>
                      <a:pt x="1" y="52"/>
                      <a:pt x="1" y="52"/>
                    </a:cubicBezTo>
                    <a:cubicBezTo>
                      <a:pt x="1" y="44"/>
                      <a:pt x="1" y="44"/>
                      <a:pt x="1" y="44"/>
                    </a:cubicBezTo>
                    <a:cubicBezTo>
                      <a:pt x="44" y="30"/>
                      <a:pt x="44" y="30"/>
                      <a:pt x="44" y="30"/>
                    </a:cubicBezTo>
                    <a:cubicBezTo>
                      <a:pt x="44" y="24"/>
                      <a:pt x="44" y="24"/>
                      <a:pt x="44" y="24"/>
                    </a:cubicBezTo>
                    <a:cubicBezTo>
                      <a:pt x="44" y="24"/>
                      <a:pt x="44" y="24"/>
                      <a:pt x="44" y="24"/>
                    </a:cubicBezTo>
                    <a:cubicBezTo>
                      <a:pt x="75" y="14"/>
                      <a:pt x="75" y="14"/>
                      <a:pt x="75" y="14"/>
                    </a:cubicBezTo>
                    <a:lnTo>
                      <a:pt x="82" y="17"/>
                    </a:lnTo>
                    <a:close/>
                    <a:moveTo>
                      <a:pt x="132" y="8"/>
                    </a:moveTo>
                    <a:cubicBezTo>
                      <a:pt x="91" y="22"/>
                      <a:pt x="91" y="22"/>
                      <a:pt x="91" y="22"/>
                    </a:cubicBezTo>
                    <a:cubicBezTo>
                      <a:pt x="93" y="24"/>
                      <a:pt x="93" y="24"/>
                      <a:pt x="93" y="24"/>
                    </a:cubicBezTo>
                    <a:cubicBezTo>
                      <a:pt x="110" y="21"/>
                      <a:pt x="126" y="22"/>
                      <a:pt x="130" y="30"/>
                    </a:cubicBezTo>
                    <a:cubicBezTo>
                      <a:pt x="131" y="34"/>
                      <a:pt x="129" y="38"/>
                      <a:pt x="126" y="41"/>
                    </a:cubicBezTo>
                    <a:cubicBezTo>
                      <a:pt x="134" y="45"/>
                      <a:pt x="134" y="45"/>
                      <a:pt x="134" y="45"/>
                    </a:cubicBezTo>
                    <a:cubicBezTo>
                      <a:pt x="176" y="30"/>
                      <a:pt x="176" y="30"/>
                      <a:pt x="176" y="30"/>
                    </a:cubicBezTo>
                    <a:lnTo>
                      <a:pt x="132" y="8"/>
                    </a:lnTo>
                    <a:close/>
                    <a:moveTo>
                      <a:pt x="57" y="92"/>
                    </a:moveTo>
                    <a:cubicBezTo>
                      <a:pt x="3" y="63"/>
                      <a:pt x="3" y="63"/>
                      <a:pt x="3" y="63"/>
                    </a:cubicBezTo>
                    <a:cubicBezTo>
                      <a:pt x="3" y="59"/>
                      <a:pt x="3" y="59"/>
                      <a:pt x="3" y="59"/>
                    </a:cubicBezTo>
                    <a:cubicBezTo>
                      <a:pt x="57" y="87"/>
                      <a:pt x="57" y="87"/>
                      <a:pt x="57" y="87"/>
                    </a:cubicBezTo>
                    <a:lnTo>
                      <a:pt x="57" y="92"/>
                    </a:lnTo>
                    <a:close/>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67" name="Freeform 122"/>
              <p:cNvSpPr>
                <a:spLocks noEditPoints="1"/>
              </p:cNvSpPr>
              <p:nvPr/>
            </p:nvSpPr>
            <p:spPr bwMode="auto">
              <a:xfrm>
                <a:off x="4408488" y="4560888"/>
                <a:ext cx="1117600" cy="868362"/>
              </a:xfrm>
              <a:custGeom>
                <a:avLst/>
                <a:gdLst>
                  <a:gd name="T0" fmla="*/ 66 w 295"/>
                  <a:gd name="T1" fmla="*/ 178 h 229"/>
                  <a:gd name="T2" fmla="*/ 64 w 295"/>
                  <a:gd name="T3" fmla="*/ 169 h 229"/>
                  <a:gd name="T4" fmla="*/ 17 w 295"/>
                  <a:gd name="T5" fmla="*/ 114 h 229"/>
                  <a:gd name="T6" fmla="*/ 9 w 295"/>
                  <a:gd name="T7" fmla="*/ 82 h 229"/>
                  <a:gd name="T8" fmla="*/ 14 w 295"/>
                  <a:gd name="T9" fmla="*/ 13 h 229"/>
                  <a:gd name="T10" fmla="*/ 17 w 295"/>
                  <a:gd name="T11" fmla="*/ 17 h 229"/>
                  <a:gd name="T12" fmla="*/ 34 w 295"/>
                  <a:gd name="T13" fmla="*/ 70 h 229"/>
                  <a:gd name="T14" fmla="*/ 29 w 295"/>
                  <a:gd name="T15" fmla="*/ 84 h 229"/>
                  <a:gd name="T16" fmla="*/ 63 w 295"/>
                  <a:gd name="T17" fmla="*/ 132 h 229"/>
                  <a:gd name="T18" fmla="*/ 38 w 295"/>
                  <a:gd name="T19" fmla="*/ 95 h 229"/>
                  <a:gd name="T20" fmla="*/ 35 w 295"/>
                  <a:gd name="T21" fmla="*/ 76 h 229"/>
                  <a:gd name="T22" fmla="*/ 43 w 295"/>
                  <a:gd name="T23" fmla="*/ 70 h 229"/>
                  <a:gd name="T24" fmla="*/ 72 w 295"/>
                  <a:gd name="T25" fmla="*/ 101 h 229"/>
                  <a:gd name="T26" fmla="*/ 111 w 295"/>
                  <a:gd name="T27" fmla="*/ 153 h 229"/>
                  <a:gd name="T28" fmla="*/ 120 w 295"/>
                  <a:gd name="T29" fmla="*/ 178 h 229"/>
                  <a:gd name="T30" fmla="*/ 77 w 295"/>
                  <a:gd name="T31" fmla="*/ 93 h 229"/>
                  <a:gd name="T32" fmla="*/ 45 w 295"/>
                  <a:gd name="T33" fmla="*/ 59 h 229"/>
                  <a:gd name="T34" fmla="*/ 40 w 295"/>
                  <a:gd name="T35" fmla="*/ 60 h 229"/>
                  <a:gd name="T36" fmla="*/ 25 w 295"/>
                  <a:gd name="T37" fmla="*/ 13 h 229"/>
                  <a:gd name="T38" fmla="*/ 8 w 295"/>
                  <a:gd name="T39" fmla="*/ 0 h 229"/>
                  <a:gd name="T40" fmla="*/ 0 w 295"/>
                  <a:gd name="T41" fmla="*/ 2 h 229"/>
                  <a:gd name="T42" fmla="*/ 0 w 295"/>
                  <a:gd name="T43" fmla="*/ 82 h 229"/>
                  <a:gd name="T44" fmla="*/ 56 w 295"/>
                  <a:gd name="T45" fmla="*/ 174 h 229"/>
                  <a:gd name="T46" fmla="*/ 25 w 295"/>
                  <a:gd name="T47" fmla="*/ 186 h 229"/>
                  <a:gd name="T48" fmla="*/ 128 w 295"/>
                  <a:gd name="T49" fmla="*/ 229 h 229"/>
                  <a:gd name="T50" fmla="*/ 134 w 295"/>
                  <a:gd name="T51" fmla="*/ 186 h 229"/>
                  <a:gd name="T52" fmla="*/ 292 w 295"/>
                  <a:gd name="T53" fmla="*/ 1 h 229"/>
                  <a:gd name="T54" fmla="*/ 274 w 295"/>
                  <a:gd name="T55" fmla="*/ 7 h 229"/>
                  <a:gd name="T56" fmla="*/ 269 w 295"/>
                  <a:gd name="T57" fmla="*/ 13 h 229"/>
                  <a:gd name="T58" fmla="*/ 252 w 295"/>
                  <a:gd name="T59" fmla="*/ 59 h 229"/>
                  <a:gd name="T60" fmla="*/ 248 w 295"/>
                  <a:gd name="T61" fmla="*/ 60 h 229"/>
                  <a:gd name="T62" fmla="*/ 174 w 295"/>
                  <a:gd name="T63" fmla="*/ 153 h 229"/>
                  <a:gd name="T64" fmla="*/ 183 w 295"/>
                  <a:gd name="T65" fmla="*/ 178 h 229"/>
                  <a:gd name="T66" fmla="*/ 221 w 295"/>
                  <a:gd name="T67" fmla="*/ 101 h 229"/>
                  <a:gd name="T68" fmla="*/ 223 w 295"/>
                  <a:gd name="T69" fmla="*/ 100 h 229"/>
                  <a:gd name="T70" fmla="*/ 253 w 295"/>
                  <a:gd name="T71" fmla="*/ 70 h 229"/>
                  <a:gd name="T72" fmla="*/ 261 w 295"/>
                  <a:gd name="T73" fmla="*/ 84 h 229"/>
                  <a:gd name="T74" fmla="*/ 228 w 295"/>
                  <a:gd name="T75" fmla="*/ 129 h 229"/>
                  <a:gd name="T76" fmla="*/ 261 w 295"/>
                  <a:gd name="T77" fmla="*/ 98 h 229"/>
                  <a:gd name="T78" fmla="*/ 264 w 295"/>
                  <a:gd name="T79" fmla="*/ 74 h 229"/>
                  <a:gd name="T80" fmla="*/ 261 w 295"/>
                  <a:gd name="T81" fmla="*/ 70 h 229"/>
                  <a:gd name="T82" fmla="*/ 278 w 295"/>
                  <a:gd name="T83" fmla="*/ 16 h 229"/>
                  <a:gd name="T84" fmla="*/ 286 w 295"/>
                  <a:gd name="T85" fmla="*/ 9 h 229"/>
                  <a:gd name="T86" fmla="*/ 284 w 295"/>
                  <a:gd name="T87" fmla="*/ 94 h 229"/>
                  <a:gd name="T88" fmla="*/ 251 w 295"/>
                  <a:gd name="T89" fmla="*/ 145 h 229"/>
                  <a:gd name="T90" fmla="*/ 229 w 295"/>
                  <a:gd name="T91" fmla="*/ 170 h 229"/>
                  <a:gd name="T92" fmla="*/ 238 w 295"/>
                  <a:gd name="T93" fmla="*/ 178 h 229"/>
                  <a:gd name="T94" fmla="*/ 285 w 295"/>
                  <a:gd name="T95" fmla="*/ 119 h 229"/>
                  <a:gd name="T96" fmla="*/ 295 w 295"/>
                  <a:gd name="T97" fmla="*/ 5 h 229"/>
                  <a:gd name="T98" fmla="*/ 292 w 295"/>
                  <a:gd name="T99" fmla="*/ 1 h 229"/>
                  <a:gd name="T100" fmla="*/ 175 w 295"/>
                  <a:gd name="T101" fmla="*/ 229 h 229"/>
                  <a:gd name="T102" fmla="*/ 278 w 295"/>
                  <a:gd name="T103" fmla="*/ 186 h 229"/>
                  <a:gd name="T104" fmla="*/ 169 w 295"/>
                  <a:gd name="T105" fmla="*/ 22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5" h="229">
                    <a:moveTo>
                      <a:pt x="56" y="178"/>
                    </a:moveTo>
                    <a:cubicBezTo>
                      <a:pt x="66" y="178"/>
                      <a:pt x="66" y="178"/>
                      <a:pt x="66" y="178"/>
                    </a:cubicBezTo>
                    <a:cubicBezTo>
                      <a:pt x="65" y="170"/>
                      <a:pt x="65" y="170"/>
                      <a:pt x="65" y="170"/>
                    </a:cubicBezTo>
                    <a:cubicBezTo>
                      <a:pt x="64" y="169"/>
                      <a:pt x="64" y="169"/>
                      <a:pt x="64" y="169"/>
                    </a:cubicBezTo>
                    <a:cubicBezTo>
                      <a:pt x="64" y="169"/>
                      <a:pt x="54" y="157"/>
                      <a:pt x="43" y="145"/>
                    </a:cubicBezTo>
                    <a:cubicBezTo>
                      <a:pt x="33" y="132"/>
                      <a:pt x="21" y="118"/>
                      <a:pt x="17" y="114"/>
                    </a:cubicBezTo>
                    <a:cubicBezTo>
                      <a:pt x="14" y="109"/>
                      <a:pt x="11" y="101"/>
                      <a:pt x="10" y="94"/>
                    </a:cubicBezTo>
                    <a:cubicBezTo>
                      <a:pt x="9" y="87"/>
                      <a:pt x="9" y="82"/>
                      <a:pt x="9" y="82"/>
                    </a:cubicBezTo>
                    <a:cubicBezTo>
                      <a:pt x="9" y="9"/>
                      <a:pt x="9" y="9"/>
                      <a:pt x="9" y="9"/>
                    </a:cubicBezTo>
                    <a:cubicBezTo>
                      <a:pt x="10" y="9"/>
                      <a:pt x="12" y="11"/>
                      <a:pt x="14" y="13"/>
                    </a:cubicBezTo>
                    <a:cubicBezTo>
                      <a:pt x="15" y="14"/>
                      <a:pt x="16" y="15"/>
                      <a:pt x="16" y="16"/>
                    </a:cubicBezTo>
                    <a:cubicBezTo>
                      <a:pt x="17" y="16"/>
                      <a:pt x="17" y="17"/>
                      <a:pt x="17" y="17"/>
                    </a:cubicBezTo>
                    <a:cubicBezTo>
                      <a:pt x="33" y="70"/>
                      <a:pt x="33" y="70"/>
                      <a:pt x="33" y="70"/>
                    </a:cubicBezTo>
                    <a:cubicBezTo>
                      <a:pt x="34" y="70"/>
                      <a:pt x="34" y="70"/>
                      <a:pt x="34" y="70"/>
                    </a:cubicBezTo>
                    <a:cubicBezTo>
                      <a:pt x="32" y="71"/>
                      <a:pt x="32" y="73"/>
                      <a:pt x="31" y="74"/>
                    </a:cubicBezTo>
                    <a:cubicBezTo>
                      <a:pt x="30" y="77"/>
                      <a:pt x="29" y="80"/>
                      <a:pt x="29" y="84"/>
                    </a:cubicBezTo>
                    <a:cubicBezTo>
                      <a:pt x="29" y="89"/>
                      <a:pt x="30" y="94"/>
                      <a:pt x="34" y="98"/>
                    </a:cubicBezTo>
                    <a:cubicBezTo>
                      <a:pt x="40" y="105"/>
                      <a:pt x="63" y="132"/>
                      <a:pt x="63" y="132"/>
                    </a:cubicBezTo>
                    <a:cubicBezTo>
                      <a:pt x="67" y="129"/>
                      <a:pt x="67" y="129"/>
                      <a:pt x="67" y="129"/>
                    </a:cubicBezTo>
                    <a:cubicBezTo>
                      <a:pt x="67" y="129"/>
                      <a:pt x="44" y="102"/>
                      <a:pt x="38" y="95"/>
                    </a:cubicBezTo>
                    <a:cubicBezTo>
                      <a:pt x="35" y="92"/>
                      <a:pt x="34" y="88"/>
                      <a:pt x="34" y="84"/>
                    </a:cubicBezTo>
                    <a:cubicBezTo>
                      <a:pt x="34" y="81"/>
                      <a:pt x="35" y="78"/>
                      <a:pt x="35" y="76"/>
                    </a:cubicBezTo>
                    <a:cubicBezTo>
                      <a:pt x="36" y="73"/>
                      <a:pt x="39" y="71"/>
                      <a:pt x="41" y="70"/>
                    </a:cubicBezTo>
                    <a:cubicBezTo>
                      <a:pt x="42" y="70"/>
                      <a:pt x="42" y="70"/>
                      <a:pt x="43" y="70"/>
                    </a:cubicBezTo>
                    <a:cubicBezTo>
                      <a:pt x="50" y="77"/>
                      <a:pt x="66" y="95"/>
                      <a:pt x="72" y="100"/>
                    </a:cubicBezTo>
                    <a:cubicBezTo>
                      <a:pt x="72" y="101"/>
                      <a:pt x="72" y="101"/>
                      <a:pt x="72" y="101"/>
                    </a:cubicBezTo>
                    <a:cubicBezTo>
                      <a:pt x="73" y="101"/>
                      <a:pt x="73" y="101"/>
                      <a:pt x="73" y="101"/>
                    </a:cubicBezTo>
                    <a:cubicBezTo>
                      <a:pt x="102" y="110"/>
                      <a:pt x="111" y="133"/>
                      <a:pt x="111" y="153"/>
                    </a:cubicBezTo>
                    <a:cubicBezTo>
                      <a:pt x="111" y="178"/>
                      <a:pt x="111" y="178"/>
                      <a:pt x="111" y="178"/>
                    </a:cubicBezTo>
                    <a:cubicBezTo>
                      <a:pt x="120" y="178"/>
                      <a:pt x="120" y="178"/>
                      <a:pt x="120" y="178"/>
                    </a:cubicBezTo>
                    <a:cubicBezTo>
                      <a:pt x="120" y="153"/>
                      <a:pt x="120" y="153"/>
                      <a:pt x="120" y="153"/>
                    </a:cubicBezTo>
                    <a:cubicBezTo>
                      <a:pt x="121" y="131"/>
                      <a:pt x="110" y="103"/>
                      <a:pt x="77" y="93"/>
                    </a:cubicBezTo>
                    <a:cubicBezTo>
                      <a:pt x="70" y="86"/>
                      <a:pt x="49" y="63"/>
                      <a:pt x="46" y="60"/>
                    </a:cubicBezTo>
                    <a:cubicBezTo>
                      <a:pt x="45" y="59"/>
                      <a:pt x="45" y="59"/>
                      <a:pt x="45" y="59"/>
                    </a:cubicBezTo>
                    <a:cubicBezTo>
                      <a:pt x="42" y="59"/>
                      <a:pt x="42" y="59"/>
                      <a:pt x="42" y="59"/>
                    </a:cubicBezTo>
                    <a:cubicBezTo>
                      <a:pt x="41" y="59"/>
                      <a:pt x="41" y="59"/>
                      <a:pt x="40" y="60"/>
                    </a:cubicBezTo>
                    <a:cubicBezTo>
                      <a:pt x="25" y="13"/>
                      <a:pt x="25" y="13"/>
                      <a:pt x="25" y="13"/>
                    </a:cubicBezTo>
                    <a:cubicBezTo>
                      <a:pt x="25" y="13"/>
                      <a:pt x="25" y="13"/>
                      <a:pt x="25" y="13"/>
                    </a:cubicBezTo>
                    <a:cubicBezTo>
                      <a:pt x="25" y="13"/>
                      <a:pt x="23" y="10"/>
                      <a:pt x="21" y="7"/>
                    </a:cubicBezTo>
                    <a:cubicBezTo>
                      <a:pt x="18" y="4"/>
                      <a:pt x="14" y="0"/>
                      <a:pt x="8" y="0"/>
                    </a:cubicBezTo>
                    <a:cubicBezTo>
                      <a:pt x="6" y="0"/>
                      <a:pt x="4" y="0"/>
                      <a:pt x="2" y="1"/>
                    </a:cubicBezTo>
                    <a:cubicBezTo>
                      <a:pt x="0" y="2"/>
                      <a:pt x="0" y="2"/>
                      <a:pt x="0" y="2"/>
                    </a:cubicBezTo>
                    <a:cubicBezTo>
                      <a:pt x="0" y="5"/>
                      <a:pt x="0" y="5"/>
                      <a:pt x="0" y="5"/>
                    </a:cubicBezTo>
                    <a:cubicBezTo>
                      <a:pt x="0" y="82"/>
                      <a:pt x="0" y="82"/>
                      <a:pt x="0" y="82"/>
                    </a:cubicBezTo>
                    <a:cubicBezTo>
                      <a:pt x="0" y="82"/>
                      <a:pt x="0" y="106"/>
                      <a:pt x="10" y="119"/>
                    </a:cubicBezTo>
                    <a:cubicBezTo>
                      <a:pt x="17" y="128"/>
                      <a:pt x="50" y="166"/>
                      <a:pt x="56" y="174"/>
                    </a:cubicBezTo>
                    <a:lnTo>
                      <a:pt x="56" y="178"/>
                    </a:lnTo>
                    <a:close/>
                    <a:moveTo>
                      <a:pt x="25" y="186"/>
                    </a:moveTo>
                    <a:cubicBezTo>
                      <a:pt x="25" y="218"/>
                      <a:pt x="25" y="218"/>
                      <a:pt x="25" y="218"/>
                    </a:cubicBezTo>
                    <a:cubicBezTo>
                      <a:pt x="128" y="229"/>
                      <a:pt x="128" y="229"/>
                      <a:pt x="128" y="229"/>
                    </a:cubicBezTo>
                    <a:cubicBezTo>
                      <a:pt x="132" y="229"/>
                      <a:pt x="134" y="226"/>
                      <a:pt x="134" y="223"/>
                    </a:cubicBezTo>
                    <a:cubicBezTo>
                      <a:pt x="134" y="186"/>
                      <a:pt x="134" y="186"/>
                      <a:pt x="134" y="186"/>
                    </a:cubicBezTo>
                    <a:lnTo>
                      <a:pt x="25" y="186"/>
                    </a:lnTo>
                    <a:close/>
                    <a:moveTo>
                      <a:pt x="292" y="1"/>
                    </a:moveTo>
                    <a:cubicBezTo>
                      <a:pt x="291" y="0"/>
                      <a:pt x="289" y="0"/>
                      <a:pt x="287" y="0"/>
                    </a:cubicBezTo>
                    <a:cubicBezTo>
                      <a:pt x="281" y="0"/>
                      <a:pt x="277" y="4"/>
                      <a:pt x="274" y="7"/>
                    </a:cubicBezTo>
                    <a:cubicBezTo>
                      <a:pt x="271" y="10"/>
                      <a:pt x="270" y="13"/>
                      <a:pt x="269" y="13"/>
                    </a:cubicBezTo>
                    <a:cubicBezTo>
                      <a:pt x="269" y="13"/>
                      <a:pt x="269" y="13"/>
                      <a:pt x="269" y="13"/>
                    </a:cubicBezTo>
                    <a:cubicBezTo>
                      <a:pt x="255" y="60"/>
                      <a:pt x="255" y="60"/>
                      <a:pt x="255" y="60"/>
                    </a:cubicBezTo>
                    <a:cubicBezTo>
                      <a:pt x="254" y="59"/>
                      <a:pt x="253" y="59"/>
                      <a:pt x="252" y="59"/>
                    </a:cubicBezTo>
                    <a:cubicBezTo>
                      <a:pt x="250" y="59"/>
                      <a:pt x="250" y="59"/>
                      <a:pt x="250" y="59"/>
                    </a:cubicBezTo>
                    <a:cubicBezTo>
                      <a:pt x="248" y="60"/>
                      <a:pt x="248" y="60"/>
                      <a:pt x="248" y="60"/>
                    </a:cubicBezTo>
                    <a:cubicBezTo>
                      <a:pt x="246" y="63"/>
                      <a:pt x="225" y="86"/>
                      <a:pt x="218" y="93"/>
                    </a:cubicBezTo>
                    <a:cubicBezTo>
                      <a:pt x="185" y="103"/>
                      <a:pt x="174" y="131"/>
                      <a:pt x="174" y="153"/>
                    </a:cubicBezTo>
                    <a:cubicBezTo>
                      <a:pt x="174" y="178"/>
                      <a:pt x="174" y="178"/>
                      <a:pt x="174" y="178"/>
                    </a:cubicBezTo>
                    <a:cubicBezTo>
                      <a:pt x="183" y="178"/>
                      <a:pt x="183" y="178"/>
                      <a:pt x="183" y="178"/>
                    </a:cubicBezTo>
                    <a:cubicBezTo>
                      <a:pt x="183" y="153"/>
                      <a:pt x="183" y="153"/>
                      <a:pt x="183" y="153"/>
                    </a:cubicBezTo>
                    <a:cubicBezTo>
                      <a:pt x="184" y="133"/>
                      <a:pt x="192" y="110"/>
                      <a:pt x="221" y="101"/>
                    </a:cubicBezTo>
                    <a:cubicBezTo>
                      <a:pt x="222" y="101"/>
                      <a:pt x="222" y="101"/>
                      <a:pt x="222" y="101"/>
                    </a:cubicBezTo>
                    <a:cubicBezTo>
                      <a:pt x="223" y="100"/>
                      <a:pt x="223" y="100"/>
                      <a:pt x="223" y="100"/>
                    </a:cubicBezTo>
                    <a:cubicBezTo>
                      <a:pt x="229" y="95"/>
                      <a:pt x="245" y="77"/>
                      <a:pt x="252" y="70"/>
                    </a:cubicBezTo>
                    <a:cubicBezTo>
                      <a:pt x="252" y="70"/>
                      <a:pt x="253" y="70"/>
                      <a:pt x="253" y="70"/>
                    </a:cubicBezTo>
                    <a:cubicBezTo>
                      <a:pt x="256" y="71"/>
                      <a:pt x="259" y="73"/>
                      <a:pt x="259" y="76"/>
                    </a:cubicBezTo>
                    <a:cubicBezTo>
                      <a:pt x="260" y="78"/>
                      <a:pt x="261" y="81"/>
                      <a:pt x="261" y="84"/>
                    </a:cubicBezTo>
                    <a:cubicBezTo>
                      <a:pt x="261" y="88"/>
                      <a:pt x="260" y="92"/>
                      <a:pt x="257" y="95"/>
                    </a:cubicBezTo>
                    <a:cubicBezTo>
                      <a:pt x="251" y="102"/>
                      <a:pt x="228" y="129"/>
                      <a:pt x="228" y="129"/>
                    </a:cubicBezTo>
                    <a:cubicBezTo>
                      <a:pt x="231" y="132"/>
                      <a:pt x="231" y="132"/>
                      <a:pt x="231" y="132"/>
                    </a:cubicBezTo>
                    <a:cubicBezTo>
                      <a:pt x="231" y="132"/>
                      <a:pt x="255" y="105"/>
                      <a:pt x="261" y="98"/>
                    </a:cubicBezTo>
                    <a:cubicBezTo>
                      <a:pt x="264" y="94"/>
                      <a:pt x="265" y="89"/>
                      <a:pt x="265" y="84"/>
                    </a:cubicBezTo>
                    <a:cubicBezTo>
                      <a:pt x="265" y="80"/>
                      <a:pt x="264" y="77"/>
                      <a:pt x="264" y="74"/>
                    </a:cubicBezTo>
                    <a:cubicBezTo>
                      <a:pt x="263" y="73"/>
                      <a:pt x="262" y="71"/>
                      <a:pt x="261" y="70"/>
                    </a:cubicBezTo>
                    <a:cubicBezTo>
                      <a:pt x="261" y="70"/>
                      <a:pt x="261" y="70"/>
                      <a:pt x="261" y="70"/>
                    </a:cubicBezTo>
                    <a:cubicBezTo>
                      <a:pt x="278" y="17"/>
                      <a:pt x="278" y="17"/>
                      <a:pt x="278" y="17"/>
                    </a:cubicBezTo>
                    <a:cubicBezTo>
                      <a:pt x="278" y="17"/>
                      <a:pt x="278" y="16"/>
                      <a:pt x="278" y="16"/>
                    </a:cubicBezTo>
                    <a:cubicBezTo>
                      <a:pt x="279" y="14"/>
                      <a:pt x="281" y="12"/>
                      <a:pt x="282" y="11"/>
                    </a:cubicBezTo>
                    <a:cubicBezTo>
                      <a:pt x="284" y="10"/>
                      <a:pt x="285" y="9"/>
                      <a:pt x="286" y="9"/>
                    </a:cubicBezTo>
                    <a:cubicBezTo>
                      <a:pt x="286" y="82"/>
                      <a:pt x="286" y="82"/>
                      <a:pt x="286" y="82"/>
                    </a:cubicBezTo>
                    <a:cubicBezTo>
                      <a:pt x="286" y="82"/>
                      <a:pt x="286" y="87"/>
                      <a:pt x="284" y="94"/>
                    </a:cubicBezTo>
                    <a:cubicBezTo>
                      <a:pt x="283" y="101"/>
                      <a:pt x="281" y="109"/>
                      <a:pt x="278" y="114"/>
                    </a:cubicBezTo>
                    <a:cubicBezTo>
                      <a:pt x="274" y="118"/>
                      <a:pt x="262" y="132"/>
                      <a:pt x="251" y="145"/>
                    </a:cubicBezTo>
                    <a:cubicBezTo>
                      <a:pt x="240" y="157"/>
                      <a:pt x="230" y="169"/>
                      <a:pt x="230" y="169"/>
                    </a:cubicBezTo>
                    <a:cubicBezTo>
                      <a:pt x="229" y="170"/>
                      <a:pt x="229" y="170"/>
                      <a:pt x="229" y="170"/>
                    </a:cubicBezTo>
                    <a:cubicBezTo>
                      <a:pt x="229" y="178"/>
                      <a:pt x="229" y="178"/>
                      <a:pt x="229" y="178"/>
                    </a:cubicBezTo>
                    <a:cubicBezTo>
                      <a:pt x="238" y="178"/>
                      <a:pt x="238" y="178"/>
                      <a:pt x="238" y="178"/>
                    </a:cubicBezTo>
                    <a:cubicBezTo>
                      <a:pt x="238" y="173"/>
                      <a:pt x="238" y="173"/>
                      <a:pt x="238" y="173"/>
                    </a:cubicBezTo>
                    <a:cubicBezTo>
                      <a:pt x="245" y="166"/>
                      <a:pt x="278" y="128"/>
                      <a:pt x="285" y="119"/>
                    </a:cubicBezTo>
                    <a:cubicBezTo>
                      <a:pt x="295" y="106"/>
                      <a:pt x="295" y="82"/>
                      <a:pt x="295" y="82"/>
                    </a:cubicBezTo>
                    <a:cubicBezTo>
                      <a:pt x="295" y="82"/>
                      <a:pt x="295" y="13"/>
                      <a:pt x="295" y="5"/>
                    </a:cubicBezTo>
                    <a:cubicBezTo>
                      <a:pt x="295" y="2"/>
                      <a:pt x="295" y="2"/>
                      <a:pt x="295" y="2"/>
                    </a:cubicBezTo>
                    <a:lnTo>
                      <a:pt x="292" y="1"/>
                    </a:lnTo>
                    <a:close/>
                    <a:moveTo>
                      <a:pt x="169" y="223"/>
                    </a:moveTo>
                    <a:cubicBezTo>
                      <a:pt x="169" y="226"/>
                      <a:pt x="171" y="229"/>
                      <a:pt x="175" y="229"/>
                    </a:cubicBezTo>
                    <a:cubicBezTo>
                      <a:pt x="278" y="218"/>
                      <a:pt x="278" y="218"/>
                      <a:pt x="278" y="218"/>
                    </a:cubicBezTo>
                    <a:cubicBezTo>
                      <a:pt x="278" y="186"/>
                      <a:pt x="278" y="186"/>
                      <a:pt x="278" y="186"/>
                    </a:cubicBezTo>
                    <a:cubicBezTo>
                      <a:pt x="169" y="186"/>
                      <a:pt x="169" y="186"/>
                      <a:pt x="169" y="186"/>
                    </a:cubicBezTo>
                    <a:lnTo>
                      <a:pt x="169" y="223"/>
                    </a:lnTo>
                    <a:close/>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grpSp>
        <p:grpSp>
          <p:nvGrpSpPr>
            <p:cNvPr id="91" name="Group 90"/>
            <p:cNvGrpSpPr/>
            <p:nvPr/>
          </p:nvGrpSpPr>
          <p:grpSpPr>
            <a:xfrm>
              <a:off x="4644396" y="3913500"/>
              <a:ext cx="491744" cy="490909"/>
              <a:chOff x="4634627" y="3791393"/>
              <a:chExt cx="491744" cy="490909"/>
            </a:xfrm>
          </p:grpSpPr>
          <p:sp>
            <p:nvSpPr>
              <p:cNvPr id="20" name="Oval 19"/>
              <p:cNvSpPr/>
              <p:nvPr/>
            </p:nvSpPr>
            <p:spPr>
              <a:xfrm>
                <a:off x="4634627" y="3791393"/>
                <a:ext cx="491744" cy="490909"/>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sp>
            <p:nvSpPr>
              <p:cNvPr id="69" name="Freeform 61"/>
              <p:cNvSpPr>
                <a:spLocks noChangeAspect="1" noEditPoints="1"/>
              </p:cNvSpPr>
              <p:nvPr/>
            </p:nvSpPr>
            <p:spPr bwMode="auto">
              <a:xfrm>
                <a:off x="4731354" y="3908786"/>
                <a:ext cx="317086" cy="283177"/>
              </a:xfrm>
              <a:custGeom>
                <a:avLst/>
                <a:gdLst>
                  <a:gd name="T0" fmla="*/ 2147483647 w 5332"/>
                  <a:gd name="T1" fmla="*/ 2147483647 h 4763"/>
                  <a:gd name="T2" fmla="*/ 2147483647 w 5332"/>
                  <a:gd name="T3" fmla="*/ 2147483647 h 4763"/>
                  <a:gd name="T4" fmla="*/ 2147483647 w 5332"/>
                  <a:gd name="T5" fmla="*/ 2147483647 h 4763"/>
                  <a:gd name="T6" fmla="*/ 2147483647 w 5332"/>
                  <a:gd name="T7" fmla="*/ 2147483647 h 4763"/>
                  <a:gd name="T8" fmla="*/ 2147483647 w 5332"/>
                  <a:gd name="T9" fmla="*/ 2147483647 h 4763"/>
                  <a:gd name="T10" fmla="*/ 2147483647 w 5332"/>
                  <a:gd name="T11" fmla="*/ 2147483647 h 4763"/>
                  <a:gd name="T12" fmla="*/ 2147483647 w 5332"/>
                  <a:gd name="T13" fmla="*/ 2147483647 h 4763"/>
                  <a:gd name="T14" fmla="*/ 2147483647 w 5332"/>
                  <a:gd name="T15" fmla="*/ 2147483647 h 4763"/>
                  <a:gd name="T16" fmla="*/ 2147483647 w 5332"/>
                  <a:gd name="T17" fmla="*/ 2147483647 h 4763"/>
                  <a:gd name="T18" fmla="*/ 2147483647 w 5332"/>
                  <a:gd name="T19" fmla="*/ 2147483647 h 4763"/>
                  <a:gd name="T20" fmla="*/ 2147483647 w 5332"/>
                  <a:gd name="T21" fmla="*/ 2147483647 h 4763"/>
                  <a:gd name="T22" fmla="*/ 2147483647 w 5332"/>
                  <a:gd name="T23" fmla="*/ 2147483647 h 4763"/>
                  <a:gd name="T24" fmla="*/ 2147483647 w 5332"/>
                  <a:gd name="T25" fmla="*/ 2147483647 h 4763"/>
                  <a:gd name="T26" fmla="*/ 2147483647 w 5332"/>
                  <a:gd name="T27" fmla="*/ 2147483647 h 4763"/>
                  <a:gd name="T28" fmla="*/ 2147483647 w 5332"/>
                  <a:gd name="T29" fmla="*/ 2147483647 h 4763"/>
                  <a:gd name="T30" fmla="*/ 2147483647 w 5332"/>
                  <a:gd name="T31" fmla="*/ 2147483647 h 4763"/>
                  <a:gd name="T32" fmla="*/ 2147483647 w 5332"/>
                  <a:gd name="T33" fmla="*/ 2147483647 h 4763"/>
                  <a:gd name="T34" fmla="*/ 2147483647 w 5332"/>
                  <a:gd name="T35" fmla="*/ 2147483647 h 4763"/>
                  <a:gd name="T36" fmla="*/ 2147483647 w 5332"/>
                  <a:gd name="T37" fmla="*/ 2147483647 h 4763"/>
                  <a:gd name="T38" fmla="*/ 2147483647 w 5332"/>
                  <a:gd name="T39" fmla="*/ 2147483647 h 4763"/>
                  <a:gd name="T40" fmla="*/ 2147483647 w 5332"/>
                  <a:gd name="T41" fmla="*/ 2147483647 h 4763"/>
                  <a:gd name="T42" fmla="*/ 2147483647 w 5332"/>
                  <a:gd name="T43" fmla="*/ 2147483647 h 4763"/>
                  <a:gd name="T44" fmla="*/ 2147483647 w 5332"/>
                  <a:gd name="T45" fmla="*/ 2147483647 h 4763"/>
                  <a:gd name="T46" fmla="*/ 2147483647 w 5332"/>
                  <a:gd name="T47" fmla="*/ 2147483647 h 4763"/>
                  <a:gd name="T48" fmla="*/ 2147483647 w 5332"/>
                  <a:gd name="T49" fmla="*/ 2147483647 h 4763"/>
                  <a:gd name="T50" fmla="*/ 2147483647 w 5332"/>
                  <a:gd name="T51" fmla="*/ 2147483647 h 4763"/>
                  <a:gd name="T52" fmla="*/ 2147483647 w 5332"/>
                  <a:gd name="T53" fmla="*/ 2147483647 h 4763"/>
                  <a:gd name="T54" fmla="*/ 2147483647 w 5332"/>
                  <a:gd name="T55" fmla="*/ 2147483647 h 4763"/>
                  <a:gd name="T56" fmla="*/ 2147483647 w 5332"/>
                  <a:gd name="T57" fmla="*/ 2147483647 h 4763"/>
                  <a:gd name="T58" fmla="*/ 2147483647 w 5332"/>
                  <a:gd name="T59" fmla="*/ 2147483647 h 4763"/>
                  <a:gd name="T60" fmla="*/ 2147483647 w 5332"/>
                  <a:gd name="T61" fmla="*/ 2147483647 h 4763"/>
                  <a:gd name="T62" fmla="*/ 2147483647 w 5332"/>
                  <a:gd name="T63" fmla="*/ 2147483647 h 4763"/>
                  <a:gd name="T64" fmla="*/ 2147483647 w 5332"/>
                  <a:gd name="T65" fmla="*/ 2147483647 h 4763"/>
                  <a:gd name="T66" fmla="*/ 2147483647 w 5332"/>
                  <a:gd name="T67" fmla="*/ 2147483647 h 4763"/>
                  <a:gd name="T68" fmla="*/ 2147483647 w 5332"/>
                  <a:gd name="T69" fmla="*/ 2147483647 h 4763"/>
                  <a:gd name="T70" fmla="*/ 2147483647 w 5332"/>
                  <a:gd name="T71" fmla="*/ 2147483647 h 4763"/>
                  <a:gd name="T72" fmla="*/ 2147483647 w 5332"/>
                  <a:gd name="T73" fmla="*/ 2147483647 h 4763"/>
                  <a:gd name="T74" fmla="*/ 2147483647 w 5332"/>
                  <a:gd name="T75" fmla="*/ 2147483647 h 4763"/>
                  <a:gd name="T76" fmla="*/ 2147483647 w 5332"/>
                  <a:gd name="T77" fmla="*/ 2147483647 h 4763"/>
                  <a:gd name="T78" fmla="*/ 2147483647 w 5332"/>
                  <a:gd name="T79" fmla="*/ 2147483647 h 4763"/>
                  <a:gd name="T80" fmla="*/ 2147483647 w 5332"/>
                  <a:gd name="T81" fmla="*/ 2147483647 h 4763"/>
                  <a:gd name="T82" fmla="*/ 2147483647 w 5332"/>
                  <a:gd name="T83" fmla="*/ 2147483647 h 4763"/>
                  <a:gd name="T84" fmla="*/ 2147483647 w 5332"/>
                  <a:gd name="T85" fmla="*/ 2147483647 h 4763"/>
                  <a:gd name="T86" fmla="*/ 2147483647 w 5332"/>
                  <a:gd name="T87" fmla="*/ 2147483647 h 4763"/>
                  <a:gd name="T88" fmla="*/ 2147483647 w 5332"/>
                  <a:gd name="T89" fmla="*/ 2147483647 h 4763"/>
                  <a:gd name="T90" fmla="*/ 2147483647 w 5332"/>
                  <a:gd name="T91" fmla="*/ 2147483647 h 4763"/>
                  <a:gd name="T92" fmla="*/ 2147483647 w 5332"/>
                  <a:gd name="T93" fmla="*/ 2147483647 h 4763"/>
                  <a:gd name="T94" fmla="*/ 2147483647 w 5332"/>
                  <a:gd name="T95" fmla="*/ 2147483647 h 4763"/>
                  <a:gd name="T96" fmla="*/ 2147483647 w 5332"/>
                  <a:gd name="T97" fmla="*/ 2147483647 h 4763"/>
                  <a:gd name="T98" fmla="*/ 2147483647 w 5332"/>
                  <a:gd name="T99" fmla="*/ 2147483647 h 4763"/>
                  <a:gd name="T100" fmla="*/ 2147483647 w 5332"/>
                  <a:gd name="T101" fmla="*/ 2147483647 h 4763"/>
                  <a:gd name="T102" fmla="*/ 2147483647 w 5332"/>
                  <a:gd name="T103" fmla="*/ 2147483647 h 4763"/>
                  <a:gd name="T104" fmla="*/ 2147483647 w 5332"/>
                  <a:gd name="T105" fmla="*/ 2147483647 h 4763"/>
                  <a:gd name="T106" fmla="*/ 2147483647 w 5332"/>
                  <a:gd name="T107" fmla="*/ 2147483647 h 4763"/>
                  <a:gd name="T108" fmla="*/ 2147483647 w 5332"/>
                  <a:gd name="T109" fmla="*/ 2147483647 h 4763"/>
                  <a:gd name="T110" fmla="*/ 2147483647 w 5332"/>
                  <a:gd name="T111" fmla="*/ 2147483647 h 4763"/>
                  <a:gd name="T112" fmla="*/ 2147483647 w 5332"/>
                  <a:gd name="T113" fmla="*/ 2147483647 h 4763"/>
                  <a:gd name="T114" fmla="*/ 2147483647 w 5332"/>
                  <a:gd name="T115" fmla="*/ 2147483647 h 4763"/>
                  <a:gd name="T116" fmla="*/ 2147483647 w 5332"/>
                  <a:gd name="T117" fmla="*/ 2147483647 h 4763"/>
                  <a:gd name="T118" fmla="*/ 2147483647 w 5332"/>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32"/>
                  <a:gd name="T181" fmla="*/ 0 h 4763"/>
                  <a:gd name="T182" fmla="*/ 5332 w 5332"/>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32" h="4763">
                    <a:moveTo>
                      <a:pt x="2666" y="3372"/>
                    </a:moveTo>
                    <a:lnTo>
                      <a:pt x="2666" y="3372"/>
                    </a:lnTo>
                    <a:lnTo>
                      <a:pt x="2658" y="3372"/>
                    </a:lnTo>
                    <a:lnTo>
                      <a:pt x="2650" y="3373"/>
                    </a:lnTo>
                    <a:lnTo>
                      <a:pt x="2642" y="3376"/>
                    </a:lnTo>
                    <a:lnTo>
                      <a:pt x="2634" y="3378"/>
                    </a:lnTo>
                    <a:lnTo>
                      <a:pt x="2620" y="3385"/>
                    </a:lnTo>
                    <a:lnTo>
                      <a:pt x="2608" y="3396"/>
                    </a:lnTo>
                    <a:lnTo>
                      <a:pt x="2598" y="3408"/>
                    </a:lnTo>
                    <a:lnTo>
                      <a:pt x="2590" y="3421"/>
                    </a:lnTo>
                    <a:lnTo>
                      <a:pt x="2587" y="3429"/>
                    </a:lnTo>
                    <a:lnTo>
                      <a:pt x="2585" y="3437"/>
                    </a:lnTo>
                    <a:lnTo>
                      <a:pt x="2584" y="3445"/>
                    </a:lnTo>
                    <a:lnTo>
                      <a:pt x="2584" y="3454"/>
                    </a:lnTo>
                    <a:lnTo>
                      <a:pt x="2584" y="3463"/>
                    </a:lnTo>
                    <a:lnTo>
                      <a:pt x="2585" y="3471"/>
                    </a:lnTo>
                    <a:lnTo>
                      <a:pt x="2587" y="3478"/>
                    </a:lnTo>
                    <a:lnTo>
                      <a:pt x="2590" y="3486"/>
                    </a:lnTo>
                    <a:lnTo>
                      <a:pt x="2598" y="3500"/>
                    </a:lnTo>
                    <a:lnTo>
                      <a:pt x="2608" y="3513"/>
                    </a:lnTo>
                    <a:lnTo>
                      <a:pt x="2620" y="3522"/>
                    </a:lnTo>
                    <a:lnTo>
                      <a:pt x="2634" y="3530"/>
                    </a:lnTo>
                    <a:lnTo>
                      <a:pt x="2642" y="3533"/>
                    </a:lnTo>
                    <a:lnTo>
                      <a:pt x="2650" y="3534"/>
                    </a:lnTo>
                    <a:lnTo>
                      <a:pt x="2658" y="3535"/>
                    </a:lnTo>
                    <a:lnTo>
                      <a:pt x="2666" y="3537"/>
                    </a:lnTo>
                    <a:lnTo>
                      <a:pt x="2674" y="3535"/>
                    </a:lnTo>
                    <a:lnTo>
                      <a:pt x="2682" y="3534"/>
                    </a:lnTo>
                    <a:lnTo>
                      <a:pt x="2690" y="3533"/>
                    </a:lnTo>
                    <a:lnTo>
                      <a:pt x="2698" y="3530"/>
                    </a:lnTo>
                    <a:lnTo>
                      <a:pt x="2712" y="3522"/>
                    </a:lnTo>
                    <a:lnTo>
                      <a:pt x="2724" y="3513"/>
                    </a:lnTo>
                    <a:lnTo>
                      <a:pt x="2734" y="3500"/>
                    </a:lnTo>
                    <a:lnTo>
                      <a:pt x="2741" y="3486"/>
                    </a:lnTo>
                    <a:lnTo>
                      <a:pt x="2744" y="3478"/>
                    </a:lnTo>
                    <a:lnTo>
                      <a:pt x="2747" y="3471"/>
                    </a:lnTo>
                    <a:lnTo>
                      <a:pt x="2748" y="3463"/>
                    </a:lnTo>
                    <a:lnTo>
                      <a:pt x="2748" y="3454"/>
                    </a:lnTo>
                    <a:lnTo>
                      <a:pt x="2748" y="3445"/>
                    </a:lnTo>
                    <a:lnTo>
                      <a:pt x="2747" y="3437"/>
                    </a:lnTo>
                    <a:lnTo>
                      <a:pt x="2744" y="3429"/>
                    </a:lnTo>
                    <a:lnTo>
                      <a:pt x="2741" y="3421"/>
                    </a:lnTo>
                    <a:lnTo>
                      <a:pt x="2734" y="3408"/>
                    </a:lnTo>
                    <a:lnTo>
                      <a:pt x="2724" y="3396"/>
                    </a:lnTo>
                    <a:lnTo>
                      <a:pt x="2712" y="3385"/>
                    </a:lnTo>
                    <a:lnTo>
                      <a:pt x="2698" y="3378"/>
                    </a:lnTo>
                    <a:lnTo>
                      <a:pt x="2690" y="3376"/>
                    </a:lnTo>
                    <a:lnTo>
                      <a:pt x="2682" y="3373"/>
                    </a:lnTo>
                    <a:lnTo>
                      <a:pt x="2674" y="3372"/>
                    </a:lnTo>
                    <a:lnTo>
                      <a:pt x="2666" y="3372"/>
                    </a:lnTo>
                    <a:close/>
                    <a:moveTo>
                      <a:pt x="2131" y="4305"/>
                    </a:moveTo>
                    <a:lnTo>
                      <a:pt x="2885" y="4305"/>
                    </a:lnTo>
                    <a:lnTo>
                      <a:pt x="2885" y="4413"/>
                    </a:lnTo>
                    <a:lnTo>
                      <a:pt x="2039" y="4413"/>
                    </a:lnTo>
                    <a:lnTo>
                      <a:pt x="1813" y="4548"/>
                    </a:lnTo>
                    <a:lnTo>
                      <a:pt x="3514" y="4548"/>
                    </a:lnTo>
                    <a:lnTo>
                      <a:pt x="3259" y="4394"/>
                    </a:lnTo>
                    <a:lnTo>
                      <a:pt x="3248" y="4386"/>
                    </a:lnTo>
                    <a:lnTo>
                      <a:pt x="3239" y="4379"/>
                    </a:lnTo>
                    <a:lnTo>
                      <a:pt x="3230" y="4371"/>
                    </a:lnTo>
                    <a:lnTo>
                      <a:pt x="3221" y="4363"/>
                    </a:lnTo>
                    <a:lnTo>
                      <a:pt x="3215" y="4356"/>
                    </a:lnTo>
                    <a:lnTo>
                      <a:pt x="3209" y="4347"/>
                    </a:lnTo>
                    <a:lnTo>
                      <a:pt x="3204" y="4339"/>
                    </a:lnTo>
                    <a:lnTo>
                      <a:pt x="3200" y="4331"/>
                    </a:lnTo>
                    <a:lnTo>
                      <a:pt x="3195" y="4312"/>
                    </a:lnTo>
                    <a:lnTo>
                      <a:pt x="3191" y="4292"/>
                    </a:lnTo>
                    <a:lnTo>
                      <a:pt x="3189" y="4271"/>
                    </a:lnTo>
                    <a:lnTo>
                      <a:pt x="3188" y="4246"/>
                    </a:lnTo>
                    <a:lnTo>
                      <a:pt x="3188" y="4063"/>
                    </a:lnTo>
                    <a:lnTo>
                      <a:pt x="3403" y="4063"/>
                    </a:lnTo>
                    <a:lnTo>
                      <a:pt x="3403" y="4175"/>
                    </a:lnTo>
                    <a:lnTo>
                      <a:pt x="3404" y="4197"/>
                    </a:lnTo>
                    <a:lnTo>
                      <a:pt x="3408" y="4213"/>
                    </a:lnTo>
                    <a:lnTo>
                      <a:pt x="3412" y="4228"/>
                    </a:lnTo>
                    <a:lnTo>
                      <a:pt x="3420" y="4238"/>
                    </a:lnTo>
                    <a:lnTo>
                      <a:pt x="3429" y="4249"/>
                    </a:lnTo>
                    <a:lnTo>
                      <a:pt x="3443" y="4259"/>
                    </a:lnTo>
                    <a:lnTo>
                      <a:pt x="3475" y="4277"/>
                    </a:lnTo>
                    <a:lnTo>
                      <a:pt x="3815" y="4479"/>
                    </a:lnTo>
                    <a:lnTo>
                      <a:pt x="3825" y="4487"/>
                    </a:lnTo>
                    <a:lnTo>
                      <a:pt x="3836" y="4495"/>
                    </a:lnTo>
                    <a:lnTo>
                      <a:pt x="3845" y="4503"/>
                    </a:lnTo>
                    <a:lnTo>
                      <a:pt x="3855" y="4512"/>
                    </a:lnTo>
                    <a:lnTo>
                      <a:pt x="3863" y="4523"/>
                    </a:lnTo>
                    <a:lnTo>
                      <a:pt x="3870" y="4532"/>
                    </a:lnTo>
                    <a:lnTo>
                      <a:pt x="3876" y="4543"/>
                    </a:lnTo>
                    <a:lnTo>
                      <a:pt x="3882" y="4555"/>
                    </a:lnTo>
                    <a:lnTo>
                      <a:pt x="3887" y="4566"/>
                    </a:lnTo>
                    <a:lnTo>
                      <a:pt x="3891" y="4578"/>
                    </a:lnTo>
                    <a:lnTo>
                      <a:pt x="3894" y="4590"/>
                    </a:lnTo>
                    <a:lnTo>
                      <a:pt x="3896" y="4602"/>
                    </a:lnTo>
                    <a:lnTo>
                      <a:pt x="3898" y="4614"/>
                    </a:lnTo>
                    <a:lnTo>
                      <a:pt x="3898" y="4625"/>
                    </a:lnTo>
                    <a:lnTo>
                      <a:pt x="3898" y="4637"/>
                    </a:lnTo>
                    <a:lnTo>
                      <a:pt x="3896" y="4649"/>
                    </a:lnTo>
                    <a:lnTo>
                      <a:pt x="3895" y="4660"/>
                    </a:lnTo>
                    <a:lnTo>
                      <a:pt x="3892" y="4672"/>
                    </a:lnTo>
                    <a:lnTo>
                      <a:pt x="3888" y="4682"/>
                    </a:lnTo>
                    <a:lnTo>
                      <a:pt x="3884" y="4693"/>
                    </a:lnTo>
                    <a:lnTo>
                      <a:pt x="3879" y="4703"/>
                    </a:lnTo>
                    <a:lnTo>
                      <a:pt x="3872" y="4712"/>
                    </a:lnTo>
                    <a:lnTo>
                      <a:pt x="3865" y="4721"/>
                    </a:lnTo>
                    <a:lnTo>
                      <a:pt x="3857" y="4729"/>
                    </a:lnTo>
                    <a:lnTo>
                      <a:pt x="3848" y="4736"/>
                    </a:lnTo>
                    <a:lnTo>
                      <a:pt x="3839" y="4743"/>
                    </a:lnTo>
                    <a:lnTo>
                      <a:pt x="3828" y="4750"/>
                    </a:lnTo>
                    <a:lnTo>
                      <a:pt x="3816" y="4754"/>
                    </a:lnTo>
                    <a:lnTo>
                      <a:pt x="3804" y="4758"/>
                    </a:lnTo>
                    <a:lnTo>
                      <a:pt x="3790" y="4760"/>
                    </a:lnTo>
                    <a:lnTo>
                      <a:pt x="3776" y="4763"/>
                    </a:lnTo>
                    <a:lnTo>
                      <a:pt x="3761" y="4763"/>
                    </a:lnTo>
                    <a:lnTo>
                      <a:pt x="1571" y="4763"/>
                    </a:lnTo>
                    <a:lnTo>
                      <a:pt x="1555" y="4763"/>
                    </a:lnTo>
                    <a:lnTo>
                      <a:pt x="1542" y="4760"/>
                    </a:lnTo>
                    <a:lnTo>
                      <a:pt x="1528" y="4758"/>
                    </a:lnTo>
                    <a:lnTo>
                      <a:pt x="1516" y="4754"/>
                    </a:lnTo>
                    <a:lnTo>
                      <a:pt x="1504" y="4750"/>
                    </a:lnTo>
                    <a:lnTo>
                      <a:pt x="1493" y="4743"/>
                    </a:lnTo>
                    <a:lnTo>
                      <a:pt x="1484" y="4736"/>
                    </a:lnTo>
                    <a:lnTo>
                      <a:pt x="1475" y="4729"/>
                    </a:lnTo>
                    <a:lnTo>
                      <a:pt x="1467" y="4721"/>
                    </a:lnTo>
                    <a:lnTo>
                      <a:pt x="1460" y="4712"/>
                    </a:lnTo>
                    <a:lnTo>
                      <a:pt x="1453" y="4703"/>
                    </a:lnTo>
                    <a:lnTo>
                      <a:pt x="1448" y="4693"/>
                    </a:lnTo>
                    <a:lnTo>
                      <a:pt x="1444" y="4682"/>
                    </a:lnTo>
                    <a:lnTo>
                      <a:pt x="1440" y="4672"/>
                    </a:lnTo>
                    <a:lnTo>
                      <a:pt x="1437" y="4660"/>
                    </a:lnTo>
                    <a:lnTo>
                      <a:pt x="1436" y="4649"/>
                    </a:lnTo>
                    <a:lnTo>
                      <a:pt x="1434" y="4637"/>
                    </a:lnTo>
                    <a:lnTo>
                      <a:pt x="1434" y="4625"/>
                    </a:lnTo>
                    <a:lnTo>
                      <a:pt x="1434" y="4613"/>
                    </a:lnTo>
                    <a:lnTo>
                      <a:pt x="1436" y="4601"/>
                    </a:lnTo>
                    <a:lnTo>
                      <a:pt x="1438" y="4589"/>
                    </a:lnTo>
                    <a:lnTo>
                      <a:pt x="1441" y="4578"/>
                    </a:lnTo>
                    <a:lnTo>
                      <a:pt x="1445" y="4566"/>
                    </a:lnTo>
                    <a:lnTo>
                      <a:pt x="1450" y="4554"/>
                    </a:lnTo>
                    <a:lnTo>
                      <a:pt x="1456" y="4543"/>
                    </a:lnTo>
                    <a:lnTo>
                      <a:pt x="1461" y="4532"/>
                    </a:lnTo>
                    <a:lnTo>
                      <a:pt x="1469" y="4523"/>
                    </a:lnTo>
                    <a:lnTo>
                      <a:pt x="1477" y="4512"/>
                    </a:lnTo>
                    <a:lnTo>
                      <a:pt x="1487" y="4503"/>
                    </a:lnTo>
                    <a:lnTo>
                      <a:pt x="1496" y="4495"/>
                    </a:lnTo>
                    <a:lnTo>
                      <a:pt x="1507" y="4487"/>
                    </a:lnTo>
                    <a:lnTo>
                      <a:pt x="1517" y="4479"/>
                    </a:lnTo>
                    <a:lnTo>
                      <a:pt x="1864" y="4277"/>
                    </a:lnTo>
                    <a:lnTo>
                      <a:pt x="1877" y="4268"/>
                    </a:lnTo>
                    <a:lnTo>
                      <a:pt x="1890" y="4256"/>
                    </a:lnTo>
                    <a:lnTo>
                      <a:pt x="1901" y="4242"/>
                    </a:lnTo>
                    <a:lnTo>
                      <a:pt x="1911" y="4228"/>
                    </a:lnTo>
                    <a:lnTo>
                      <a:pt x="1919" y="4212"/>
                    </a:lnTo>
                    <a:lnTo>
                      <a:pt x="1924" y="4194"/>
                    </a:lnTo>
                    <a:lnTo>
                      <a:pt x="1928" y="4177"/>
                    </a:lnTo>
                    <a:lnTo>
                      <a:pt x="1928" y="4158"/>
                    </a:lnTo>
                    <a:lnTo>
                      <a:pt x="1928" y="4063"/>
                    </a:lnTo>
                    <a:lnTo>
                      <a:pt x="2143" y="4063"/>
                    </a:lnTo>
                    <a:lnTo>
                      <a:pt x="2143" y="4197"/>
                    </a:lnTo>
                    <a:lnTo>
                      <a:pt x="2143" y="4226"/>
                    </a:lnTo>
                    <a:lnTo>
                      <a:pt x="2140" y="4257"/>
                    </a:lnTo>
                    <a:lnTo>
                      <a:pt x="2137" y="4285"/>
                    </a:lnTo>
                    <a:lnTo>
                      <a:pt x="2135" y="4296"/>
                    </a:lnTo>
                    <a:lnTo>
                      <a:pt x="2131" y="4305"/>
                    </a:lnTo>
                    <a:close/>
                    <a:moveTo>
                      <a:pt x="2666" y="3264"/>
                    </a:moveTo>
                    <a:lnTo>
                      <a:pt x="2666" y="3264"/>
                    </a:lnTo>
                    <a:lnTo>
                      <a:pt x="2685" y="3266"/>
                    </a:lnTo>
                    <a:lnTo>
                      <a:pt x="2704" y="3268"/>
                    </a:lnTo>
                    <a:lnTo>
                      <a:pt x="2722" y="3272"/>
                    </a:lnTo>
                    <a:lnTo>
                      <a:pt x="2740" y="3279"/>
                    </a:lnTo>
                    <a:lnTo>
                      <a:pt x="2756" y="3287"/>
                    </a:lnTo>
                    <a:lnTo>
                      <a:pt x="2772" y="3297"/>
                    </a:lnTo>
                    <a:lnTo>
                      <a:pt x="2787" y="3307"/>
                    </a:lnTo>
                    <a:lnTo>
                      <a:pt x="2800" y="3319"/>
                    </a:lnTo>
                    <a:lnTo>
                      <a:pt x="2812" y="3333"/>
                    </a:lnTo>
                    <a:lnTo>
                      <a:pt x="2823" y="3348"/>
                    </a:lnTo>
                    <a:lnTo>
                      <a:pt x="2832" y="3364"/>
                    </a:lnTo>
                    <a:lnTo>
                      <a:pt x="2840" y="3380"/>
                    </a:lnTo>
                    <a:lnTo>
                      <a:pt x="2847" y="3397"/>
                    </a:lnTo>
                    <a:lnTo>
                      <a:pt x="2851" y="3416"/>
                    </a:lnTo>
                    <a:lnTo>
                      <a:pt x="2854" y="3435"/>
                    </a:lnTo>
                    <a:lnTo>
                      <a:pt x="2855" y="3454"/>
                    </a:lnTo>
                    <a:lnTo>
                      <a:pt x="2854" y="3474"/>
                    </a:lnTo>
                    <a:lnTo>
                      <a:pt x="2851" y="3492"/>
                    </a:lnTo>
                    <a:lnTo>
                      <a:pt x="2847" y="3510"/>
                    </a:lnTo>
                    <a:lnTo>
                      <a:pt x="2840" y="3527"/>
                    </a:lnTo>
                    <a:lnTo>
                      <a:pt x="2832" y="3545"/>
                    </a:lnTo>
                    <a:lnTo>
                      <a:pt x="2823" y="3560"/>
                    </a:lnTo>
                    <a:lnTo>
                      <a:pt x="2812" y="3574"/>
                    </a:lnTo>
                    <a:lnTo>
                      <a:pt x="2800" y="3588"/>
                    </a:lnTo>
                    <a:lnTo>
                      <a:pt x="2787" y="3600"/>
                    </a:lnTo>
                    <a:lnTo>
                      <a:pt x="2772" y="3610"/>
                    </a:lnTo>
                    <a:lnTo>
                      <a:pt x="2756" y="3621"/>
                    </a:lnTo>
                    <a:lnTo>
                      <a:pt x="2740" y="3628"/>
                    </a:lnTo>
                    <a:lnTo>
                      <a:pt x="2722" y="3635"/>
                    </a:lnTo>
                    <a:lnTo>
                      <a:pt x="2704" y="3640"/>
                    </a:lnTo>
                    <a:lnTo>
                      <a:pt x="2685" y="3643"/>
                    </a:lnTo>
                    <a:lnTo>
                      <a:pt x="2666" y="3644"/>
                    </a:lnTo>
                    <a:lnTo>
                      <a:pt x="2646" y="3643"/>
                    </a:lnTo>
                    <a:lnTo>
                      <a:pt x="2627" y="3640"/>
                    </a:lnTo>
                    <a:lnTo>
                      <a:pt x="2610" y="3635"/>
                    </a:lnTo>
                    <a:lnTo>
                      <a:pt x="2592" y="3628"/>
                    </a:lnTo>
                    <a:lnTo>
                      <a:pt x="2576" y="3621"/>
                    </a:lnTo>
                    <a:lnTo>
                      <a:pt x="2560" y="3610"/>
                    </a:lnTo>
                    <a:lnTo>
                      <a:pt x="2545" y="3600"/>
                    </a:lnTo>
                    <a:lnTo>
                      <a:pt x="2532" y="3588"/>
                    </a:lnTo>
                    <a:lnTo>
                      <a:pt x="2520" y="3574"/>
                    </a:lnTo>
                    <a:lnTo>
                      <a:pt x="2509" y="3560"/>
                    </a:lnTo>
                    <a:lnTo>
                      <a:pt x="2500" y="3545"/>
                    </a:lnTo>
                    <a:lnTo>
                      <a:pt x="2492" y="3527"/>
                    </a:lnTo>
                    <a:lnTo>
                      <a:pt x="2485" y="3510"/>
                    </a:lnTo>
                    <a:lnTo>
                      <a:pt x="2480" y="3492"/>
                    </a:lnTo>
                    <a:lnTo>
                      <a:pt x="2477" y="3474"/>
                    </a:lnTo>
                    <a:lnTo>
                      <a:pt x="2477" y="3454"/>
                    </a:lnTo>
                    <a:lnTo>
                      <a:pt x="2477" y="3435"/>
                    </a:lnTo>
                    <a:lnTo>
                      <a:pt x="2480" y="3416"/>
                    </a:lnTo>
                    <a:lnTo>
                      <a:pt x="2485" y="3397"/>
                    </a:lnTo>
                    <a:lnTo>
                      <a:pt x="2492" y="3380"/>
                    </a:lnTo>
                    <a:lnTo>
                      <a:pt x="2500" y="3364"/>
                    </a:lnTo>
                    <a:lnTo>
                      <a:pt x="2509" y="3348"/>
                    </a:lnTo>
                    <a:lnTo>
                      <a:pt x="2520" y="3333"/>
                    </a:lnTo>
                    <a:lnTo>
                      <a:pt x="2532" y="3319"/>
                    </a:lnTo>
                    <a:lnTo>
                      <a:pt x="2545" y="3307"/>
                    </a:lnTo>
                    <a:lnTo>
                      <a:pt x="2560" y="3297"/>
                    </a:lnTo>
                    <a:lnTo>
                      <a:pt x="2576" y="3287"/>
                    </a:lnTo>
                    <a:lnTo>
                      <a:pt x="2592" y="3279"/>
                    </a:lnTo>
                    <a:lnTo>
                      <a:pt x="2610" y="3272"/>
                    </a:lnTo>
                    <a:lnTo>
                      <a:pt x="2627" y="3268"/>
                    </a:lnTo>
                    <a:lnTo>
                      <a:pt x="2646" y="3266"/>
                    </a:lnTo>
                    <a:lnTo>
                      <a:pt x="2666" y="3264"/>
                    </a:lnTo>
                    <a:close/>
                    <a:moveTo>
                      <a:pt x="2764" y="2140"/>
                    </a:moveTo>
                    <a:lnTo>
                      <a:pt x="2630" y="2140"/>
                    </a:lnTo>
                    <a:lnTo>
                      <a:pt x="2630" y="1652"/>
                    </a:lnTo>
                    <a:lnTo>
                      <a:pt x="2513" y="1652"/>
                    </a:lnTo>
                    <a:lnTo>
                      <a:pt x="2513" y="1551"/>
                    </a:lnTo>
                    <a:lnTo>
                      <a:pt x="2540" y="1550"/>
                    </a:lnTo>
                    <a:lnTo>
                      <a:pt x="2565" y="1544"/>
                    </a:lnTo>
                    <a:lnTo>
                      <a:pt x="2587" y="1536"/>
                    </a:lnTo>
                    <a:lnTo>
                      <a:pt x="2596" y="1532"/>
                    </a:lnTo>
                    <a:lnTo>
                      <a:pt x="2606" y="1527"/>
                    </a:lnTo>
                    <a:lnTo>
                      <a:pt x="2614" y="1521"/>
                    </a:lnTo>
                    <a:lnTo>
                      <a:pt x="2622" y="1515"/>
                    </a:lnTo>
                    <a:lnTo>
                      <a:pt x="2628" y="1508"/>
                    </a:lnTo>
                    <a:lnTo>
                      <a:pt x="2635" y="1500"/>
                    </a:lnTo>
                    <a:lnTo>
                      <a:pt x="2641" y="1492"/>
                    </a:lnTo>
                    <a:lnTo>
                      <a:pt x="2645" y="1484"/>
                    </a:lnTo>
                    <a:lnTo>
                      <a:pt x="2649" y="1473"/>
                    </a:lnTo>
                    <a:lnTo>
                      <a:pt x="2651" y="1464"/>
                    </a:lnTo>
                    <a:lnTo>
                      <a:pt x="2764" y="1464"/>
                    </a:lnTo>
                    <a:lnTo>
                      <a:pt x="2764" y="2140"/>
                    </a:lnTo>
                    <a:close/>
                    <a:moveTo>
                      <a:pt x="2700" y="1092"/>
                    </a:moveTo>
                    <a:lnTo>
                      <a:pt x="2700" y="1092"/>
                    </a:lnTo>
                    <a:lnTo>
                      <a:pt x="2736" y="1092"/>
                    </a:lnTo>
                    <a:lnTo>
                      <a:pt x="2772" y="1095"/>
                    </a:lnTo>
                    <a:lnTo>
                      <a:pt x="2808" y="1100"/>
                    </a:lnTo>
                    <a:lnTo>
                      <a:pt x="2843" y="1106"/>
                    </a:lnTo>
                    <a:lnTo>
                      <a:pt x="2877" y="1114"/>
                    </a:lnTo>
                    <a:lnTo>
                      <a:pt x="2910" y="1123"/>
                    </a:lnTo>
                    <a:lnTo>
                      <a:pt x="2944" y="1135"/>
                    </a:lnTo>
                    <a:lnTo>
                      <a:pt x="2976" y="1147"/>
                    </a:lnTo>
                    <a:lnTo>
                      <a:pt x="3007" y="1162"/>
                    </a:lnTo>
                    <a:lnTo>
                      <a:pt x="3038" y="1178"/>
                    </a:lnTo>
                    <a:lnTo>
                      <a:pt x="3067" y="1194"/>
                    </a:lnTo>
                    <a:lnTo>
                      <a:pt x="3097" y="1213"/>
                    </a:lnTo>
                    <a:lnTo>
                      <a:pt x="3125" y="1233"/>
                    </a:lnTo>
                    <a:lnTo>
                      <a:pt x="3152" y="1254"/>
                    </a:lnTo>
                    <a:lnTo>
                      <a:pt x="3177" y="1276"/>
                    </a:lnTo>
                    <a:lnTo>
                      <a:pt x="3201" y="1300"/>
                    </a:lnTo>
                    <a:lnTo>
                      <a:pt x="3225" y="1324"/>
                    </a:lnTo>
                    <a:lnTo>
                      <a:pt x="3248" y="1350"/>
                    </a:lnTo>
                    <a:lnTo>
                      <a:pt x="3268" y="1377"/>
                    </a:lnTo>
                    <a:lnTo>
                      <a:pt x="3289" y="1405"/>
                    </a:lnTo>
                    <a:lnTo>
                      <a:pt x="3307" y="1434"/>
                    </a:lnTo>
                    <a:lnTo>
                      <a:pt x="3325" y="1464"/>
                    </a:lnTo>
                    <a:lnTo>
                      <a:pt x="3340" y="1495"/>
                    </a:lnTo>
                    <a:lnTo>
                      <a:pt x="3354" y="1526"/>
                    </a:lnTo>
                    <a:lnTo>
                      <a:pt x="3366" y="1558"/>
                    </a:lnTo>
                    <a:lnTo>
                      <a:pt x="3378" y="1591"/>
                    </a:lnTo>
                    <a:lnTo>
                      <a:pt x="3388" y="1625"/>
                    </a:lnTo>
                    <a:lnTo>
                      <a:pt x="3396" y="1658"/>
                    </a:lnTo>
                    <a:lnTo>
                      <a:pt x="3401" y="1695"/>
                    </a:lnTo>
                    <a:lnTo>
                      <a:pt x="3407" y="1729"/>
                    </a:lnTo>
                    <a:lnTo>
                      <a:pt x="3409" y="1766"/>
                    </a:lnTo>
                    <a:lnTo>
                      <a:pt x="3409" y="1802"/>
                    </a:lnTo>
                    <a:lnTo>
                      <a:pt x="3409" y="1838"/>
                    </a:lnTo>
                    <a:lnTo>
                      <a:pt x="3407" y="1874"/>
                    </a:lnTo>
                    <a:lnTo>
                      <a:pt x="3401" y="1911"/>
                    </a:lnTo>
                    <a:lnTo>
                      <a:pt x="3396" y="1945"/>
                    </a:lnTo>
                    <a:lnTo>
                      <a:pt x="3388" y="1979"/>
                    </a:lnTo>
                    <a:lnTo>
                      <a:pt x="3378" y="2014"/>
                    </a:lnTo>
                    <a:lnTo>
                      <a:pt x="3366" y="2046"/>
                    </a:lnTo>
                    <a:lnTo>
                      <a:pt x="3354" y="2078"/>
                    </a:lnTo>
                    <a:lnTo>
                      <a:pt x="3340" y="2110"/>
                    </a:lnTo>
                    <a:lnTo>
                      <a:pt x="3325" y="2141"/>
                    </a:lnTo>
                    <a:lnTo>
                      <a:pt x="3307" y="2171"/>
                    </a:lnTo>
                    <a:lnTo>
                      <a:pt x="3289" y="2199"/>
                    </a:lnTo>
                    <a:lnTo>
                      <a:pt x="3268" y="2227"/>
                    </a:lnTo>
                    <a:lnTo>
                      <a:pt x="3248" y="2254"/>
                    </a:lnTo>
                    <a:lnTo>
                      <a:pt x="3225" y="2280"/>
                    </a:lnTo>
                    <a:lnTo>
                      <a:pt x="3201" y="2305"/>
                    </a:lnTo>
                    <a:lnTo>
                      <a:pt x="3177" y="2328"/>
                    </a:lnTo>
                    <a:lnTo>
                      <a:pt x="3152" y="2351"/>
                    </a:lnTo>
                    <a:lnTo>
                      <a:pt x="3125" y="2371"/>
                    </a:lnTo>
                    <a:lnTo>
                      <a:pt x="3097" y="2391"/>
                    </a:lnTo>
                    <a:lnTo>
                      <a:pt x="3067" y="2410"/>
                    </a:lnTo>
                    <a:lnTo>
                      <a:pt x="3038" y="2427"/>
                    </a:lnTo>
                    <a:lnTo>
                      <a:pt x="3007" y="2442"/>
                    </a:lnTo>
                    <a:lnTo>
                      <a:pt x="2976" y="2457"/>
                    </a:lnTo>
                    <a:lnTo>
                      <a:pt x="2944" y="2470"/>
                    </a:lnTo>
                    <a:lnTo>
                      <a:pt x="2910" y="2481"/>
                    </a:lnTo>
                    <a:lnTo>
                      <a:pt x="2877" y="2490"/>
                    </a:lnTo>
                    <a:lnTo>
                      <a:pt x="2843" y="2498"/>
                    </a:lnTo>
                    <a:lnTo>
                      <a:pt x="2808" y="2505"/>
                    </a:lnTo>
                    <a:lnTo>
                      <a:pt x="2772" y="2509"/>
                    </a:lnTo>
                    <a:lnTo>
                      <a:pt x="2736" y="2512"/>
                    </a:lnTo>
                    <a:lnTo>
                      <a:pt x="2700" y="2513"/>
                    </a:lnTo>
                    <a:lnTo>
                      <a:pt x="2663" y="2512"/>
                    </a:lnTo>
                    <a:lnTo>
                      <a:pt x="2627" y="2509"/>
                    </a:lnTo>
                    <a:lnTo>
                      <a:pt x="2591" y="2505"/>
                    </a:lnTo>
                    <a:lnTo>
                      <a:pt x="2556" y="2498"/>
                    </a:lnTo>
                    <a:lnTo>
                      <a:pt x="2522" y="2490"/>
                    </a:lnTo>
                    <a:lnTo>
                      <a:pt x="2488" y="2481"/>
                    </a:lnTo>
                    <a:lnTo>
                      <a:pt x="2455" y="2470"/>
                    </a:lnTo>
                    <a:lnTo>
                      <a:pt x="2423" y="2457"/>
                    </a:lnTo>
                    <a:lnTo>
                      <a:pt x="2391" y="2442"/>
                    </a:lnTo>
                    <a:lnTo>
                      <a:pt x="2361" y="2427"/>
                    </a:lnTo>
                    <a:lnTo>
                      <a:pt x="2331" y="2410"/>
                    </a:lnTo>
                    <a:lnTo>
                      <a:pt x="2302" y="2391"/>
                    </a:lnTo>
                    <a:lnTo>
                      <a:pt x="2274" y="2371"/>
                    </a:lnTo>
                    <a:lnTo>
                      <a:pt x="2247" y="2351"/>
                    </a:lnTo>
                    <a:lnTo>
                      <a:pt x="2222" y="2328"/>
                    </a:lnTo>
                    <a:lnTo>
                      <a:pt x="2198" y="2305"/>
                    </a:lnTo>
                    <a:lnTo>
                      <a:pt x="2174" y="2280"/>
                    </a:lnTo>
                    <a:lnTo>
                      <a:pt x="2151" y="2254"/>
                    </a:lnTo>
                    <a:lnTo>
                      <a:pt x="2131" y="2227"/>
                    </a:lnTo>
                    <a:lnTo>
                      <a:pt x="2111" y="2199"/>
                    </a:lnTo>
                    <a:lnTo>
                      <a:pt x="2092" y="2171"/>
                    </a:lnTo>
                    <a:lnTo>
                      <a:pt x="2074" y="2141"/>
                    </a:lnTo>
                    <a:lnTo>
                      <a:pt x="2060" y="2110"/>
                    </a:lnTo>
                    <a:lnTo>
                      <a:pt x="2045" y="2078"/>
                    </a:lnTo>
                    <a:lnTo>
                      <a:pt x="2033" y="2046"/>
                    </a:lnTo>
                    <a:lnTo>
                      <a:pt x="2021" y="2014"/>
                    </a:lnTo>
                    <a:lnTo>
                      <a:pt x="2011" y="1979"/>
                    </a:lnTo>
                    <a:lnTo>
                      <a:pt x="2003" y="1945"/>
                    </a:lnTo>
                    <a:lnTo>
                      <a:pt x="1998" y="1911"/>
                    </a:lnTo>
                    <a:lnTo>
                      <a:pt x="1992" y="1874"/>
                    </a:lnTo>
                    <a:lnTo>
                      <a:pt x="1990" y="1838"/>
                    </a:lnTo>
                    <a:lnTo>
                      <a:pt x="1988" y="1802"/>
                    </a:lnTo>
                    <a:lnTo>
                      <a:pt x="1990" y="1766"/>
                    </a:lnTo>
                    <a:lnTo>
                      <a:pt x="1992" y="1729"/>
                    </a:lnTo>
                    <a:lnTo>
                      <a:pt x="1998" y="1695"/>
                    </a:lnTo>
                    <a:lnTo>
                      <a:pt x="2003" y="1658"/>
                    </a:lnTo>
                    <a:lnTo>
                      <a:pt x="2011" y="1625"/>
                    </a:lnTo>
                    <a:lnTo>
                      <a:pt x="2021" y="1591"/>
                    </a:lnTo>
                    <a:lnTo>
                      <a:pt x="2033" y="1558"/>
                    </a:lnTo>
                    <a:lnTo>
                      <a:pt x="2045" y="1526"/>
                    </a:lnTo>
                    <a:lnTo>
                      <a:pt x="2060" y="1495"/>
                    </a:lnTo>
                    <a:lnTo>
                      <a:pt x="2074" y="1464"/>
                    </a:lnTo>
                    <a:lnTo>
                      <a:pt x="2092" y="1434"/>
                    </a:lnTo>
                    <a:lnTo>
                      <a:pt x="2111" y="1405"/>
                    </a:lnTo>
                    <a:lnTo>
                      <a:pt x="2131" y="1377"/>
                    </a:lnTo>
                    <a:lnTo>
                      <a:pt x="2151" y="1350"/>
                    </a:lnTo>
                    <a:lnTo>
                      <a:pt x="2174" y="1324"/>
                    </a:lnTo>
                    <a:lnTo>
                      <a:pt x="2198" y="1300"/>
                    </a:lnTo>
                    <a:lnTo>
                      <a:pt x="2222" y="1276"/>
                    </a:lnTo>
                    <a:lnTo>
                      <a:pt x="2247" y="1254"/>
                    </a:lnTo>
                    <a:lnTo>
                      <a:pt x="2274" y="1233"/>
                    </a:lnTo>
                    <a:lnTo>
                      <a:pt x="2302" y="1213"/>
                    </a:lnTo>
                    <a:lnTo>
                      <a:pt x="2331" y="1194"/>
                    </a:lnTo>
                    <a:lnTo>
                      <a:pt x="2361" y="1178"/>
                    </a:lnTo>
                    <a:lnTo>
                      <a:pt x="2391" y="1162"/>
                    </a:lnTo>
                    <a:lnTo>
                      <a:pt x="2423" y="1147"/>
                    </a:lnTo>
                    <a:lnTo>
                      <a:pt x="2455" y="1135"/>
                    </a:lnTo>
                    <a:lnTo>
                      <a:pt x="2488" y="1123"/>
                    </a:lnTo>
                    <a:lnTo>
                      <a:pt x="2522" y="1114"/>
                    </a:lnTo>
                    <a:lnTo>
                      <a:pt x="2556" y="1106"/>
                    </a:lnTo>
                    <a:lnTo>
                      <a:pt x="2591" y="1100"/>
                    </a:lnTo>
                    <a:lnTo>
                      <a:pt x="2627" y="1095"/>
                    </a:lnTo>
                    <a:lnTo>
                      <a:pt x="2663" y="1092"/>
                    </a:lnTo>
                    <a:lnTo>
                      <a:pt x="2700" y="1092"/>
                    </a:lnTo>
                    <a:close/>
                    <a:moveTo>
                      <a:pt x="2700" y="1261"/>
                    </a:moveTo>
                    <a:lnTo>
                      <a:pt x="2700" y="1261"/>
                    </a:lnTo>
                    <a:lnTo>
                      <a:pt x="2728" y="1261"/>
                    </a:lnTo>
                    <a:lnTo>
                      <a:pt x="2755" y="1264"/>
                    </a:lnTo>
                    <a:lnTo>
                      <a:pt x="2781" y="1267"/>
                    </a:lnTo>
                    <a:lnTo>
                      <a:pt x="2808" y="1272"/>
                    </a:lnTo>
                    <a:lnTo>
                      <a:pt x="2835" y="1277"/>
                    </a:lnTo>
                    <a:lnTo>
                      <a:pt x="2861" y="1285"/>
                    </a:lnTo>
                    <a:lnTo>
                      <a:pt x="2886" y="1293"/>
                    </a:lnTo>
                    <a:lnTo>
                      <a:pt x="2910" y="1303"/>
                    </a:lnTo>
                    <a:lnTo>
                      <a:pt x="2934" y="1315"/>
                    </a:lnTo>
                    <a:lnTo>
                      <a:pt x="2957" y="1326"/>
                    </a:lnTo>
                    <a:lnTo>
                      <a:pt x="2980" y="1339"/>
                    </a:lnTo>
                    <a:lnTo>
                      <a:pt x="3001" y="1354"/>
                    </a:lnTo>
                    <a:lnTo>
                      <a:pt x="3023" y="1369"/>
                    </a:lnTo>
                    <a:lnTo>
                      <a:pt x="3044" y="1385"/>
                    </a:lnTo>
                    <a:lnTo>
                      <a:pt x="3063" y="1402"/>
                    </a:lnTo>
                    <a:lnTo>
                      <a:pt x="3082" y="1420"/>
                    </a:lnTo>
                    <a:lnTo>
                      <a:pt x="3101" y="1438"/>
                    </a:lnTo>
                    <a:lnTo>
                      <a:pt x="3117" y="1458"/>
                    </a:lnTo>
                    <a:lnTo>
                      <a:pt x="3133" y="1479"/>
                    </a:lnTo>
                    <a:lnTo>
                      <a:pt x="3148" y="1500"/>
                    </a:lnTo>
                    <a:lnTo>
                      <a:pt x="3162" y="1521"/>
                    </a:lnTo>
                    <a:lnTo>
                      <a:pt x="3176" y="1544"/>
                    </a:lnTo>
                    <a:lnTo>
                      <a:pt x="3188" y="1567"/>
                    </a:lnTo>
                    <a:lnTo>
                      <a:pt x="3199" y="1591"/>
                    </a:lnTo>
                    <a:lnTo>
                      <a:pt x="3208" y="1615"/>
                    </a:lnTo>
                    <a:lnTo>
                      <a:pt x="3216" y="1641"/>
                    </a:lnTo>
                    <a:lnTo>
                      <a:pt x="3224" y="1666"/>
                    </a:lnTo>
                    <a:lnTo>
                      <a:pt x="3230" y="1693"/>
                    </a:lnTo>
                    <a:lnTo>
                      <a:pt x="3235" y="1720"/>
                    </a:lnTo>
                    <a:lnTo>
                      <a:pt x="3238" y="1747"/>
                    </a:lnTo>
                    <a:lnTo>
                      <a:pt x="3240" y="1774"/>
                    </a:lnTo>
                    <a:lnTo>
                      <a:pt x="3240" y="1802"/>
                    </a:lnTo>
                    <a:lnTo>
                      <a:pt x="3240" y="1830"/>
                    </a:lnTo>
                    <a:lnTo>
                      <a:pt x="3238" y="1857"/>
                    </a:lnTo>
                    <a:lnTo>
                      <a:pt x="3235" y="1885"/>
                    </a:lnTo>
                    <a:lnTo>
                      <a:pt x="3230" y="1911"/>
                    </a:lnTo>
                    <a:lnTo>
                      <a:pt x="3224" y="1937"/>
                    </a:lnTo>
                    <a:lnTo>
                      <a:pt x="3216" y="1963"/>
                    </a:lnTo>
                    <a:lnTo>
                      <a:pt x="3208" y="1988"/>
                    </a:lnTo>
                    <a:lnTo>
                      <a:pt x="3199" y="2013"/>
                    </a:lnTo>
                    <a:lnTo>
                      <a:pt x="3188" y="2037"/>
                    </a:lnTo>
                    <a:lnTo>
                      <a:pt x="3176" y="2059"/>
                    </a:lnTo>
                    <a:lnTo>
                      <a:pt x="3162" y="2082"/>
                    </a:lnTo>
                    <a:lnTo>
                      <a:pt x="3148" y="2105"/>
                    </a:lnTo>
                    <a:lnTo>
                      <a:pt x="3133" y="2127"/>
                    </a:lnTo>
                    <a:lnTo>
                      <a:pt x="3117" y="2147"/>
                    </a:lnTo>
                    <a:lnTo>
                      <a:pt x="3101" y="2165"/>
                    </a:lnTo>
                    <a:lnTo>
                      <a:pt x="3082" y="2184"/>
                    </a:lnTo>
                    <a:lnTo>
                      <a:pt x="3063" y="2203"/>
                    </a:lnTo>
                    <a:lnTo>
                      <a:pt x="3044" y="2219"/>
                    </a:lnTo>
                    <a:lnTo>
                      <a:pt x="3023" y="2235"/>
                    </a:lnTo>
                    <a:lnTo>
                      <a:pt x="3001" y="2251"/>
                    </a:lnTo>
                    <a:lnTo>
                      <a:pt x="2980" y="2265"/>
                    </a:lnTo>
                    <a:lnTo>
                      <a:pt x="2957" y="2278"/>
                    </a:lnTo>
                    <a:lnTo>
                      <a:pt x="2934" y="2290"/>
                    </a:lnTo>
                    <a:lnTo>
                      <a:pt x="2910" y="2301"/>
                    </a:lnTo>
                    <a:lnTo>
                      <a:pt x="2886" y="2310"/>
                    </a:lnTo>
                    <a:lnTo>
                      <a:pt x="2861" y="2318"/>
                    </a:lnTo>
                    <a:lnTo>
                      <a:pt x="2835" y="2326"/>
                    </a:lnTo>
                    <a:lnTo>
                      <a:pt x="2808" y="2332"/>
                    </a:lnTo>
                    <a:lnTo>
                      <a:pt x="2781" y="2337"/>
                    </a:lnTo>
                    <a:lnTo>
                      <a:pt x="2755" y="2340"/>
                    </a:lnTo>
                    <a:lnTo>
                      <a:pt x="2728" y="2343"/>
                    </a:lnTo>
                    <a:lnTo>
                      <a:pt x="2700" y="2344"/>
                    </a:lnTo>
                    <a:lnTo>
                      <a:pt x="2700" y="2406"/>
                    </a:lnTo>
                    <a:lnTo>
                      <a:pt x="2730" y="2404"/>
                    </a:lnTo>
                    <a:lnTo>
                      <a:pt x="2761" y="2402"/>
                    </a:lnTo>
                    <a:lnTo>
                      <a:pt x="2791" y="2398"/>
                    </a:lnTo>
                    <a:lnTo>
                      <a:pt x="2822" y="2394"/>
                    </a:lnTo>
                    <a:lnTo>
                      <a:pt x="2850" y="2386"/>
                    </a:lnTo>
                    <a:lnTo>
                      <a:pt x="2879" y="2377"/>
                    </a:lnTo>
                    <a:lnTo>
                      <a:pt x="2906" y="2368"/>
                    </a:lnTo>
                    <a:lnTo>
                      <a:pt x="2934" y="2357"/>
                    </a:lnTo>
                    <a:lnTo>
                      <a:pt x="2961" y="2345"/>
                    </a:lnTo>
                    <a:lnTo>
                      <a:pt x="2987" y="2332"/>
                    </a:lnTo>
                    <a:lnTo>
                      <a:pt x="3012" y="2318"/>
                    </a:lnTo>
                    <a:lnTo>
                      <a:pt x="3036" y="2302"/>
                    </a:lnTo>
                    <a:lnTo>
                      <a:pt x="3060" y="2285"/>
                    </a:lnTo>
                    <a:lnTo>
                      <a:pt x="3083" y="2267"/>
                    </a:lnTo>
                    <a:lnTo>
                      <a:pt x="3105" y="2249"/>
                    </a:lnTo>
                    <a:lnTo>
                      <a:pt x="3126" y="2229"/>
                    </a:lnTo>
                    <a:lnTo>
                      <a:pt x="3146" y="2207"/>
                    </a:lnTo>
                    <a:lnTo>
                      <a:pt x="3165" y="2186"/>
                    </a:lnTo>
                    <a:lnTo>
                      <a:pt x="3183" y="2163"/>
                    </a:lnTo>
                    <a:lnTo>
                      <a:pt x="3200" y="2139"/>
                    </a:lnTo>
                    <a:lnTo>
                      <a:pt x="3215" y="2115"/>
                    </a:lnTo>
                    <a:lnTo>
                      <a:pt x="3230" y="2089"/>
                    </a:lnTo>
                    <a:lnTo>
                      <a:pt x="3243" y="2064"/>
                    </a:lnTo>
                    <a:lnTo>
                      <a:pt x="3255" y="2037"/>
                    </a:lnTo>
                    <a:lnTo>
                      <a:pt x="3266" y="2010"/>
                    </a:lnTo>
                    <a:lnTo>
                      <a:pt x="3275" y="1982"/>
                    </a:lnTo>
                    <a:lnTo>
                      <a:pt x="3283" y="1952"/>
                    </a:lnTo>
                    <a:lnTo>
                      <a:pt x="3290" y="1924"/>
                    </a:lnTo>
                    <a:lnTo>
                      <a:pt x="3295" y="1894"/>
                    </a:lnTo>
                    <a:lnTo>
                      <a:pt x="3299" y="1864"/>
                    </a:lnTo>
                    <a:lnTo>
                      <a:pt x="3302" y="1833"/>
                    </a:lnTo>
                    <a:lnTo>
                      <a:pt x="3302" y="1802"/>
                    </a:lnTo>
                    <a:lnTo>
                      <a:pt x="3302" y="1771"/>
                    </a:lnTo>
                    <a:lnTo>
                      <a:pt x="3299" y="1740"/>
                    </a:lnTo>
                    <a:lnTo>
                      <a:pt x="3295" y="1711"/>
                    </a:lnTo>
                    <a:lnTo>
                      <a:pt x="3290" y="1681"/>
                    </a:lnTo>
                    <a:lnTo>
                      <a:pt x="3283" y="1652"/>
                    </a:lnTo>
                    <a:lnTo>
                      <a:pt x="3275" y="1623"/>
                    </a:lnTo>
                    <a:lnTo>
                      <a:pt x="3266" y="1595"/>
                    </a:lnTo>
                    <a:lnTo>
                      <a:pt x="3255" y="1567"/>
                    </a:lnTo>
                    <a:lnTo>
                      <a:pt x="3243" y="1540"/>
                    </a:lnTo>
                    <a:lnTo>
                      <a:pt x="3230" y="1515"/>
                    </a:lnTo>
                    <a:lnTo>
                      <a:pt x="3215" y="1489"/>
                    </a:lnTo>
                    <a:lnTo>
                      <a:pt x="3200" y="1465"/>
                    </a:lnTo>
                    <a:lnTo>
                      <a:pt x="3183" y="1441"/>
                    </a:lnTo>
                    <a:lnTo>
                      <a:pt x="3165" y="1418"/>
                    </a:lnTo>
                    <a:lnTo>
                      <a:pt x="3146" y="1397"/>
                    </a:lnTo>
                    <a:lnTo>
                      <a:pt x="3126" y="1375"/>
                    </a:lnTo>
                    <a:lnTo>
                      <a:pt x="3105" y="1355"/>
                    </a:lnTo>
                    <a:lnTo>
                      <a:pt x="3083" y="1336"/>
                    </a:lnTo>
                    <a:lnTo>
                      <a:pt x="3060" y="1319"/>
                    </a:lnTo>
                    <a:lnTo>
                      <a:pt x="3036" y="1301"/>
                    </a:lnTo>
                    <a:lnTo>
                      <a:pt x="3012" y="1287"/>
                    </a:lnTo>
                    <a:lnTo>
                      <a:pt x="2987" y="1272"/>
                    </a:lnTo>
                    <a:lnTo>
                      <a:pt x="2961" y="1259"/>
                    </a:lnTo>
                    <a:lnTo>
                      <a:pt x="2934" y="1246"/>
                    </a:lnTo>
                    <a:lnTo>
                      <a:pt x="2906" y="1236"/>
                    </a:lnTo>
                    <a:lnTo>
                      <a:pt x="2879" y="1226"/>
                    </a:lnTo>
                    <a:lnTo>
                      <a:pt x="2850" y="1218"/>
                    </a:lnTo>
                    <a:lnTo>
                      <a:pt x="2822" y="1212"/>
                    </a:lnTo>
                    <a:lnTo>
                      <a:pt x="2791" y="1206"/>
                    </a:lnTo>
                    <a:lnTo>
                      <a:pt x="2761" y="1202"/>
                    </a:lnTo>
                    <a:lnTo>
                      <a:pt x="2730" y="1199"/>
                    </a:lnTo>
                    <a:lnTo>
                      <a:pt x="2700" y="1199"/>
                    </a:lnTo>
                    <a:lnTo>
                      <a:pt x="2700" y="1261"/>
                    </a:lnTo>
                    <a:close/>
                    <a:moveTo>
                      <a:pt x="2700" y="1369"/>
                    </a:moveTo>
                    <a:lnTo>
                      <a:pt x="2700" y="1369"/>
                    </a:lnTo>
                    <a:lnTo>
                      <a:pt x="2677" y="1369"/>
                    </a:lnTo>
                    <a:lnTo>
                      <a:pt x="2655" y="1370"/>
                    </a:lnTo>
                    <a:lnTo>
                      <a:pt x="2634" y="1373"/>
                    </a:lnTo>
                    <a:lnTo>
                      <a:pt x="2612" y="1377"/>
                    </a:lnTo>
                    <a:lnTo>
                      <a:pt x="2591" y="1382"/>
                    </a:lnTo>
                    <a:lnTo>
                      <a:pt x="2571" y="1387"/>
                    </a:lnTo>
                    <a:lnTo>
                      <a:pt x="2551" y="1394"/>
                    </a:lnTo>
                    <a:lnTo>
                      <a:pt x="2530" y="1402"/>
                    </a:lnTo>
                    <a:lnTo>
                      <a:pt x="2512" y="1411"/>
                    </a:lnTo>
                    <a:lnTo>
                      <a:pt x="2493" y="1421"/>
                    </a:lnTo>
                    <a:lnTo>
                      <a:pt x="2474" y="1432"/>
                    </a:lnTo>
                    <a:lnTo>
                      <a:pt x="2457" y="1442"/>
                    </a:lnTo>
                    <a:lnTo>
                      <a:pt x="2439" y="1454"/>
                    </a:lnTo>
                    <a:lnTo>
                      <a:pt x="2423" y="1468"/>
                    </a:lnTo>
                    <a:lnTo>
                      <a:pt x="2407" y="1481"/>
                    </a:lnTo>
                    <a:lnTo>
                      <a:pt x="2392" y="1495"/>
                    </a:lnTo>
                    <a:lnTo>
                      <a:pt x="2379" y="1511"/>
                    </a:lnTo>
                    <a:lnTo>
                      <a:pt x="2364" y="1526"/>
                    </a:lnTo>
                    <a:lnTo>
                      <a:pt x="2352" y="1543"/>
                    </a:lnTo>
                    <a:lnTo>
                      <a:pt x="2340" y="1559"/>
                    </a:lnTo>
                    <a:lnTo>
                      <a:pt x="2328" y="1576"/>
                    </a:lnTo>
                    <a:lnTo>
                      <a:pt x="2318" y="1595"/>
                    </a:lnTo>
                    <a:lnTo>
                      <a:pt x="2308" y="1614"/>
                    </a:lnTo>
                    <a:lnTo>
                      <a:pt x="2300" y="1633"/>
                    </a:lnTo>
                    <a:lnTo>
                      <a:pt x="2292" y="1653"/>
                    </a:lnTo>
                    <a:lnTo>
                      <a:pt x="2285" y="1673"/>
                    </a:lnTo>
                    <a:lnTo>
                      <a:pt x="2280" y="1693"/>
                    </a:lnTo>
                    <a:lnTo>
                      <a:pt x="2274" y="1715"/>
                    </a:lnTo>
                    <a:lnTo>
                      <a:pt x="2270" y="1736"/>
                    </a:lnTo>
                    <a:lnTo>
                      <a:pt x="2268" y="1758"/>
                    </a:lnTo>
                    <a:lnTo>
                      <a:pt x="2266" y="1780"/>
                    </a:lnTo>
                    <a:lnTo>
                      <a:pt x="2266" y="1802"/>
                    </a:lnTo>
                    <a:lnTo>
                      <a:pt x="2266" y="1825"/>
                    </a:lnTo>
                    <a:lnTo>
                      <a:pt x="2268" y="1846"/>
                    </a:lnTo>
                    <a:lnTo>
                      <a:pt x="2270" y="1868"/>
                    </a:lnTo>
                    <a:lnTo>
                      <a:pt x="2274" y="1889"/>
                    </a:lnTo>
                    <a:lnTo>
                      <a:pt x="2280" y="1911"/>
                    </a:lnTo>
                    <a:lnTo>
                      <a:pt x="2285" y="1931"/>
                    </a:lnTo>
                    <a:lnTo>
                      <a:pt x="2292" y="1951"/>
                    </a:lnTo>
                    <a:lnTo>
                      <a:pt x="2300" y="1971"/>
                    </a:lnTo>
                    <a:lnTo>
                      <a:pt x="2308" y="1990"/>
                    </a:lnTo>
                    <a:lnTo>
                      <a:pt x="2318" y="2009"/>
                    </a:lnTo>
                    <a:lnTo>
                      <a:pt x="2328" y="2027"/>
                    </a:lnTo>
                    <a:lnTo>
                      <a:pt x="2340" y="2045"/>
                    </a:lnTo>
                    <a:lnTo>
                      <a:pt x="2352" y="2062"/>
                    </a:lnTo>
                    <a:lnTo>
                      <a:pt x="2364" y="2078"/>
                    </a:lnTo>
                    <a:lnTo>
                      <a:pt x="2379" y="2094"/>
                    </a:lnTo>
                    <a:lnTo>
                      <a:pt x="2392" y="2109"/>
                    </a:lnTo>
                    <a:lnTo>
                      <a:pt x="2407" y="2124"/>
                    </a:lnTo>
                    <a:lnTo>
                      <a:pt x="2423" y="2137"/>
                    </a:lnTo>
                    <a:lnTo>
                      <a:pt x="2439" y="2149"/>
                    </a:lnTo>
                    <a:lnTo>
                      <a:pt x="2457" y="2161"/>
                    </a:lnTo>
                    <a:lnTo>
                      <a:pt x="2474" y="2174"/>
                    </a:lnTo>
                    <a:lnTo>
                      <a:pt x="2493" y="2184"/>
                    </a:lnTo>
                    <a:lnTo>
                      <a:pt x="2512" y="2194"/>
                    </a:lnTo>
                    <a:lnTo>
                      <a:pt x="2530" y="2202"/>
                    </a:lnTo>
                    <a:lnTo>
                      <a:pt x="2551" y="2210"/>
                    </a:lnTo>
                    <a:lnTo>
                      <a:pt x="2571" y="2216"/>
                    </a:lnTo>
                    <a:lnTo>
                      <a:pt x="2591" y="2222"/>
                    </a:lnTo>
                    <a:lnTo>
                      <a:pt x="2612" y="2227"/>
                    </a:lnTo>
                    <a:lnTo>
                      <a:pt x="2634" y="2231"/>
                    </a:lnTo>
                    <a:lnTo>
                      <a:pt x="2655" y="2234"/>
                    </a:lnTo>
                    <a:lnTo>
                      <a:pt x="2677" y="2235"/>
                    </a:lnTo>
                    <a:lnTo>
                      <a:pt x="2700" y="2237"/>
                    </a:lnTo>
                    <a:lnTo>
                      <a:pt x="2722" y="2235"/>
                    </a:lnTo>
                    <a:lnTo>
                      <a:pt x="2744" y="2234"/>
                    </a:lnTo>
                    <a:lnTo>
                      <a:pt x="2765" y="2231"/>
                    </a:lnTo>
                    <a:lnTo>
                      <a:pt x="2787" y="2227"/>
                    </a:lnTo>
                    <a:lnTo>
                      <a:pt x="2808" y="2222"/>
                    </a:lnTo>
                    <a:lnTo>
                      <a:pt x="2828" y="2216"/>
                    </a:lnTo>
                    <a:lnTo>
                      <a:pt x="2848" y="2210"/>
                    </a:lnTo>
                    <a:lnTo>
                      <a:pt x="2869" y="2202"/>
                    </a:lnTo>
                    <a:lnTo>
                      <a:pt x="2887" y="2194"/>
                    </a:lnTo>
                    <a:lnTo>
                      <a:pt x="2906" y="2184"/>
                    </a:lnTo>
                    <a:lnTo>
                      <a:pt x="2925" y="2174"/>
                    </a:lnTo>
                    <a:lnTo>
                      <a:pt x="2942" y="2161"/>
                    </a:lnTo>
                    <a:lnTo>
                      <a:pt x="2958" y="2149"/>
                    </a:lnTo>
                    <a:lnTo>
                      <a:pt x="2976" y="2137"/>
                    </a:lnTo>
                    <a:lnTo>
                      <a:pt x="2991" y="2124"/>
                    </a:lnTo>
                    <a:lnTo>
                      <a:pt x="3007" y="2109"/>
                    </a:lnTo>
                    <a:lnTo>
                      <a:pt x="3020" y="2094"/>
                    </a:lnTo>
                    <a:lnTo>
                      <a:pt x="3034" y="2078"/>
                    </a:lnTo>
                    <a:lnTo>
                      <a:pt x="3047" y="2062"/>
                    </a:lnTo>
                    <a:lnTo>
                      <a:pt x="3059" y="2045"/>
                    </a:lnTo>
                    <a:lnTo>
                      <a:pt x="3071" y="2027"/>
                    </a:lnTo>
                    <a:lnTo>
                      <a:pt x="3081" y="2009"/>
                    </a:lnTo>
                    <a:lnTo>
                      <a:pt x="3090" y="1990"/>
                    </a:lnTo>
                    <a:lnTo>
                      <a:pt x="3099" y="1971"/>
                    </a:lnTo>
                    <a:lnTo>
                      <a:pt x="3107" y="1951"/>
                    </a:lnTo>
                    <a:lnTo>
                      <a:pt x="3114" y="1931"/>
                    </a:lnTo>
                    <a:lnTo>
                      <a:pt x="3120" y="1911"/>
                    </a:lnTo>
                    <a:lnTo>
                      <a:pt x="3125" y="1889"/>
                    </a:lnTo>
                    <a:lnTo>
                      <a:pt x="3129" y="1868"/>
                    </a:lnTo>
                    <a:lnTo>
                      <a:pt x="3132" y="1846"/>
                    </a:lnTo>
                    <a:lnTo>
                      <a:pt x="3133" y="1825"/>
                    </a:lnTo>
                    <a:lnTo>
                      <a:pt x="3133" y="1802"/>
                    </a:lnTo>
                    <a:lnTo>
                      <a:pt x="3133" y="1780"/>
                    </a:lnTo>
                    <a:lnTo>
                      <a:pt x="3132" y="1758"/>
                    </a:lnTo>
                    <a:lnTo>
                      <a:pt x="3129" y="1736"/>
                    </a:lnTo>
                    <a:lnTo>
                      <a:pt x="3125" y="1715"/>
                    </a:lnTo>
                    <a:lnTo>
                      <a:pt x="3120" y="1693"/>
                    </a:lnTo>
                    <a:lnTo>
                      <a:pt x="3114" y="1673"/>
                    </a:lnTo>
                    <a:lnTo>
                      <a:pt x="3107" y="1653"/>
                    </a:lnTo>
                    <a:lnTo>
                      <a:pt x="3099" y="1633"/>
                    </a:lnTo>
                    <a:lnTo>
                      <a:pt x="3090" y="1614"/>
                    </a:lnTo>
                    <a:lnTo>
                      <a:pt x="3081" y="1595"/>
                    </a:lnTo>
                    <a:lnTo>
                      <a:pt x="3071" y="1576"/>
                    </a:lnTo>
                    <a:lnTo>
                      <a:pt x="3059" y="1559"/>
                    </a:lnTo>
                    <a:lnTo>
                      <a:pt x="3047" y="1543"/>
                    </a:lnTo>
                    <a:lnTo>
                      <a:pt x="3034" y="1526"/>
                    </a:lnTo>
                    <a:lnTo>
                      <a:pt x="3020" y="1511"/>
                    </a:lnTo>
                    <a:lnTo>
                      <a:pt x="3007" y="1495"/>
                    </a:lnTo>
                    <a:lnTo>
                      <a:pt x="2991" y="1481"/>
                    </a:lnTo>
                    <a:lnTo>
                      <a:pt x="2976" y="1468"/>
                    </a:lnTo>
                    <a:lnTo>
                      <a:pt x="2958" y="1454"/>
                    </a:lnTo>
                    <a:lnTo>
                      <a:pt x="2942" y="1442"/>
                    </a:lnTo>
                    <a:lnTo>
                      <a:pt x="2925" y="1432"/>
                    </a:lnTo>
                    <a:lnTo>
                      <a:pt x="2906" y="1421"/>
                    </a:lnTo>
                    <a:lnTo>
                      <a:pt x="2887" y="1411"/>
                    </a:lnTo>
                    <a:lnTo>
                      <a:pt x="2869" y="1402"/>
                    </a:lnTo>
                    <a:lnTo>
                      <a:pt x="2848" y="1394"/>
                    </a:lnTo>
                    <a:lnTo>
                      <a:pt x="2828" y="1387"/>
                    </a:lnTo>
                    <a:lnTo>
                      <a:pt x="2808" y="1382"/>
                    </a:lnTo>
                    <a:lnTo>
                      <a:pt x="2787" y="1377"/>
                    </a:lnTo>
                    <a:lnTo>
                      <a:pt x="2765" y="1373"/>
                    </a:lnTo>
                    <a:lnTo>
                      <a:pt x="2744" y="1370"/>
                    </a:lnTo>
                    <a:lnTo>
                      <a:pt x="2722" y="1369"/>
                    </a:lnTo>
                    <a:lnTo>
                      <a:pt x="2700" y="1369"/>
                    </a:lnTo>
                    <a:close/>
                    <a:moveTo>
                      <a:pt x="657" y="2779"/>
                    </a:moveTo>
                    <a:lnTo>
                      <a:pt x="657" y="3016"/>
                    </a:lnTo>
                    <a:lnTo>
                      <a:pt x="895" y="3016"/>
                    </a:lnTo>
                    <a:lnTo>
                      <a:pt x="895" y="2779"/>
                    </a:lnTo>
                    <a:lnTo>
                      <a:pt x="657" y="2779"/>
                    </a:lnTo>
                    <a:close/>
                    <a:moveTo>
                      <a:pt x="1134" y="3016"/>
                    </a:moveTo>
                    <a:lnTo>
                      <a:pt x="1370" y="3016"/>
                    </a:lnTo>
                    <a:lnTo>
                      <a:pt x="1370" y="2779"/>
                    </a:lnTo>
                    <a:lnTo>
                      <a:pt x="1134" y="2779"/>
                    </a:lnTo>
                    <a:lnTo>
                      <a:pt x="1134" y="3016"/>
                    </a:lnTo>
                    <a:close/>
                    <a:moveTo>
                      <a:pt x="1610" y="3016"/>
                    </a:moveTo>
                    <a:lnTo>
                      <a:pt x="1846" y="3016"/>
                    </a:lnTo>
                    <a:lnTo>
                      <a:pt x="1846" y="2779"/>
                    </a:lnTo>
                    <a:lnTo>
                      <a:pt x="1610" y="2779"/>
                    </a:lnTo>
                    <a:lnTo>
                      <a:pt x="1610" y="3016"/>
                    </a:lnTo>
                    <a:close/>
                    <a:moveTo>
                      <a:pt x="2086" y="3016"/>
                    </a:moveTo>
                    <a:lnTo>
                      <a:pt x="2323" y="3016"/>
                    </a:lnTo>
                    <a:lnTo>
                      <a:pt x="2323" y="2779"/>
                    </a:lnTo>
                    <a:lnTo>
                      <a:pt x="2086" y="2779"/>
                    </a:lnTo>
                    <a:lnTo>
                      <a:pt x="2086" y="3016"/>
                    </a:lnTo>
                    <a:close/>
                    <a:moveTo>
                      <a:pt x="2563" y="3016"/>
                    </a:moveTo>
                    <a:lnTo>
                      <a:pt x="2799" y="3016"/>
                    </a:lnTo>
                    <a:lnTo>
                      <a:pt x="2799" y="2779"/>
                    </a:lnTo>
                    <a:lnTo>
                      <a:pt x="2563" y="2779"/>
                    </a:lnTo>
                    <a:lnTo>
                      <a:pt x="2563" y="3016"/>
                    </a:lnTo>
                    <a:close/>
                    <a:moveTo>
                      <a:pt x="3039" y="3016"/>
                    </a:moveTo>
                    <a:lnTo>
                      <a:pt x="3275" y="3016"/>
                    </a:lnTo>
                    <a:lnTo>
                      <a:pt x="3275" y="2779"/>
                    </a:lnTo>
                    <a:lnTo>
                      <a:pt x="3039" y="2779"/>
                    </a:lnTo>
                    <a:lnTo>
                      <a:pt x="3039" y="3016"/>
                    </a:lnTo>
                    <a:close/>
                    <a:moveTo>
                      <a:pt x="3515" y="3016"/>
                    </a:moveTo>
                    <a:lnTo>
                      <a:pt x="3751" y="3016"/>
                    </a:lnTo>
                    <a:lnTo>
                      <a:pt x="3751" y="2779"/>
                    </a:lnTo>
                    <a:lnTo>
                      <a:pt x="3515" y="2779"/>
                    </a:lnTo>
                    <a:lnTo>
                      <a:pt x="3515" y="3016"/>
                    </a:lnTo>
                    <a:close/>
                    <a:moveTo>
                      <a:pt x="3990" y="3016"/>
                    </a:moveTo>
                    <a:lnTo>
                      <a:pt x="4228" y="3016"/>
                    </a:lnTo>
                    <a:lnTo>
                      <a:pt x="4228" y="2779"/>
                    </a:lnTo>
                    <a:lnTo>
                      <a:pt x="3990" y="2779"/>
                    </a:lnTo>
                    <a:lnTo>
                      <a:pt x="3990" y="3016"/>
                    </a:lnTo>
                    <a:close/>
                    <a:moveTo>
                      <a:pt x="4467" y="2779"/>
                    </a:moveTo>
                    <a:lnTo>
                      <a:pt x="4467" y="3016"/>
                    </a:lnTo>
                    <a:lnTo>
                      <a:pt x="4704" y="3016"/>
                    </a:lnTo>
                    <a:lnTo>
                      <a:pt x="4704" y="2779"/>
                    </a:lnTo>
                    <a:lnTo>
                      <a:pt x="4467" y="2779"/>
                    </a:lnTo>
                    <a:close/>
                    <a:moveTo>
                      <a:pt x="657" y="557"/>
                    </a:moveTo>
                    <a:lnTo>
                      <a:pt x="657" y="794"/>
                    </a:lnTo>
                    <a:lnTo>
                      <a:pt x="895" y="794"/>
                    </a:lnTo>
                    <a:lnTo>
                      <a:pt x="895" y="557"/>
                    </a:lnTo>
                    <a:lnTo>
                      <a:pt x="657" y="557"/>
                    </a:lnTo>
                    <a:close/>
                    <a:moveTo>
                      <a:pt x="1134" y="794"/>
                    </a:moveTo>
                    <a:lnTo>
                      <a:pt x="1370" y="794"/>
                    </a:lnTo>
                    <a:lnTo>
                      <a:pt x="1370" y="557"/>
                    </a:lnTo>
                    <a:lnTo>
                      <a:pt x="1134" y="557"/>
                    </a:lnTo>
                    <a:lnTo>
                      <a:pt x="1134" y="794"/>
                    </a:lnTo>
                    <a:close/>
                    <a:moveTo>
                      <a:pt x="1610" y="794"/>
                    </a:moveTo>
                    <a:lnTo>
                      <a:pt x="1846" y="794"/>
                    </a:lnTo>
                    <a:lnTo>
                      <a:pt x="1846" y="557"/>
                    </a:lnTo>
                    <a:lnTo>
                      <a:pt x="1610" y="557"/>
                    </a:lnTo>
                    <a:lnTo>
                      <a:pt x="1610" y="794"/>
                    </a:lnTo>
                    <a:close/>
                    <a:moveTo>
                      <a:pt x="2086" y="794"/>
                    </a:moveTo>
                    <a:lnTo>
                      <a:pt x="2323" y="794"/>
                    </a:lnTo>
                    <a:lnTo>
                      <a:pt x="2323" y="557"/>
                    </a:lnTo>
                    <a:lnTo>
                      <a:pt x="2086" y="557"/>
                    </a:lnTo>
                    <a:lnTo>
                      <a:pt x="2086" y="794"/>
                    </a:lnTo>
                    <a:close/>
                    <a:moveTo>
                      <a:pt x="2563" y="794"/>
                    </a:moveTo>
                    <a:lnTo>
                      <a:pt x="2799" y="794"/>
                    </a:lnTo>
                    <a:lnTo>
                      <a:pt x="2799" y="557"/>
                    </a:lnTo>
                    <a:lnTo>
                      <a:pt x="2563" y="557"/>
                    </a:lnTo>
                    <a:lnTo>
                      <a:pt x="2563" y="794"/>
                    </a:lnTo>
                    <a:close/>
                    <a:moveTo>
                      <a:pt x="3039" y="794"/>
                    </a:moveTo>
                    <a:lnTo>
                      <a:pt x="3275" y="794"/>
                    </a:lnTo>
                    <a:lnTo>
                      <a:pt x="3275" y="557"/>
                    </a:lnTo>
                    <a:lnTo>
                      <a:pt x="3039" y="557"/>
                    </a:lnTo>
                    <a:lnTo>
                      <a:pt x="3039" y="794"/>
                    </a:lnTo>
                    <a:close/>
                    <a:moveTo>
                      <a:pt x="3515" y="794"/>
                    </a:moveTo>
                    <a:lnTo>
                      <a:pt x="3751" y="794"/>
                    </a:lnTo>
                    <a:lnTo>
                      <a:pt x="3751" y="557"/>
                    </a:lnTo>
                    <a:lnTo>
                      <a:pt x="3515" y="557"/>
                    </a:lnTo>
                    <a:lnTo>
                      <a:pt x="3515" y="794"/>
                    </a:lnTo>
                    <a:close/>
                    <a:moveTo>
                      <a:pt x="3990" y="794"/>
                    </a:moveTo>
                    <a:lnTo>
                      <a:pt x="4228" y="794"/>
                    </a:lnTo>
                    <a:lnTo>
                      <a:pt x="4228" y="557"/>
                    </a:lnTo>
                    <a:lnTo>
                      <a:pt x="3990" y="557"/>
                    </a:lnTo>
                    <a:lnTo>
                      <a:pt x="3990" y="794"/>
                    </a:lnTo>
                    <a:close/>
                    <a:moveTo>
                      <a:pt x="4467" y="557"/>
                    </a:moveTo>
                    <a:lnTo>
                      <a:pt x="4467" y="794"/>
                    </a:lnTo>
                    <a:lnTo>
                      <a:pt x="4704" y="794"/>
                    </a:lnTo>
                    <a:lnTo>
                      <a:pt x="4704" y="557"/>
                    </a:lnTo>
                    <a:lnTo>
                      <a:pt x="4467" y="557"/>
                    </a:lnTo>
                    <a:close/>
                    <a:moveTo>
                      <a:pt x="4921" y="390"/>
                    </a:moveTo>
                    <a:lnTo>
                      <a:pt x="4921" y="3189"/>
                    </a:lnTo>
                    <a:lnTo>
                      <a:pt x="411" y="3189"/>
                    </a:lnTo>
                    <a:lnTo>
                      <a:pt x="411" y="390"/>
                    </a:lnTo>
                    <a:lnTo>
                      <a:pt x="4921" y="390"/>
                    </a:lnTo>
                    <a:close/>
                    <a:moveTo>
                      <a:pt x="518" y="2623"/>
                    </a:moveTo>
                    <a:lnTo>
                      <a:pt x="4814" y="2623"/>
                    </a:lnTo>
                    <a:lnTo>
                      <a:pt x="4814" y="970"/>
                    </a:lnTo>
                    <a:lnTo>
                      <a:pt x="518" y="970"/>
                    </a:lnTo>
                    <a:lnTo>
                      <a:pt x="518" y="2623"/>
                    </a:lnTo>
                    <a:close/>
                    <a:moveTo>
                      <a:pt x="5117" y="3741"/>
                    </a:moveTo>
                    <a:lnTo>
                      <a:pt x="5117" y="215"/>
                    </a:lnTo>
                    <a:lnTo>
                      <a:pt x="215" y="215"/>
                    </a:lnTo>
                    <a:lnTo>
                      <a:pt x="215" y="3741"/>
                    </a:lnTo>
                    <a:lnTo>
                      <a:pt x="5117" y="3741"/>
                    </a:lnTo>
                    <a:close/>
                    <a:moveTo>
                      <a:pt x="181" y="0"/>
                    </a:moveTo>
                    <a:lnTo>
                      <a:pt x="5150" y="0"/>
                    </a:lnTo>
                    <a:lnTo>
                      <a:pt x="5167" y="1"/>
                    </a:lnTo>
                    <a:lnTo>
                      <a:pt x="5183" y="3"/>
                    </a:lnTo>
                    <a:lnTo>
                      <a:pt x="5199" y="7"/>
                    </a:lnTo>
                    <a:lnTo>
                      <a:pt x="5215" y="12"/>
                    </a:lnTo>
                    <a:lnTo>
                      <a:pt x="5231" y="19"/>
                    </a:lnTo>
                    <a:lnTo>
                      <a:pt x="5246" y="27"/>
                    </a:lnTo>
                    <a:lnTo>
                      <a:pt x="5260" y="36"/>
                    </a:lnTo>
                    <a:lnTo>
                      <a:pt x="5273" y="46"/>
                    </a:lnTo>
                    <a:lnTo>
                      <a:pt x="5286" y="58"/>
                    </a:lnTo>
                    <a:lnTo>
                      <a:pt x="5297" y="71"/>
                    </a:lnTo>
                    <a:lnTo>
                      <a:pt x="5307" y="86"/>
                    </a:lnTo>
                    <a:lnTo>
                      <a:pt x="5316" y="101"/>
                    </a:lnTo>
                    <a:lnTo>
                      <a:pt x="5323" y="117"/>
                    </a:lnTo>
                    <a:lnTo>
                      <a:pt x="5327" y="134"/>
                    </a:lnTo>
                    <a:lnTo>
                      <a:pt x="5331" y="153"/>
                    </a:lnTo>
                    <a:lnTo>
                      <a:pt x="5332" y="173"/>
                    </a:lnTo>
                    <a:lnTo>
                      <a:pt x="5332" y="3782"/>
                    </a:lnTo>
                    <a:lnTo>
                      <a:pt x="5331" y="3802"/>
                    </a:lnTo>
                    <a:lnTo>
                      <a:pt x="5327" y="3821"/>
                    </a:lnTo>
                    <a:lnTo>
                      <a:pt x="5323" y="3839"/>
                    </a:lnTo>
                    <a:lnTo>
                      <a:pt x="5316" y="3855"/>
                    </a:lnTo>
                    <a:lnTo>
                      <a:pt x="5307" y="3869"/>
                    </a:lnTo>
                    <a:lnTo>
                      <a:pt x="5297" y="3884"/>
                    </a:lnTo>
                    <a:lnTo>
                      <a:pt x="5286" y="3898"/>
                    </a:lnTo>
                    <a:lnTo>
                      <a:pt x="5273" y="3910"/>
                    </a:lnTo>
                    <a:lnTo>
                      <a:pt x="5260" y="3919"/>
                    </a:lnTo>
                    <a:lnTo>
                      <a:pt x="5246" y="3928"/>
                    </a:lnTo>
                    <a:lnTo>
                      <a:pt x="5231" y="3937"/>
                    </a:lnTo>
                    <a:lnTo>
                      <a:pt x="5215" y="3943"/>
                    </a:lnTo>
                    <a:lnTo>
                      <a:pt x="5199" y="3949"/>
                    </a:lnTo>
                    <a:lnTo>
                      <a:pt x="5183" y="3953"/>
                    </a:lnTo>
                    <a:lnTo>
                      <a:pt x="5167" y="3954"/>
                    </a:lnTo>
                    <a:lnTo>
                      <a:pt x="5150" y="3955"/>
                    </a:lnTo>
                    <a:lnTo>
                      <a:pt x="181" y="3955"/>
                    </a:lnTo>
                    <a:lnTo>
                      <a:pt x="165" y="3954"/>
                    </a:lnTo>
                    <a:lnTo>
                      <a:pt x="149" y="3953"/>
                    </a:lnTo>
                    <a:lnTo>
                      <a:pt x="133" y="3949"/>
                    </a:lnTo>
                    <a:lnTo>
                      <a:pt x="117" y="3943"/>
                    </a:lnTo>
                    <a:lnTo>
                      <a:pt x="101" y="3937"/>
                    </a:lnTo>
                    <a:lnTo>
                      <a:pt x="86" y="3928"/>
                    </a:lnTo>
                    <a:lnTo>
                      <a:pt x="71" y="3919"/>
                    </a:lnTo>
                    <a:lnTo>
                      <a:pt x="58" y="3910"/>
                    </a:lnTo>
                    <a:lnTo>
                      <a:pt x="46" y="3898"/>
                    </a:lnTo>
                    <a:lnTo>
                      <a:pt x="35" y="3884"/>
                    </a:lnTo>
                    <a:lnTo>
                      <a:pt x="24" y="3869"/>
                    </a:lnTo>
                    <a:lnTo>
                      <a:pt x="16" y="3855"/>
                    </a:lnTo>
                    <a:lnTo>
                      <a:pt x="9" y="3839"/>
                    </a:lnTo>
                    <a:lnTo>
                      <a:pt x="4" y="3821"/>
                    </a:lnTo>
                    <a:lnTo>
                      <a:pt x="1" y="3802"/>
                    </a:lnTo>
                    <a:lnTo>
                      <a:pt x="0" y="3782"/>
                    </a:lnTo>
                    <a:lnTo>
                      <a:pt x="0" y="173"/>
                    </a:lnTo>
                    <a:lnTo>
                      <a:pt x="1" y="153"/>
                    </a:lnTo>
                    <a:lnTo>
                      <a:pt x="4" y="134"/>
                    </a:lnTo>
                    <a:lnTo>
                      <a:pt x="9" y="117"/>
                    </a:lnTo>
                    <a:lnTo>
                      <a:pt x="16" y="101"/>
                    </a:lnTo>
                    <a:lnTo>
                      <a:pt x="24" y="86"/>
                    </a:lnTo>
                    <a:lnTo>
                      <a:pt x="35" y="71"/>
                    </a:lnTo>
                    <a:lnTo>
                      <a:pt x="46" y="58"/>
                    </a:lnTo>
                    <a:lnTo>
                      <a:pt x="58" y="46"/>
                    </a:lnTo>
                    <a:lnTo>
                      <a:pt x="71" y="36"/>
                    </a:lnTo>
                    <a:lnTo>
                      <a:pt x="86" y="27"/>
                    </a:lnTo>
                    <a:lnTo>
                      <a:pt x="101" y="19"/>
                    </a:lnTo>
                    <a:lnTo>
                      <a:pt x="117" y="12"/>
                    </a:lnTo>
                    <a:lnTo>
                      <a:pt x="133" y="7"/>
                    </a:lnTo>
                    <a:lnTo>
                      <a:pt x="149" y="3"/>
                    </a:lnTo>
                    <a:lnTo>
                      <a:pt x="165" y="1"/>
                    </a:lnTo>
                    <a:lnTo>
                      <a:pt x="181" y="0"/>
                    </a:lnTo>
                    <a:close/>
                  </a:path>
                </a:pathLst>
              </a:custGeom>
              <a:solidFill>
                <a:schemeClr val="tx2"/>
              </a:solidFill>
              <a:ln>
                <a:noFill/>
              </a:ln>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grpSp>
        <p:sp>
          <p:nvSpPr>
            <p:cNvPr id="70" name="Freeform 5"/>
            <p:cNvSpPr>
              <a:spLocks noEditPoints="1"/>
            </p:cNvSpPr>
            <p:nvPr/>
          </p:nvSpPr>
          <p:spPr bwMode="auto">
            <a:xfrm>
              <a:off x="6152185" y="2570770"/>
              <a:ext cx="327937" cy="248245"/>
            </a:xfrm>
            <a:custGeom>
              <a:avLst/>
              <a:gdLst>
                <a:gd name="T0" fmla="*/ 218 w 436"/>
                <a:gd name="T1" fmla="*/ 0 h 300"/>
                <a:gd name="T2" fmla="*/ 210 w 436"/>
                <a:gd name="T3" fmla="*/ 24 h 300"/>
                <a:gd name="T4" fmla="*/ 226 w 436"/>
                <a:gd name="T5" fmla="*/ 10 h 300"/>
                <a:gd name="T6" fmla="*/ 98 w 436"/>
                <a:gd name="T7" fmla="*/ 300 h 300"/>
                <a:gd name="T8" fmla="*/ 0 w 436"/>
                <a:gd name="T9" fmla="*/ 180 h 300"/>
                <a:gd name="T10" fmla="*/ 59 w 436"/>
                <a:gd name="T11" fmla="*/ 226 h 300"/>
                <a:gd name="T12" fmla="*/ 77 w 436"/>
                <a:gd name="T13" fmla="*/ 243 h 300"/>
                <a:gd name="T14" fmla="*/ 59 w 436"/>
                <a:gd name="T15" fmla="*/ 226 h 300"/>
                <a:gd name="T16" fmla="*/ 77 w 436"/>
                <a:gd name="T17" fmla="*/ 264 h 300"/>
                <a:gd name="T18" fmla="*/ 59 w 436"/>
                <a:gd name="T19" fmla="*/ 281 h 300"/>
                <a:gd name="T20" fmla="*/ 21 w 436"/>
                <a:gd name="T21" fmla="*/ 226 h 300"/>
                <a:gd name="T22" fmla="*/ 38 w 436"/>
                <a:gd name="T23" fmla="*/ 243 h 300"/>
                <a:gd name="T24" fmla="*/ 21 w 436"/>
                <a:gd name="T25" fmla="*/ 226 h 300"/>
                <a:gd name="T26" fmla="*/ 38 w 436"/>
                <a:gd name="T27" fmla="*/ 264 h 300"/>
                <a:gd name="T28" fmla="*/ 21 w 436"/>
                <a:gd name="T29" fmla="*/ 281 h 300"/>
                <a:gd name="T30" fmla="*/ 165 w 436"/>
                <a:gd name="T31" fmla="*/ 115 h 300"/>
                <a:gd name="T32" fmla="*/ 175 w 436"/>
                <a:gd name="T33" fmla="*/ 144 h 300"/>
                <a:gd name="T34" fmla="*/ 197 w 436"/>
                <a:gd name="T35" fmla="*/ 115 h 300"/>
                <a:gd name="T36" fmla="*/ 207 w 436"/>
                <a:gd name="T37" fmla="*/ 138 h 300"/>
                <a:gd name="T38" fmla="*/ 229 w 436"/>
                <a:gd name="T39" fmla="*/ 137 h 300"/>
                <a:gd name="T40" fmla="*/ 239 w 436"/>
                <a:gd name="T41" fmla="*/ 115 h 300"/>
                <a:gd name="T42" fmla="*/ 261 w 436"/>
                <a:gd name="T43" fmla="*/ 144 h 300"/>
                <a:gd name="T44" fmla="*/ 271 w 436"/>
                <a:gd name="T45" fmla="*/ 115 h 300"/>
                <a:gd name="T46" fmla="*/ 294 w 436"/>
                <a:gd name="T47" fmla="*/ 151 h 300"/>
                <a:gd name="T48" fmla="*/ 142 w 436"/>
                <a:gd name="T49" fmla="*/ 94 h 300"/>
                <a:gd name="T50" fmla="*/ 165 w 436"/>
                <a:gd name="T51" fmla="*/ 146 h 300"/>
                <a:gd name="T52" fmla="*/ 338 w 436"/>
                <a:gd name="T53" fmla="*/ 181 h 300"/>
                <a:gd name="T54" fmla="*/ 436 w 436"/>
                <a:gd name="T55" fmla="*/ 300 h 300"/>
                <a:gd name="T56" fmla="*/ 338 w 436"/>
                <a:gd name="T57" fmla="*/ 181 h 300"/>
                <a:gd name="T58" fmla="*/ 359 w 436"/>
                <a:gd name="T59" fmla="*/ 281 h 300"/>
                <a:gd name="T60" fmla="*/ 376 w 436"/>
                <a:gd name="T61" fmla="*/ 264 h 300"/>
                <a:gd name="T62" fmla="*/ 376 w 436"/>
                <a:gd name="T63" fmla="*/ 243 h 300"/>
                <a:gd name="T64" fmla="*/ 359 w 436"/>
                <a:gd name="T65" fmla="*/ 226 h 300"/>
                <a:gd name="T66" fmla="*/ 376 w 436"/>
                <a:gd name="T67" fmla="*/ 243 h 300"/>
                <a:gd name="T68" fmla="*/ 398 w 436"/>
                <a:gd name="T69" fmla="*/ 281 h 300"/>
                <a:gd name="T70" fmla="*/ 415 w 436"/>
                <a:gd name="T71" fmla="*/ 264 h 300"/>
                <a:gd name="T72" fmla="*/ 415 w 436"/>
                <a:gd name="T73" fmla="*/ 243 h 300"/>
                <a:gd name="T74" fmla="*/ 398 w 436"/>
                <a:gd name="T75" fmla="*/ 226 h 300"/>
                <a:gd name="T76" fmla="*/ 415 w 436"/>
                <a:gd name="T77" fmla="*/ 243 h 300"/>
                <a:gd name="T78" fmla="*/ 110 w 436"/>
                <a:gd name="T79" fmla="*/ 170 h 300"/>
                <a:gd name="T80" fmla="*/ 110 w 436"/>
                <a:gd name="T81" fmla="*/ 178 h 300"/>
                <a:gd name="T82" fmla="*/ 110 w 436"/>
                <a:gd name="T83" fmla="*/ 197 h 300"/>
                <a:gd name="T84" fmla="*/ 139 w 436"/>
                <a:gd name="T85" fmla="*/ 300 h 300"/>
                <a:gd name="T86" fmla="*/ 157 w 436"/>
                <a:gd name="T87" fmla="*/ 207 h 300"/>
                <a:gd name="T88" fmla="*/ 186 w 436"/>
                <a:gd name="T89" fmla="*/ 300 h 300"/>
                <a:gd name="T90" fmla="*/ 204 w 436"/>
                <a:gd name="T91" fmla="*/ 207 h 300"/>
                <a:gd name="T92" fmla="*/ 232 w 436"/>
                <a:gd name="T93" fmla="*/ 300 h 300"/>
                <a:gd name="T94" fmla="*/ 250 w 436"/>
                <a:gd name="T95" fmla="*/ 207 h 300"/>
                <a:gd name="T96" fmla="*/ 278 w 436"/>
                <a:gd name="T97" fmla="*/ 300 h 300"/>
                <a:gd name="T98" fmla="*/ 297 w 436"/>
                <a:gd name="T99" fmla="*/ 207 h 300"/>
                <a:gd name="T100" fmla="*/ 326 w 436"/>
                <a:gd name="T101" fmla="*/ 300 h 300"/>
                <a:gd name="T102" fmla="*/ 326 w 436"/>
                <a:gd name="T103" fmla="*/ 182 h 300"/>
                <a:gd name="T104" fmla="*/ 326 w 436"/>
                <a:gd name="T105" fmla="*/ 170 h 300"/>
                <a:gd name="T106" fmla="*/ 326 w 436"/>
                <a:gd name="T107" fmla="*/ 169 h 300"/>
                <a:gd name="T108" fmla="*/ 110 w 436"/>
                <a:gd name="T109" fmla="*/ 169 h 300"/>
                <a:gd name="T110" fmla="*/ 218 w 436"/>
                <a:gd name="T111" fmla="*/ 165 h 300"/>
                <a:gd name="T112" fmla="*/ 140 w 436"/>
                <a:gd name="T113" fmla="*/ 180 h 300"/>
                <a:gd name="T114" fmla="*/ 148 w 436"/>
                <a:gd name="T115" fmla="*/ 82 h 300"/>
                <a:gd name="T116" fmla="*/ 218 w 436"/>
                <a:gd name="T117" fmla="*/ 36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6" h="300">
                  <a:moveTo>
                    <a:pt x="226" y="10"/>
                  </a:moveTo>
                  <a:cubicBezTo>
                    <a:pt x="225" y="8"/>
                    <a:pt x="221" y="3"/>
                    <a:pt x="218" y="0"/>
                  </a:cubicBezTo>
                  <a:cubicBezTo>
                    <a:pt x="215" y="3"/>
                    <a:pt x="211" y="8"/>
                    <a:pt x="210" y="10"/>
                  </a:cubicBezTo>
                  <a:cubicBezTo>
                    <a:pt x="210" y="12"/>
                    <a:pt x="210" y="21"/>
                    <a:pt x="210" y="24"/>
                  </a:cubicBezTo>
                  <a:cubicBezTo>
                    <a:pt x="213" y="24"/>
                    <a:pt x="222" y="24"/>
                    <a:pt x="226" y="24"/>
                  </a:cubicBezTo>
                  <a:cubicBezTo>
                    <a:pt x="226" y="21"/>
                    <a:pt x="226" y="12"/>
                    <a:pt x="226" y="10"/>
                  </a:cubicBezTo>
                  <a:close/>
                  <a:moveTo>
                    <a:pt x="0" y="300"/>
                  </a:moveTo>
                  <a:cubicBezTo>
                    <a:pt x="6" y="300"/>
                    <a:pt x="92" y="300"/>
                    <a:pt x="98" y="300"/>
                  </a:cubicBezTo>
                  <a:cubicBezTo>
                    <a:pt x="98" y="295"/>
                    <a:pt x="98" y="181"/>
                    <a:pt x="98" y="180"/>
                  </a:cubicBezTo>
                  <a:cubicBezTo>
                    <a:pt x="92" y="180"/>
                    <a:pt x="6" y="180"/>
                    <a:pt x="0" y="180"/>
                  </a:cubicBezTo>
                  <a:cubicBezTo>
                    <a:pt x="0" y="183"/>
                    <a:pt x="0" y="296"/>
                    <a:pt x="0" y="300"/>
                  </a:cubicBezTo>
                  <a:close/>
                  <a:moveTo>
                    <a:pt x="59" y="226"/>
                  </a:moveTo>
                  <a:cubicBezTo>
                    <a:pt x="77" y="226"/>
                    <a:pt x="77" y="226"/>
                    <a:pt x="77" y="226"/>
                  </a:cubicBezTo>
                  <a:cubicBezTo>
                    <a:pt x="77" y="243"/>
                    <a:pt x="77" y="243"/>
                    <a:pt x="77" y="243"/>
                  </a:cubicBezTo>
                  <a:cubicBezTo>
                    <a:pt x="59" y="243"/>
                    <a:pt x="59" y="243"/>
                    <a:pt x="59" y="243"/>
                  </a:cubicBezTo>
                  <a:lnTo>
                    <a:pt x="59" y="226"/>
                  </a:lnTo>
                  <a:close/>
                  <a:moveTo>
                    <a:pt x="59" y="264"/>
                  </a:moveTo>
                  <a:cubicBezTo>
                    <a:pt x="77" y="264"/>
                    <a:pt x="77" y="264"/>
                    <a:pt x="77" y="264"/>
                  </a:cubicBezTo>
                  <a:cubicBezTo>
                    <a:pt x="77" y="281"/>
                    <a:pt x="77" y="281"/>
                    <a:pt x="77" y="281"/>
                  </a:cubicBezTo>
                  <a:cubicBezTo>
                    <a:pt x="59" y="281"/>
                    <a:pt x="59" y="281"/>
                    <a:pt x="59" y="281"/>
                  </a:cubicBezTo>
                  <a:lnTo>
                    <a:pt x="59" y="264"/>
                  </a:lnTo>
                  <a:close/>
                  <a:moveTo>
                    <a:pt x="21" y="226"/>
                  </a:moveTo>
                  <a:cubicBezTo>
                    <a:pt x="38" y="226"/>
                    <a:pt x="38" y="226"/>
                    <a:pt x="38" y="226"/>
                  </a:cubicBezTo>
                  <a:cubicBezTo>
                    <a:pt x="38" y="243"/>
                    <a:pt x="38" y="243"/>
                    <a:pt x="38" y="243"/>
                  </a:cubicBezTo>
                  <a:cubicBezTo>
                    <a:pt x="21" y="243"/>
                    <a:pt x="21" y="243"/>
                    <a:pt x="21" y="243"/>
                  </a:cubicBezTo>
                  <a:lnTo>
                    <a:pt x="21" y="226"/>
                  </a:lnTo>
                  <a:close/>
                  <a:moveTo>
                    <a:pt x="21" y="264"/>
                  </a:moveTo>
                  <a:cubicBezTo>
                    <a:pt x="38" y="264"/>
                    <a:pt x="38" y="264"/>
                    <a:pt x="38" y="264"/>
                  </a:cubicBezTo>
                  <a:cubicBezTo>
                    <a:pt x="38" y="281"/>
                    <a:pt x="38" y="281"/>
                    <a:pt x="38" y="281"/>
                  </a:cubicBezTo>
                  <a:cubicBezTo>
                    <a:pt x="21" y="281"/>
                    <a:pt x="21" y="281"/>
                    <a:pt x="21" y="281"/>
                  </a:cubicBezTo>
                  <a:lnTo>
                    <a:pt x="21" y="264"/>
                  </a:lnTo>
                  <a:close/>
                  <a:moveTo>
                    <a:pt x="165" y="115"/>
                  </a:moveTo>
                  <a:cubicBezTo>
                    <a:pt x="175" y="115"/>
                    <a:pt x="175" y="115"/>
                    <a:pt x="175" y="115"/>
                  </a:cubicBezTo>
                  <a:cubicBezTo>
                    <a:pt x="175" y="144"/>
                    <a:pt x="175" y="144"/>
                    <a:pt x="175" y="144"/>
                  </a:cubicBezTo>
                  <a:cubicBezTo>
                    <a:pt x="183" y="143"/>
                    <a:pt x="190" y="141"/>
                    <a:pt x="197" y="140"/>
                  </a:cubicBezTo>
                  <a:cubicBezTo>
                    <a:pt x="197" y="115"/>
                    <a:pt x="197" y="115"/>
                    <a:pt x="197" y="115"/>
                  </a:cubicBezTo>
                  <a:cubicBezTo>
                    <a:pt x="207" y="115"/>
                    <a:pt x="207" y="115"/>
                    <a:pt x="207" y="115"/>
                  </a:cubicBezTo>
                  <a:cubicBezTo>
                    <a:pt x="207" y="138"/>
                    <a:pt x="207" y="138"/>
                    <a:pt x="207" y="138"/>
                  </a:cubicBezTo>
                  <a:cubicBezTo>
                    <a:pt x="214" y="136"/>
                    <a:pt x="218" y="135"/>
                    <a:pt x="218" y="135"/>
                  </a:cubicBezTo>
                  <a:cubicBezTo>
                    <a:pt x="218" y="135"/>
                    <a:pt x="222" y="136"/>
                    <a:pt x="229" y="137"/>
                  </a:cubicBezTo>
                  <a:cubicBezTo>
                    <a:pt x="229" y="115"/>
                    <a:pt x="229" y="115"/>
                    <a:pt x="229" y="115"/>
                  </a:cubicBezTo>
                  <a:cubicBezTo>
                    <a:pt x="239" y="115"/>
                    <a:pt x="239" y="115"/>
                    <a:pt x="239" y="115"/>
                  </a:cubicBezTo>
                  <a:cubicBezTo>
                    <a:pt x="239" y="140"/>
                    <a:pt x="239" y="140"/>
                    <a:pt x="239" y="140"/>
                  </a:cubicBezTo>
                  <a:cubicBezTo>
                    <a:pt x="245" y="141"/>
                    <a:pt x="253" y="142"/>
                    <a:pt x="261" y="144"/>
                  </a:cubicBezTo>
                  <a:cubicBezTo>
                    <a:pt x="261" y="115"/>
                    <a:pt x="261" y="115"/>
                    <a:pt x="261" y="115"/>
                  </a:cubicBezTo>
                  <a:cubicBezTo>
                    <a:pt x="271" y="115"/>
                    <a:pt x="271" y="115"/>
                    <a:pt x="271" y="115"/>
                  </a:cubicBezTo>
                  <a:cubicBezTo>
                    <a:pt x="271" y="146"/>
                    <a:pt x="271" y="146"/>
                    <a:pt x="271" y="146"/>
                  </a:cubicBezTo>
                  <a:cubicBezTo>
                    <a:pt x="279" y="148"/>
                    <a:pt x="287" y="149"/>
                    <a:pt x="294" y="151"/>
                  </a:cubicBezTo>
                  <a:cubicBezTo>
                    <a:pt x="294" y="121"/>
                    <a:pt x="294" y="98"/>
                    <a:pt x="294" y="94"/>
                  </a:cubicBezTo>
                  <a:cubicBezTo>
                    <a:pt x="287" y="94"/>
                    <a:pt x="149" y="94"/>
                    <a:pt x="142" y="94"/>
                  </a:cubicBezTo>
                  <a:cubicBezTo>
                    <a:pt x="142" y="98"/>
                    <a:pt x="142" y="121"/>
                    <a:pt x="142" y="151"/>
                  </a:cubicBezTo>
                  <a:cubicBezTo>
                    <a:pt x="149" y="149"/>
                    <a:pt x="157" y="148"/>
                    <a:pt x="165" y="146"/>
                  </a:cubicBezTo>
                  <a:lnTo>
                    <a:pt x="165" y="115"/>
                  </a:lnTo>
                  <a:close/>
                  <a:moveTo>
                    <a:pt x="338" y="181"/>
                  </a:moveTo>
                  <a:cubicBezTo>
                    <a:pt x="338" y="300"/>
                    <a:pt x="338" y="300"/>
                    <a:pt x="338" y="300"/>
                  </a:cubicBezTo>
                  <a:cubicBezTo>
                    <a:pt x="344" y="300"/>
                    <a:pt x="430" y="300"/>
                    <a:pt x="436" y="300"/>
                  </a:cubicBezTo>
                  <a:cubicBezTo>
                    <a:pt x="436" y="296"/>
                    <a:pt x="436" y="183"/>
                    <a:pt x="436" y="181"/>
                  </a:cubicBezTo>
                  <a:cubicBezTo>
                    <a:pt x="430" y="181"/>
                    <a:pt x="344" y="181"/>
                    <a:pt x="338" y="181"/>
                  </a:cubicBezTo>
                  <a:close/>
                  <a:moveTo>
                    <a:pt x="376" y="281"/>
                  </a:moveTo>
                  <a:cubicBezTo>
                    <a:pt x="359" y="281"/>
                    <a:pt x="359" y="281"/>
                    <a:pt x="359" y="281"/>
                  </a:cubicBezTo>
                  <a:cubicBezTo>
                    <a:pt x="359" y="264"/>
                    <a:pt x="359" y="264"/>
                    <a:pt x="359" y="264"/>
                  </a:cubicBezTo>
                  <a:cubicBezTo>
                    <a:pt x="376" y="264"/>
                    <a:pt x="376" y="264"/>
                    <a:pt x="376" y="264"/>
                  </a:cubicBezTo>
                  <a:lnTo>
                    <a:pt x="376" y="281"/>
                  </a:lnTo>
                  <a:close/>
                  <a:moveTo>
                    <a:pt x="376" y="243"/>
                  </a:moveTo>
                  <a:cubicBezTo>
                    <a:pt x="359" y="243"/>
                    <a:pt x="359" y="243"/>
                    <a:pt x="359" y="243"/>
                  </a:cubicBezTo>
                  <a:cubicBezTo>
                    <a:pt x="359" y="226"/>
                    <a:pt x="359" y="226"/>
                    <a:pt x="359" y="226"/>
                  </a:cubicBezTo>
                  <a:cubicBezTo>
                    <a:pt x="376" y="226"/>
                    <a:pt x="376" y="226"/>
                    <a:pt x="376" y="226"/>
                  </a:cubicBezTo>
                  <a:lnTo>
                    <a:pt x="376" y="243"/>
                  </a:lnTo>
                  <a:close/>
                  <a:moveTo>
                    <a:pt x="415" y="281"/>
                  </a:moveTo>
                  <a:cubicBezTo>
                    <a:pt x="398" y="281"/>
                    <a:pt x="398" y="281"/>
                    <a:pt x="398" y="281"/>
                  </a:cubicBezTo>
                  <a:cubicBezTo>
                    <a:pt x="398" y="264"/>
                    <a:pt x="398" y="264"/>
                    <a:pt x="398" y="264"/>
                  </a:cubicBezTo>
                  <a:cubicBezTo>
                    <a:pt x="415" y="264"/>
                    <a:pt x="415" y="264"/>
                    <a:pt x="415" y="264"/>
                  </a:cubicBezTo>
                  <a:lnTo>
                    <a:pt x="415" y="281"/>
                  </a:lnTo>
                  <a:close/>
                  <a:moveTo>
                    <a:pt x="415" y="243"/>
                  </a:moveTo>
                  <a:cubicBezTo>
                    <a:pt x="398" y="243"/>
                    <a:pt x="398" y="243"/>
                    <a:pt x="398" y="243"/>
                  </a:cubicBezTo>
                  <a:cubicBezTo>
                    <a:pt x="398" y="226"/>
                    <a:pt x="398" y="226"/>
                    <a:pt x="398" y="226"/>
                  </a:cubicBezTo>
                  <a:cubicBezTo>
                    <a:pt x="415" y="226"/>
                    <a:pt x="415" y="226"/>
                    <a:pt x="415" y="226"/>
                  </a:cubicBezTo>
                  <a:lnTo>
                    <a:pt x="415" y="243"/>
                  </a:lnTo>
                  <a:close/>
                  <a:moveTo>
                    <a:pt x="110" y="169"/>
                  </a:moveTo>
                  <a:cubicBezTo>
                    <a:pt x="110" y="170"/>
                    <a:pt x="110" y="170"/>
                    <a:pt x="110" y="170"/>
                  </a:cubicBezTo>
                  <a:cubicBezTo>
                    <a:pt x="110" y="170"/>
                    <a:pt x="110" y="170"/>
                    <a:pt x="110" y="170"/>
                  </a:cubicBezTo>
                  <a:cubicBezTo>
                    <a:pt x="110" y="171"/>
                    <a:pt x="110" y="172"/>
                    <a:pt x="110" y="178"/>
                  </a:cubicBezTo>
                  <a:cubicBezTo>
                    <a:pt x="110" y="182"/>
                    <a:pt x="110" y="182"/>
                    <a:pt x="110" y="182"/>
                  </a:cubicBezTo>
                  <a:cubicBezTo>
                    <a:pt x="110" y="197"/>
                    <a:pt x="110" y="197"/>
                    <a:pt x="110" y="197"/>
                  </a:cubicBezTo>
                  <a:cubicBezTo>
                    <a:pt x="110" y="300"/>
                    <a:pt x="110" y="300"/>
                    <a:pt x="110" y="300"/>
                  </a:cubicBezTo>
                  <a:cubicBezTo>
                    <a:pt x="111" y="300"/>
                    <a:pt x="122" y="300"/>
                    <a:pt x="139" y="300"/>
                  </a:cubicBezTo>
                  <a:cubicBezTo>
                    <a:pt x="139" y="207"/>
                    <a:pt x="139" y="207"/>
                    <a:pt x="139" y="207"/>
                  </a:cubicBezTo>
                  <a:cubicBezTo>
                    <a:pt x="157" y="207"/>
                    <a:pt x="157" y="207"/>
                    <a:pt x="157" y="207"/>
                  </a:cubicBezTo>
                  <a:cubicBezTo>
                    <a:pt x="157" y="300"/>
                    <a:pt x="157" y="300"/>
                    <a:pt x="157" y="300"/>
                  </a:cubicBezTo>
                  <a:cubicBezTo>
                    <a:pt x="166" y="300"/>
                    <a:pt x="176" y="300"/>
                    <a:pt x="186" y="300"/>
                  </a:cubicBezTo>
                  <a:cubicBezTo>
                    <a:pt x="186" y="207"/>
                    <a:pt x="186" y="207"/>
                    <a:pt x="186" y="207"/>
                  </a:cubicBezTo>
                  <a:cubicBezTo>
                    <a:pt x="204" y="207"/>
                    <a:pt x="204" y="207"/>
                    <a:pt x="204" y="207"/>
                  </a:cubicBezTo>
                  <a:cubicBezTo>
                    <a:pt x="204" y="300"/>
                    <a:pt x="204" y="300"/>
                    <a:pt x="204" y="300"/>
                  </a:cubicBezTo>
                  <a:cubicBezTo>
                    <a:pt x="213" y="300"/>
                    <a:pt x="223" y="300"/>
                    <a:pt x="232" y="300"/>
                  </a:cubicBezTo>
                  <a:cubicBezTo>
                    <a:pt x="232" y="207"/>
                    <a:pt x="232" y="207"/>
                    <a:pt x="232" y="207"/>
                  </a:cubicBezTo>
                  <a:cubicBezTo>
                    <a:pt x="250" y="207"/>
                    <a:pt x="250" y="207"/>
                    <a:pt x="250" y="207"/>
                  </a:cubicBezTo>
                  <a:cubicBezTo>
                    <a:pt x="250" y="300"/>
                    <a:pt x="250" y="300"/>
                    <a:pt x="250" y="300"/>
                  </a:cubicBezTo>
                  <a:cubicBezTo>
                    <a:pt x="260" y="300"/>
                    <a:pt x="270" y="300"/>
                    <a:pt x="278" y="300"/>
                  </a:cubicBezTo>
                  <a:cubicBezTo>
                    <a:pt x="278" y="207"/>
                    <a:pt x="278" y="207"/>
                    <a:pt x="278" y="207"/>
                  </a:cubicBezTo>
                  <a:cubicBezTo>
                    <a:pt x="297" y="207"/>
                    <a:pt x="297" y="207"/>
                    <a:pt x="297" y="207"/>
                  </a:cubicBezTo>
                  <a:cubicBezTo>
                    <a:pt x="297" y="300"/>
                    <a:pt x="297" y="300"/>
                    <a:pt x="297" y="300"/>
                  </a:cubicBezTo>
                  <a:cubicBezTo>
                    <a:pt x="313" y="300"/>
                    <a:pt x="324" y="300"/>
                    <a:pt x="326" y="300"/>
                  </a:cubicBezTo>
                  <a:cubicBezTo>
                    <a:pt x="326" y="295"/>
                    <a:pt x="326" y="228"/>
                    <a:pt x="326" y="197"/>
                  </a:cubicBezTo>
                  <a:cubicBezTo>
                    <a:pt x="326" y="195"/>
                    <a:pt x="326" y="190"/>
                    <a:pt x="326" y="182"/>
                  </a:cubicBezTo>
                  <a:cubicBezTo>
                    <a:pt x="326" y="180"/>
                    <a:pt x="326" y="179"/>
                    <a:pt x="326" y="178"/>
                  </a:cubicBezTo>
                  <a:cubicBezTo>
                    <a:pt x="326" y="172"/>
                    <a:pt x="326" y="171"/>
                    <a:pt x="326" y="170"/>
                  </a:cubicBezTo>
                  <a:cubicBezTo>
                    <a:pt x="326" y="170"/>
                    <a:pt x="326" y="170"/>
                    <a:pt x="326" y="170"/>
                  </a:cubicBezTo>
                  <a:cubicBezTo>
                    <a:pt x="326" y="170"/>
                    <a:pt x="326" y="170"/>
                    <a:pt x="326" y="169"/>
                  </a:cubicBezTo>
                  <a:cubicBezTo>
                    <a:pt x="323" y="169"/>
                    <a:pt x="218" y="147"/>
                    <a:pt x="218" y="147"/>
                  </a:cubicBezTo>
                  <a:cubicBezTo>
                    <a:pt x="218" y="147"/>
                    <a:pt x="113" y="169"/>
                    <a:pt x="110" y="169"/>
                  </a:cubicBezTo>
                  <a:close/>
                  <a:moveTo>
                    <a:pt x="140" y="180"/>
                  </a:moveTo>
                  <a:cubicBezTo>
                    <a:pt x="218" y="165"/>
                    <a:pt x="218" y="165"/>
                    <a:pt x="218" y="165"/>
                  </a:cubicBezTo>
                  <a:cubicBezTo>
                    <a:pt x="296" y="180"/>
                    <a:pt x="296" y="180"/>
                    <a:pt x="296" y="180"/>
                  </a:cubicBezTo>
                  <a:lnTo>
                    <a:pt x="140" y="180"/>
                  </a:lnTo>
                  <a:close/>
                  <a:moveTo>
                    <a:pt x="218" y="36"/>
                  </a:moveTo>
                  <a:cubicBezTo>
                    <a:pt x="186" y="36"/>
                    <a:pt x="160" y="55"/>
                    <a:pt x="148" y="82"/>
                  </a:cubicBezTo>
                  <a:cubicBezTo>
                    <a:pt x="287" y="82"/>
                    <a:pt x="287" y="82"/>
                    <a:pt x="287" y="82"/>
                  </a:cubicBezTo>
                  <a:cubicBezTo>
                    <a:pt x="276" y="55"/>
                    <a:pt x="249" y="36"/>
                    <a:pt x="218" y="36"/>
                  </a:cubicBezTo>
                  <a:close/>
                </a:path>
              </a:pathLst>
            </a:custGeom>
            <a:solidFill>
              <a:schemeClr val="tx2"/>
            </a:solidFill>
            <a:ln>
              <a:noFill/>
            </a:ln>
          </p:spPr>
          <p:txBody>
            <a:bodyPr vert="horz" wrap="square" lIns="91296" tIns="45648" rIns="91296" bIns="45648" numCol="1" anchor="t" anchorCtr="0" compatLnSpc="1">
              <a:prstTxWarp prst="textNoShape">
                <a:avLst/>
              </a:prstTxWarp>
            </a:bodyPr>
            <a:lstStyle/>
            <a:p>
              <a:endParaRPr lang="en-US" sz="1797" dirty="0">
                <a:solidFill>
                  <a:srgbClr val="646464"/>
                </a:solidFill>
                <a:latin typeface="EYInterstate" panose="02000503020000020004" pitchFamily="2" charset="0"/>
              </a:endParaRPr>
            </a:p>
          </p:txBody>
        </p:sp>
        <p:grpSp>
          <p:nvGrpSpPr>
            <p:cNvPr id="90" name="Group 89"/>
            <p:cNvGrpSpPr/>
            <p:nvPr/>
          </p:nvGrpSpPr>
          <p:grpSpPr>
            <a:xfrm>
              <a:off x="4663613" y="2842591"/>
              <a:ext cx="447040" cy="446281"/>
              <a:chOff x="4927566" y="2729467"/>
              <a:chExt cx="447040" cy="446281"/>
            </a:xfrm>
          </p:grpSpPr>
          <p:sp>
            <p:nvSpPr>
              <p:cNvPr id="17" name="Oval 16"/>
              <p:cNvSpPr/>
              <p:nvPr/>
            </p:nvSpPr>
            <p:spPr>
              <a:xfrm>
                <a:off x="4927566" y="2729467"/>
                <a:ext cx="447040" cy="446281"/>
              </a:xfrm>
              <a:prstGeom prst="ellipse">
                <a:avLst/>
              </a:prstGeom>
              <a:solidFill>
                <a:srgbClr val="FFD3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7" dirty="0">
                  <a:solidFill>
                    <a:srgbClr val="646464"/>
                  </a:solidFill>
                  <a:latin typeface="EYInterstate" panose="02000503020000020004" pitchFamily="2" charset="0"/>
                </a:endParaRPr>
              </a:p>
            </p:txBody>
          </p:sp>
          <p:grpSp>
            <p:nvGrpSpPr>
              <p:cNvPr id="72" name="Gruppieren 30"/>
              <p:cNvGrpSpPr/>
              <p:nvPr/>
            </p:nvGrpSpPr>
            <p:grpSpPr>
              <a:xfrm>
                <a:off x="4982338" y="2774009"/>
                <a:ext cx="344114" cy="341185"/>
                <a:chOff x="6929438" y="6053138"/>
                <a:chExt cx="1304925" cy="1293812"/>
              </a:xfrm>
              <a:solidFill>
                <a:schemeClr val="tx1"/>
              </a:solidFill>
            </p:grpSpPr>
            <p:sp>
              <p:nvSpPr>
                <p:cNvPr id="73" name="Freeform 13"/>
                <p:cNvSpPr>
                  <a:spLocks noEditPoints="1"/>
                </p:cNvSpPr>
                <p:nvPr/>
              </p:nvSpPr>
              <p:spPr bwMode="auto">
                <a:xfrm>
                  <a:off x="7280276" y="6408738"/>
                  <a:ext cx="590550" cy="601662"/>
                </a:xfrm>
                <a:custGeom>
                  <a:avLst/>
                  <a:gdLst>
                    <a:gd name="T0" fmla="*/ 121 w 156"/>
                    <a:gd name="T1" fmla="*/ 12 h 159"/>
                    <a:gd name="T2" fmla="*/ 96 w 156"/>
                    <a:gd name="T3" fmla="*/ 26 h 159"/>
                    <a:gd name="T4" fmla="*/ 98 w 156"/>
                    <a:gd name="T5" fmla="*/ 3 h 159"/>
                    <a:gd name="T6" fmla="*/ 89 w 156"/>
                    <a:gd name="T7" fmla="*/ 25 h 159"/>
                    <a:gd name="T8" fmla="*/ 75 w 156"/>
                    <a:gd name="T9" fmla="*/ 0 h 159"/>
                    <a:gd name="T10" fmla="*/ 54 w 156"/>
                    <a:gd name="T11" fmla="*/ 15 h 159"/>
                    <a:gd name="T12" fmla="*/ 30 w 156"/>
                    <a:gd name="T13" fmla="*/ 16 h 159"/>
                    <a:gd name="T14" fmla="*/ 33 w 156"/>
                    <a:gd name="T15" fmla="*/ 64 h 159"/>
                    <a:gd name="T16" fmla="*/ 1 w 156"/>
                    <a:gd name="T17" fmla="*/ 59 h 159"/>
                    <a:gd name="T18" fmla="*/ 31 w 156"/>
                    <a:gd name="T19" fmla="*/ 70 h 159"/>
                    <a:gd name="T20" fmla="*/ 2 w 156"/>
                    <a:gd name="T21" fmla="*/ 103 h 159"/>
                    <a:gd name="T22" fmla="*/ 25 w 156"/>
                    <a:gd name="T23" fmla="*/ 116 h 159"/>
                    <a:gd name="T24" fmla="*/ 36 w 156"/>
                    <a:gd name="T25" fmla="*/ 147 h 159"/>
                    <a:gd name="T26" fmla="*/ 62 w 156"/>
                    <a:gd name="T27" fmla="*/ 126 h 159"/>
                    <a:gd name="T28" fmla="*/ 57 w 156"/>
                    <a:gd name="T29" fmla="*/ 157 h 159"/>
                    <a:gd name="T30" fmla="*/ 68 w 156"/>
                    <a:gd name="T31" fmla="*/ 128 h 159"/>
                    <a:gd name="T32" fmla="*/ 81 w 156"/>
                    <a:gd name="T33" fmla="*/ 159 h 159"/>
                    <a:gd name="T34" fmla="*/ 105 w 156"/>
                    <a:gd name="T35" fmla="*/ 138 h 159"/>
                    <a:gd name="T36" fmla="*/ 132 w 156"/>
                    <a:gd name="T37" fmla="*/ 138 h 159"/>
                    <a:gd name="T38" fmla="*/ 123 w 156"/>
                    <a:gd name="T39" fmla="*/ 95 h 159"/>
                    <a:gd name="T40" fmla="*/ 155 w 156"/>
                    <a:gd name="T41" fmla="*/ 100 h 159"/>
                    <a:gd name="T42" fmla="*/ 125 w 156"/>
                    <a:gd name="T43" fmla="*/ 89 h 159"/>
                    <a:gd name="T44" fmla="*/ 151 w 156"/>
                    <a:gd name="T45" fmla="*/ 48 h 159"/>
                    <a:gd name="T46" fmla="*/ 131 w 156"/>
                    <a:gd name="T47" fmla="*/ 36 h 159"/>
                    <a:gd name="T48" fmla="*/ 57 w 156"/>
                    <a:gd name="T49" fmla="*/ 23 h 159"/>
                    <a:gd name="T50" fmla="*/ 76 w 156"/>
                    <a:gd name="T51" fmla="*/ 76 h 159"/>
                    <a:gd name="T52" fmla="*/ 57 w 156"/>
                    <a:gd name="T53" fmla="*/ 23 h 159"/>
                    <a:gd name="T54" fmla="*/ 32 w 156"/>
                    <a:gd name="T55" fmla="*/ 111 h 159"/>
                    <a:gd name="T56" fmla="*/ 74 w 156"/>
                    <a:gd name="T57" fmla="*/ 82 h 159"/>
                    <a:gd name="T58" fmla="*/ 102 w 156"/>
                    <a:gd name="T59" fmla="*/ 130 h 159"/>
                    <a:gd name="T60" fmla="*/ 80 w 156"/>
                    <a:gd name="T61" fmla="*/ 84 h 159"/>
                    <a:gd name="T62" fmla="*/ 102 w 156"/>
                    <a:gd name="T63" fmla="*/ 130 h 159"/>
                    <a:gd name="T64" fmla="*/ 82 w 156"/>
                    <a:gd name="T65" fmla="*/ 77 h 159"/>
                    <a:gd name="T66" fmla="*/ 125 w 156"/>
                    <a:gd name="T67" fmla="*/ 4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59">
                      <a:moveTo>
                        <a:pt x="129" y="18"/>
                      </a:moveTo>
                      <a:cubicBezTo>
                        <a:pt x="126" y="16"/>
                        <a:pt x="124" y="14"/>
                        <a:pt x="121" y="12"/>
                      </a:cubicBezTo>
                      <a:cubicBezTo>
                        <a:pt x="123" y="19"/>
                        <a:pt x="124" y="26"/>
                        <a:pt x="124" y="34"/>
                      </a:cubicBezTo>
                      <a:cubicBezTo>
                        <a:pt x="96" y="26"/>
                        <a:pt x="96" y="26"/>
                        <a:pt x="96" y="26"/>
                      </a:cubicBezTo>
                      <a:cubicBezTo>
                        <a:pt x="102" y="3"/>
                        <a:pt x="102" y="3"/>
                        <a:pt x="102" y="3"/>
                      </a:cubicBezTo>
                      <a:cubicBezTo>
                        <a:pt x="101" y="3"/>
                        <a:pt x="100" y="3"/>
                        <a:pt x="98" y="3"/>
                      </a:cubicBezTo>
                      <a:cubicBezTo>
                        <a:pt x="98" y="2"/>
                        <a:pt x="97" y="2"/>
                        <a:pt x="96" y="2"/>
                      </a:cubicBezTo>
                      <a:cubicBezTo>
                        <a:pt x="89" y="25"/>
                        <a:pt x="89" y="25"/>
                        <a:pt x="89" y="25"/>
                      </a:cubicBezTo>
                      <a:cubicBezTo>
                        <a:pt x="61" y="17"/>
                        <a:pt x="61" y="17"/>
                        <a:pt x="61" y="17"/>
                      </a:cubicBezTo>
                      <a:cubicBezTo>
                        <a:pt x="65" y="10"/>
                        <a:pt x="70" y="4"/>
                        <a:pt x="75" y="0"/>
                      </a:cubicBezTo>
                      <a:cubicBezTo>
                        <a:pt x="72" y="0"/>
                        <a:pt x="68" y="0"/>
                        <a:pt x="65" y="1"/>
                      </a:cubicBezTo>
                      <a:cubicBezTo>
                        <a:pt x="61" y="5"/>
                        <a:pt x="58" y="10"/>
                        <a:pt x="54" y="15"/>
                      </a:cubicBezTo>
                      <a:cubicBezTo>
                        <a:pt x="37" y="11"/>
                        <a:pt x="37" y="11"/>
                        <a:pt x="37" y="11"/>
                      </a:cubicBezTo>
                      <a:cubicBezTo>
                        <a:pt x="35" y="12"/>
                        <a:pt x="33" y="14"/>
                        <a:pt x="30" y="16"/>
                      </a:cubicBezTo>
                      <a:cubicBezTo>
                        <a:pt x="51" y="21"/>
                        <a:pt x="51" y="21"/>
                        <a:pt x="51" y="21"/>
                      </a:cubicBezTo>
                      <a:cubicBezTo>
                        <a:pt x="44" y="34"/>
                        <a:pt x="38" y="48"/>
                        <a:pt x="33" y="64"/>
                      </a:cubicBezTo>
                      <a:cubicBezTo>
                        <a:pt x="2" y="56"/>
                        <a:pt x="2" y="56"/>
                        <a:pt x="2" y="56"/>
                      </a:cubicBezTo>
                      <a:cubicBezTo>
                        <a:pt x="1" y="57"/>
                        <a:pt x="1" y="58"/>
                        <a:pt x="1" y="59"/>
                      </a:cubicBezTo>
                      <a:cubicBezTo>
                        <a:pt x="0" y="60"/>
                        <a:pt x="0" y="61"/>
                        <a:pt x="0" y="62"/>
                      </a:cubicBezTo>
                      <a:cubicBezTo>
                        <a:pt x="31" y="70"/>
                        <a:pt x="31" y="70"/>
                        <a:pt x="31" y="70"/>
                      </a:cubicBezTo>
                      <a:cubicBezTo>
                        <a:pt x="28" y="84"/>
                        <a:pt x="26" y="97"/>
                        <a:pt x="25" y="110"/>
                      </a:cubicBezTo>
                      <a:cubicBezTo>
                        <a:pt x="2" y="103"/>
                        <a:pt x="2" y="103"/>
                        <a:pt x="2" y="103"/>
                      </a:cubicBezTo>
                      <a:cubicBezTo>
                        <a:pt x="2" y="106"/>
                        <a:pt x="3" y="108"/>
                        <a:pt x="4" y="111"/>
                      </a:cubicBezTo>
                      <a:cubicBezTo>
                        <a:pt x="25" y="116"/>
                        <a:pt x="25" y="116"/>
                        <a:pt x="25" y="116"/>
                      </a:cubicBezTo>
                      <a:cubicBezTo>
                        <a:pt x="25" y="125"/>
                        <a:pt x="26" y="134"/>
                        <a:pt x="28" y="142"/>
                      </a:cubicBezTo>
                      <a:cubicBezTo>
                        <a:pt x="30" y="144"/>
                        <a:pt x="33" y="146"/>
                        <a:pt x="36" y="147"/>
                      </a:cubicBezTo>
                      <a:cubicBezTo>
                        <a:pt x="33" y="139"/>
                        <a:pt x="32" y="129"/>
                        <a:pt x="32" y="118"/>
                      </a:cubicBezTo>
                      <a:cubicBezTo>
                        <a:pt x="62" y="126"/>
                        <a:pt x="62" y="126"/>
                        <a:pt x="62" y="126"/>
                      </a:cubicBezTo>
                      <a:cubicBezTo>
                        <a:pt x="54" y="156"/>
                        <a:pt x="54" y="156"/>
                        <a:pt x="54" y="156"/>
                      </a:cubicBezTo>
                      <a:cubicBezTo>
                        <a:pt x="55" y="156"/>
                        <a:pt x="56" y="156"/>
                        <a:pt x="57" y="157"/>
                      </a:cubicBezTo>
                      <a:cubicBezTo>
                        <a:pt x="58" y="157"/>
                        <a:pt x="59" y="157"/>
                        <a:pt x="61" y="158"/>
                      </a:cubicBezTo>
                      <a:cubicBezTo>
                        <a:pt x="68" y="128"/>
                        <a:pt x="68" y="128"/>
                        <a:pt x="68" y="128"/>
                      </a:cubicBezTo>
                      <a:cubicBezTo>
                        <a:pt x="99" y="136"/>
                        <a:pt x="99" y="136"/>
                        <a:pt x="99" y="136"/>
                      </a:cubicBezTo>
                      <a:cubicBezTo>
                        <a:pt x="93" y="146"/>
                        <a:pt x="87" y="154"/>
                        <a:pt x="81" y="159"/>
                      </a:cubicBezTo>
                      <a:cubicBezTo>
                        <a:pt x="85" y="159"/>
                        <a:pt x="88" y="159"/>
                        <a:pt x="91" y="158"/>
                      </a:cubicBezTo>
                      <a:cubicBezTo>
                        <a:pt x="96" y="153"/>
                        <a:pt x="101" y="146"/>
                        <a:pt x="105" y="138"/>
                      </a:cubicBezTo>
                      <a:cubicBezTo>
                        <a:pt x="126" y="143"/>
                        <a:pt x="126" y="143"/>
                        <a:pt x="126" y="143"/>
                      </a:cubicBezTo>
                      <a:cubicBezTo>
                        <a:pt x="128" y="142"/>
                        <a:pt x="130" y="140"/>
                        <a:pt x="132" y="138"/>
                      </a:cubicBezTo>
                      <a:cubicBezTo>
                        <a:pt x="109" y="132"/>
                        <a:pt x="109" y="132"/>
                        <a:pt x="109" y="132"/>
                      </a:cubicBezTo>
                      <a:cubicBezTo>
                        <a:pt x="114" y="121"/>
                        <a:pt x="119" y="108"/>
                        <a:pt x="123" y="95"/>
                      </a:cubicBezTo>
                      <a:cubicBezTo>
                        <a:pt x="154" y="103"/>
                        <a:pt x="154" y="103"/>
                        <a:pt x="154" y="103"/>
                      </a:cubicBezTo>
                      <a:cubicBezTo>
                        <a:pt x="154" y="102"/>
                        <a:pt x="155" y="101"/>
                        <a:pt x="155" y="100"/>
                      </a:cubicBezTo>
                      <a:cubicBezTo>
                        <a:pt x="155" y="99"/>
                        <a:pt x="155" y="98"/>
                        <a:pt x="156" y="97"/>
                      </a:cubicBezTo>
                      <a:cubicBezTo>
                        <a:pt x="125" y="89"/>
                        <a:pt x="125" y="89"/>
                        <a:pt x="125" y="89"/>
                      </a:cubicBezTo>
                      <a:cubicBezTo>
                        <a:pt x="129" y="73"/>
                        <a:pt x="131" y="57"/>
                        <a:pt x="131" y="42"/>
                      </a:cubicBezTo>
                      <a:cubicBezTo>
                        <a:pt x="151" y="48"/>
                        <a:pt x="151" y="48"/>
                        <a:pt x="151" y="48"/>
                      </a:cubicBezTo>
                      <a:cubicBezTo>
                        <a:pt x="150" y="45"/>
                        <a:pt x="149" y="43"/>
                        <a:pt x="147" y="40"/>
                      </a:cubicBezTo>
                      <a:cubicBezTo>
                        <a:pt x="131" y="36"/>
                        <a:pt x="131" y="36"/>
                        <a:pt x="131" y="36"/>
                      </a:cubicBezTo>
                      <a:cubicBezTo>
                        <a:pt x="131" y="30"/>
                        <a:pt x="130" y="24"/>
                        <a:pt x="129" y="18"/>
                      </a:cubicBezTo>
                      <a:close/>
                      <a:moveTo>
                        <a:pt x="57" y="23"/>
                      </a:moveTo>
                      <a:cubicBezTo>
                        <a:pt x="88" y="31"/>
                        <a:pt x="88" y="31"/>
                        <a:pt x="88" y="31"/>
                      </a:cubicBezTo>
                      <a:cubicBezTo>
                        <a:pt x="76" y="76"/>
                        <a:pt x="76" y="76"/>
                        <a:pt x="76" y="76"/>
                      </a:cubicBezTo>
                      <a:cubicBezTo>
                        <a:pt x="39" y="66"/>
                        <a:pt x="39" y="66"/>
                        <a:pt x="39" y="66"/>
                      </a:cubicBezTo>
                      <a:cubicBezTo>
                        <a:pt x="44" y="49"/>
                        <a:pt x="50" y="35"/>
                        <a:pt x="57" y="23"/>
                      </a:cubicBezTo>
                      <a:close/>
                      <a:moveTo>
                        <a:pt x="64" y="120"/>
                      </a:moveTo>
                      <a:cubicBezTo>
                        <a:pt x="32" y="111"/>
                        <a:pt x="32" y="111"/>
                        <a:pt x="32" y="111"/>
                      </a:cubicBezTo>
                      <a:cubicBezTo>
                        <a:pt x="32" y="99"/>
                        <a:pt x="34" y="86"/>
                        <a:pt x="38" y="72"/>
                      </a:cubicBezTo>
                      <a:cubicBezTo>
                        <a:pt x="74" y="82"/>
                        <a:pt x="74" y="82"/>
                        <a:pt x="74" y="82"/>
                      </a:cubicBezTo>
                      <a:lnTo>
                        <a:pt x="64" y="120"/>
                      </a:lnTo>
                      <a:close/>
                      <a:moveTo>
                        <a:pt x="102" y="130"/>
                      </a:moveTo>
                      <a:cubicBezTo>
                        <a:pt x="70" y="122"/>
                        <a:pt x="70" y="122"/>
                        <a:pt x="70" y="122"/>
                      </a:cubicBezTo>
                      <a:cubicBezTo>
                        <a:pt x="80" y="84"/>
                        <a:pt x="80" y="84"/>
                        <a:pt x="80" y="84"/>
                      </a:cubicBezTo>
                      <a:cubicBezTo>
                        <a:pt x="117" y="93"/>
                        <a:pt x="117" y="93"/>
                        <a:pt x="117" y="93"/>
                      </a:cubicBezTo>
                      <a:cubicBezTo>
                        <a:pt x="113" y="107"/>
                        <a:pt x="108" y="120"/>
                        <a:pt x="102" y="130"/>
                      </a:cubicBezTo>
                      <a:close/>
                      <a:moveTo>
                        <a:pt x="119" y="87"/>
                      </a:moveTo>
                      <a:cubicBezTo>
                        <a:pt x="82" y="77"/>
                        <a:pt x="82" y="77"/>
                        <a:pt x="82" y="77"/>
                      </a:cubicBezTo>
                      <a:cubicBezTo>
                        <a:pt x="94" y="33"/>
                        <a:pt x="94" y="33"/>
                        <a:pt x="94" y="33"/>
                      </a:cubicBezTo>
                      <a:cubicBezTo>
                        <a:pt x="125" y="41"/>
                        <a:pt x="125" y="41"/>
                        <a:pt x="125" y="41"/>
                      </a:cubicBezTo>
                      <a:cubicBezTo>
                        <a:pt x="125" y="55"/>
                        <a:pt x="123" y="70"/>
                        <a:pt x="119" y="87"/>
                      </a:cubicBezTo>
                      <a:close/>
                    </a:path>
                  </a:pathLst>
                </a:custGeom>
                <a:solidFill>
                  <a:schemeClr val="tx2"/>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74" name="Freeform 14"/>
                <p:cNvSpPr>
                  <a:spLocks noEditPoints="1"/>
                </p:cNvSpPr>
                <p:nvPr/>
              </p:nvSpPr>
              <p:spPr bwMode="auto">
                <a:xfrm>
                  <a:off x="7137402" y="6329366"/>
                  <a:ext cx="876298" cy="862014"/>
                </a:xfrm>
                <a:custGeom>
                  <a:avLst/>
                  <a:gdLst>
                    <a:gd name="T0" fmla="*/ 132 w 232"/>
                    <a:gd name="T1" fmla="*/ 8 h 228"/>
                    <a:gd name="T2" fmla="*/ 15 w 232"/>
                    <a:gd name="T3" fmla="*/ 84 h 228"/>
                    <a:gd name="T4" fmla="*/ 89 w 232"/>
                    <a:gd name="T5" fmla="*/ 213 h 228"/>
                    <a:gd name="T6" fmla="*/ 217 w 232"/>
                    <a:gd name="T7" fmla="*/ 139 h 228"/>
                    <a:gd name="T8" fmla="*/ 152 w 232"/>
                    <a:gd name="T9" fmla="*/ 13 h 228"/>
                    <a:gd name="T10" fmla="*/ 205 w 232"/>
                    <a:gd name="T11" fmla="*/ 135 h 228"/>
                    <a:gd name="T12" fmla="*/ 92 w 232"/>
                    <a:gd name="T13" fmla="*/ 200 h 228"/>
                    <a:gd name="T14" fmla="*/ 27 w 232"/>
                    <a:gd name="T15" fmla="*/ 88 h 228"/>
                    <a:gd name="T16" fmla="*/ 140 w 232"/>
                    <a:gd name="T17" fmla="*/ 23 h 228"/>
                    <a:gd name="T18" fmla="*/ 205 w 232"/>
                    <a:gd name="T19" fmla="*/ 13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2" h="228">
                      <a:moveTo>
                        <a:pt x="132" y="8"/>
                      </a:moveTo>
                      <a:cubicBezTo>
                        <a:pt x="80" y="0"/>
                        <a:pt x="29" y="32"/>
                        <a:pt x="15" y="84"/>
                      </a:cubicBezTo>
                      <a:cubicBezTo>
                        <a:pt x="0" y="140"/>
                        <a:pt x="33" y="198"/>
                        <a:pt x="89" y="213"/>
                      </a:cubicBezTo>
                      <a:cubicBezTo>
                        <a:pt x="145" y="228"/>
                        <a:pt x="202" y="195"/>
                        <a:pt x="217" y="139"/>
                      </a:cubicBezTo>
                      <a:cubicBezTo>
                        <a:pt x="232" y="86"/>
                        <a:pt x="203" y="32"/>
                        <a:pt x="152" y="13"/>
                      </a:cubicBezTo>
                      <a:moveTo>
                        <a:pt x="205" y="135"/>
                      </a:moveTo>
                      <a:cubicBezTo>
                        <a:pt x="192" y="185"/>
                        <a:pt x="141" y="214"/>
                        <a:pt x="92" y="200"/>
                      </a:cubicBezTo>
                      <a:cubicBezTo>
                        <a:pt x="43" y="187"/>
                        <a:pt x="14" y="137"/>
                        <a:pt x="27" y="88"/>
                      </a:cubicBezTo>
                      <a:cubicBezTo>
                        <a:pt x="40" y="39"/>
                        <a:pt x="91" y="10"/>
                        <a:pt x="140" y="23"/>
                      </a:cubicBezTo>
                      <a:cubicBezTo>
                        <a:pt x="189" y="36"/>
                        <a:pt x="218" y="86"/>
                        <a:pt x="205" y="135"/>
                      </a:cubicBezTo>
                      <a:close/>
                    </a:path>
                  </a:pathLst>
                </a:custGeom>
                <a:solidFill>
                  <a:schemeClr val="accent1"/>
                </a:solidFill>
                <a:ln>
                  <a:solidFill>
                    <a:schemeClr val="tx2"/>
                  </a:solid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75" name="Freeform 15"/>
                <p:cNvSpPr>
                  <a:spLocks/>
                </p:cNvSpPr>
                <p:nvPr/>
              </p:nvSpPr>
              <p:spPr bwMode="auto">
                <a:xfrm>
                  <a:off x="7526338" y="7150100"/>
                  <a:ext cx="101600" cy="38100"/>
                </a:xfrm>
                <a:custGeom>
                  <a:avLst/>
                  <a:gdLst>
                    <a:gd name="T0" fmla="*/ 27 w 27"/>
                    <a:gd name="T1" fmla="*/ 6 h 10"/>
                    <a:gd name="T2" fmla="*/ 23 w 27"/>
                    <a:gd name="T3" fmla="*/ 0 h 10"/>
                    <a:gd name="T4" fmla="*/ 13 w 27"/>
                    <a:gd name="T5" fmla="*/ 3 h 10"/>
                    <a:gd name="T6" fmla="*/ 4 w 27"/>
                    <a:gd name="T7" fmla="*/ 0 h 10"/>
                    <a:gd name="T8" fmla="*/ 0 w 27"/>
                    <a:gd name="T9" fmla="*/ 6 h 10"/>
                    <a:gd name="T10" fmla="*/ 13 w 27"/>
                    <a:gd name="T11" fmla="*/ 10 h 10"/>
                    <a:gd name="T12" fmla="*/ 27 w 27"/>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7" y="6"/>
                      </a:moveTo>
                      <a:cubicBezTo>
                        <a:pt x="23" y="0"/>
                        <a:pt x="23" y="0"/>
                        <a:pt x="23" y="0"/>
                      </a:cubicBezTo>
                      <a:cubicBezTo>
                        <a:pt x="20" y="2"/>
                        <a:pt x="17" y="3"/>
                        <a:pt x="13" y="3"/>
                      </a:cubicBezTo>
                      <a:cubicBezTo>
                        <a:pt x="10" y="3"/>
                        <a:pt x="6" y="2"/>
                        <a:pt x="4" y="0"/>
                      </a:cubicBezTo>
                      <a:cubicBezTo>
                        <a:pt x="0" y="6"/>
                        <a:pt x="0" y="6"/>
                        <a:pt x="0" y="6"/>
                      </a:cubicBezTo>
                      <a:cubicBezTo>
                        <a:pt x="4" y="8"/>
                        <a:pt x="8" y="10"/>
                        <a:pt x="13" y="10"/>
                      </a:cubicBezTo>
                      <a:cubicBezTo>
                        <a:pt x="18" y="10"/>
                        <a:pt x="23" y="8"/>
                        <a:pt x="27" y="6"/>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76" name="Freeform 16"/>
                <p:cNvSpPr>
                  <a:spLocks/>
                </p:cNvSpPr>
                <p:nvPr/>
              </p:nvSpPr>
              <p:spPr bwMode="auto">
                <a:xfrm>
                  <a:off x="7469188" y="7207250"/>
                  <a:ext cx="215900" cy="60325"/>
                </a:xfrm>
                <a:custGeom>
                  <a:avLst/>
                  <a:gdLst>
                    <a:gd name="T0" fmla="*/ 0 w 57"/>
                    <a:gd name="T1" fmla="*/ 6 h 16"/>
                    <a:gd name="T2" fmla="*/ 28 w 57"/>
                    <a:gd name="T3" fmla="*/ 16 h 16"/>
                    <a:gd name="T4" fmla="*/ 57 w 57"/>
                    <a:gd name="T5" fmla="*/ 6 h 16"/>
                    <a:gd name="T6" fmla="*/ 53 w 57"/>
                    <a:gd name="T7" fmla="*/ 0 h 16"/>
                    <a:gd name="T8" fmla="*/ 28 w 57"/>
                    <a:gd name="T9" fmla="*/ 9 h 16"/>
                    <a:gd name="T10" fmla="*/ 4 w 57"/>
                    <a:gd name="T11" fmla="*/ 0 h 16"/>
                    <a:gd name="T12" fmla="*/ 0 w 57"/>
                    <a:gd name="T13" fmla="*/ 6 h 16"/>
                  </a:gdLst>
                  <a:ahLst/>
                  <a:cxnLst>
                    <a:cxn ang="0">
                      <a:pos x="T0" y="T1"/>
                    </a:cxn>
                    <a:cxn ang="0">
                      <a:pos x="T2" y="T3"/>
                    </a:cxn>
                    <a:cxn ang="0">
                      <a:pos x="T4" y="T5"/>
                    </a:cxn>
                    <a:cxn ang="0">
                      <a:pos x="T6" y="T7"/>
                    </a:cxn>
                    <a:cxn ang="0">
                      <a:pos x="T8" y="T9"/>
                    </a:cxn>
                    <a:cxn ang="0">
                      <a:pos x="T10" y="T11"/>
                    </a:cxn>
                    <a:cxn ang="0">
                      <a:pos x="T12" y="T13"/>
                    </a:cxn>
                  </a:cxnLst>
                  <a:rect l="0" t="0" r="r" b="b"/>
                  <a:pathLst>
                    <a:path w="57" h="16">
                      <a:moveTo>
                        <a:pt x="0" y="6"/>
                      </a:moveTo>
                      <a:cubicBezTo>
                        <a:pt x="8" y="12"/>
                        <a:pt x="18" y="16"/>
                        <a:pt x="28" y="16"/>
                      </a:cubicBezTo>
                      <a:cubicBezTo>
                        <a:pt x="39" y="16"/>
                        <a:pt x="49" y="12"/>
                        <a:pt x="57" y="6"/>
                      </a:cubicBezTo>
                      <a:cubicBezTo>
                        <a:pt x="53" y="0"/>
                        <a:pt x="53" y="0"/>
                        <a:pt x="53" y="0"/>
                      </a:cubicBezTo>
                      <a:cubicBezTo>
                        <a:pt x="46" y="6"/>
                        <a:pt x="37" y="9"/>
                        <a:pt x="28" y="9"/>
                      </a:cubicBezTo>
                      <a:cubicBezTo>
                        <a:pt x="19" y="9"/>
                        <a:pt x="11" y="6"/>
                        <a:pt x="4" y="0"/>
                      </a:cubicBezTo>
                      <a:lnTo>
                        <a:pt x="0" y="6"/>
                      </a:ln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77" name="Freeform 17"/>
                <p:cNvSpPr>
                  <a:spLocks/>
                </p:cNvSpPr>
                <p:nvPr/>
              </p:nvSpPr>
              <p:spPr bwMode="auto">
                <a:xfrm>
                  <a:off x="7413626" y="7267575"/>
                  <a:ext cx="328613" cy="79375"/>
                </a:xfrm>
                <a:custGeom>
                  <a:avLst/>
                  <a:gdLst>
                    <a:gd name="T0" fmla="*/ 43 w 87"/>
                    <a:gd name="T1" fmla="*/ 14 h 21"/>
                    <a:gd name="T2" fmla="*/ 4 w 87"/>
                    <a:gd name="T3" fmla="*/ 0 h 21"/>
                    <a:gd name="T4" fmla="*/ 0 w 87"/>
                    <a:gd name="T5" fmla="*/ 5 h 21"/>
                    <a:gd name="T6" fmla="*/ 43 w 87"/>
                    <a:gd name="T7" fmla="*/ 21 h 21"/>
                    <a:gd name="T8" fmla="*/ 87 w 87"/>
                    <a:gd name="T9" fmla="*/ 5 h 21"/>
                    <a:gd name="T10" fmla="*/ 83 w 87"/>
                    <a:gd name="T11" fmla="*/ 0 h 21"/>
                    <a:gd name="T12" fmla="*/ 43 w 87"/>
                    <a:gd name="T13" fmla="*/ 14 h 21"/>
                  </a:gdLst>
                  <a:ahLst/>
                  <a:cxnLst>
                    <a:cxn ang="0">
                      <a:pos x="T0" y="T1"/>
                    </a:cxn>
                    <a:cxn ang="0">
                      <a:pos x="T2" y="T3"/>
                    </a:cxn>
                    <a:cxn ang="0">
                      <a:pos x="T4" y="T5"/>
                    </a:cxn>
                    <a:cxn ang="0">
                      <a:pos x="T6" y="T7"/>
                    </a:cxn>
                    <a:cxn ang="0">
                      <a:pos x="T8" y="T9"/>
                    </a:cxn>
                    <a:cxn ang="0">
                      <a:pos x="T10" y="T11"/>
                    </a:cxn>
                    <a:cxn ang="0">
                      <a:pos x="T12" y="T13"/>
                    </a:cxn>
                  </a:cxnLst>
                  <a:rect l="0" t="0" r="r" b="b"/>
                  <a:pathLst>
                    <a:path w="87" h="21">
                      <a:moveTo>
                        <a:pt x="43" y="14"/>
                      </a:moveTo>
                      <a:cubicBezTo>
                        <a:pt x="29" y="14"/>
                        <a:pt x="15" y="9"/>
                        <a:pt x="4" y="0"/>
                      </a:cubicBezTo>
                      <a:cubicBezTo>
                        <a:pt x="0" y="5"/>
                        <a:pt x="0" y="5"/>
                        <a:pt x="0" y="5"/>
                      </a:cubicBezTo>
                      <a:cubicBezTo>
                        <a:pt x="12" y="15"/>
                        <a:pt x="27" y="21"/>
                        <a:pt x="43" y="21"/>
                      </a:cubicBezTo>
                      <a:cubicBezTo>
                        <a:pt x="59" y="21"/>
                        <a:pt x="75" y="15"/>
                        <a:pt x="87" y="5"/>
                      </a:cubicBezTo>
                      <a:cubicBezTo>
                        <a:pt x="83" y="0"/>
                        <a:pt x="83" y="0"/>
                        <a:pt x="83" y="0"/>
                      </a:cubicBezTo>
                      <a:cubicBezTo>
                        <a:pt x="72" y="9"/>
                        <a:pt x="58" y="14"/>
                        <a:pt x="43" y="14"/>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78" name="Freeform 18"/>
                <p:cNvSpPr>
                  <a:spLocks/>
                </p:cNvSpPr>
                <p:nvPr/>
              </p:nvSpPr>
              <p:spPr bwMode="auto">
                <a:xfrm>
                  <a:off x="7529513" y="6216650"/>
                  <a:ext cx="106363" cy="38100"/>
                </a:xfrm>
                <a:custGeom>
                  <a:avLst/>
                  <a:gdLst>
                    <a:gd name="T0" fmla="*/ 0 w 28"/>
                    <a:gd name="T1" fmla="*/ 4 h 10"/>
                    <a:gd name="T2" fmla="*/ 4 w 28"/>
                    <a:gd name="T3" fmla="*/ 10 h 10"/>
                    <a:gd name="T4" fmla="*/ 14 w 28"/>
                    <a:gd name="T5" fmla="*/ 7 h 10"/>
                    <a:gd name="T6" fmla="*/ 24 w 28"/>
                    <a:gd name="T7" fmla="*/ 10 h 10"/>
                    <a:gd name="T8" fmla="*/ 28 w 28"/>
                    <a:gd name="T9" fmla="*/ 4 h 10"/>
                    <a:gd name="T10" fmla="*/ 14 w 28"/>
                    <a:gd name="T11" fmla="*/ 0 h 10"/>
                    <a:gd name="T12" fmla="*/ 0 w 28"/>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8" h="10">
                      <a:moveTo>
                        <a:pt x="0" y="4"/>
                      </a:moveTo>
                      <a:cubicBezTo>
                        <a:pt x="4" y="10"/>
                        <a:pt x="4" y="10"/>
                        <a:pt x="4" y="10"/>
                      </a:cubicBezTo>
                      <a:cubicBezTo>
                        <a:pt x="7" y="8"/>
                        <a:pt x="10" y="7"/>
                        <a:pt x="14" y="7"/>
                      </a:cubicBezTo>
                      <a:cubicBezTo>
                        <a:pt x="17" y="7"/>
                        <a:pt x="21" y="8"/>
                        <a:pt x="24" y="10"/>
                      </a:cubicBezTo>
                      <a:cubicBezTo>
                        <a:pt x="28" y="4"/>
                        <a:pt x="28" y="4"/>
                        <a:pt x="28" y="4"/>
                      </a:cubicBezTo>
                      <a:cubicBezTo>
                        <a:pt x="23" y="1"/>
                        <a:pt x="19" y="0"/>
                        <a:pt x="14" y="0"/>
                      </a:cubicBezTo>
                      <a:cubicBezTo>
                        <a:pt x="9" y="0"/>
                        <a:pt x="4" y="1"/>
                        <a:pt x="0" y="4"/>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79" name="Freeform 19"/>
                <p:cNvSpPr>
                  <a:spLocks/>
                </p:cNvSpPr>
                <p:nvPr/>
              </p:nvSpPr>
              <p:spPr bwMode="auto">
                <a:xfrm>
                  <a:off x="7473951" y="6132513"/>
                  <a:ext cx="219075" cy="61912"/>
                </a:xfrm>
                <a:custGeom>
                  <a:avLst/>
                  <a:gdLst>
                    <a:gd name="T0" fmla="*/ 58 w 58"/>
                    <a:gd name="T1" fmla="*/ 10 h 16"/>
                    <a:gd name="T2" fmla="*/ 29 w 58"/>
                    <a:gd name="T3" fmla="*/ 0 h 16"/>
                    <a:gd name="T4" fmla="*/ 0 w 58"/>
                    <a:gd name="T5" fmla="*/ 10 h 16"/>
                    <a:gd name="T6" fmla="*/ 4 w 58"/>
                    <a:gd name="T7" fmla="*/ 16 h 16"/>
                    <a:gd name="T8" fmla="*/ 29 w 58"/>
                    <a:gd name="T9" fmla="*/ 7 h 16"/>
                    <a:gd name="T10" fmla="*/ 53 w 58"/>
                    <a:gd name="T11" fmla="*/ 16 h 16"/>
                    <a:gd name="T12" fmla="*/ 58 w 58"/>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58" h="16">
                      <a:moveTo>
                        <a:pt x="58" y="10"/>
                      </a:moveTo>
                      <a:cubicBezTo>
                        <a:pt x="49" y="4"/>
                        <a:pt x="39" y="0"/>
                        <a:pt x="29" y="0"/>
                      </a:cubicBezTo>
                      <a:cubicBezTo>
                        <a:pt x="18" y="0"/>
                        <a:pt x="8" y="4"/>
                        <a:pt x="0" y="10"/>
                      </a:cubicBezTo>
                      <a:cubicBezTo>
                        <a:pt x="4" y="16"/>
                        <a:pt x="4" y="16"/>
                        <a:pt x="4" y="16"/>
                      </a:cubicBezTo>
                      <a:cubicBezTo>
                        <a:pt x="11" y="10"/>
                        <a:pt x="20" y="7"/>
                        <a:pt x="29" y="7"/>
                      </a:cubicBezTo>
                      <a:cubicBezTo>
                        <a:pt x="38" y="7"/>
                        <a:pt x="46" y="10"/>
                        <a:pt x="53" y="16"/>
                      </a:cubicBezTo>
                      <a:lnTo>
                        <a:pt x="58" y="10"/>
                      </a:ln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80" name="Freeform 20"/>
                <p:cNvSpPr>
                  <a:spLocks/>
                </p:cNvSpPr>
                <p:nvPr/>
              </p:nvSpPr>
              <p:spPr bwMode="auto">
                <a:xfrm>
                  <a:off x="7416801" y="6053138"/>
                  <a:ext cx="333375" cy="79375"/>
                </a:xfrm>
                <a:custGeom>
                  <a:avLst/>
                  <a:gdLst>
                    <a:gd name="T0" fmla="*/ 44 w 88"/>
                    <a:gd name="T1" fmla="*/ 7 h 21"/>
                    <a:gd name="T2" fmla="*/ 83 w 88"/>
                    <a:gd name="T3" fmla="*/ 21 h 21"/>
                    <a:gd name="T4" fmla="*/ 88 w 88"/>
                    <a:gd name="T5" fmla="*/ 16 h 21"/>
                    <a:gd name="T6" fmla="*/ 44 w 88"/>
                    <a:gd name="T7" fmla="*/ 0 h 21"/>
                    <a:gd name="T8" fmla="*/ 0 w 88"/>
                    <a:gd name="T9" fmla="*/ 16 h 21"/>
                    <a:gd name="T10" fmla="*/ 5 w 88"/>
                    <a:gd name="T11" fmla="*/ 21 h 21"/>
                    <a:gd name="T12" fmla="*/ 44 w 88"/>
                    <a:gd name="T13" fmla="*/ 7 h 21"/>
                  </a:gdLst>
                  <a:ahLst/>
                  <a:cxnLst>
                    <a:cxn ang="0">
                      <a:pos x="T0" y="T1"/>
                    </a:cxn>
                    <a:cxn ang="0">
                      <a:pos x="T2" y="T3"/>
                    </a:cxn>
                    <a:cxn ang="0">
                      <a:pos x="T4" y="T5"/>
                    </a:cxn>
                    <a:cxn ang="0">
                      <a:pos x="T6" y="T7"/>
                    </a:cxn>
                    <a:cxn ang="0">
                      <a:pos x="T8" y="T9"/>
                    </a:cxn>
                    <a:cxn ang="0">
                      <a:pos x="T10" y="T11"/>
                    </a:cxn>
                    <a:cxn ang="0">
                      <a:pos x="T12" y="T13"/>
                    </a:cxn>
                  </a:cxnLst>
                  <a:rect l="0" t="0" r="r" b="b"/>
                  <a:pathLst>
                    <a:path w="88" h="21">
                      <a:moveTo>
                        <a:pt x="44" y="7"/>
                      </a:moveTo>
                      <a:cubicBezTo>
                        <a:pt x="58" y="7"/>
                        <a:pt x="72" y="12"/>
                        <a:pt x="83" y="21"/>
                      </a:cubicBezTo>
                      <a:cubicBezTo>
                        <a:pt x="88" y="16"/>
                        <a:pt x="88" y="16"/>
                        <a:pt x="88" y="16"/>
                      </a:cubicBezTo>
                      <a:cubicBezTo>
                        <a:pt x="75" y="6"/>
                        <a:pt x="60" y="0"/>
                        <a:pt x="44" y="0"/>
                      </a:cubicBezTo>
                      <a:cubicBezTo>
                        <a:pt x="28" y="0"/>
                        <a:pt x="12" y="6"/>
                        <a:pt x="0" y="16"/>
                      </a:cubicBezTo>
                      <a:cubicBezTo>
                        <a:pt x="5" y="21"/>
                        <a:pt x="5" y="21"/>
                        <a:pt x="5" y="21"/>
                      </a:cubicBezTo>
                      <a:cubicBezTo>
                        <a:pt x="15" y="12"/>
                        <a:pt x="29" y="7"/>
                        <a:pt x="44" y="7"/>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81" name="Freeform 21"/>
                <p:cNvSpPr>
                  <a:spLocks/>
                </p:cNvSpPr>
                <p:nvPr/>
              </p:nvSpPr>
              <p:spPr bwMode="auto">
                <a:xfrm>
                  <a:off x="7091363" y="6640513"/>
                  <a:ext cx="38100" cy="104775"/>
                </a:xfrm>
                <a:custGeom>
                  <a:avLst/>
                  <a:gdLst>
                    <a:gd name="T0" fmla="*/ 4 w 10"/>
                    <a:gd name="T1" fmla="*/ 28 h 28"/>
                    <a:gd name="T2" fmla="*/ 10 w 10"/>
                    <a:gd name="T3" fmla="*/ 24 h 28"/>
                    <a:gd name="T4" fmla="*/ 7 w 10"/>
                    <a:gd name="T5" fmla="*/ 14 h 28"/>
                    <a:gd name="T6" fmla="*/ 10 w 10"/>
                    <a:gd name="T7" fmla="*/ 4 h 28"/>
                    <a:gd name="T8" fmla="*/ 4 w 10"/>
                    <a:gd name="T9" fmla="*/ 0 h 28"/>
                    <a:gd name="T10" fmla="*/ 0 w 10"/>
                    <a:gd name="T11" fmla="*/ 14 h 28"/>
                    <a:gd name="T12" fmla="*/ 4 w 10"/>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0" h="28">
                      <a:moveTo>
                        <a:pt x="4" y="28"/>
                      </a:moveTo>
                      <a:cubicBezTo>
                        <a:pt x="10" y="24"/>
                        <a:pt x="10" y="24"/>
                        <a:pt x="10" y="24"/>
                      </a:cubicBezTo>
                      <a:cubicBezTo>
                        <a:pt x="8" y="21"/>
                        <a:pt x="7" y="18"/>
                        <a:pt x="7" y="14"/>
                      </a:cubicBezTo>
                      <a:cubicBezTo>
                        <a:pt x="7" y="10"/>
                        <a:pt x="8" y="7"/>
                        <a:pt x="10" y="4"/>
                      </a:cubicBezTo>
                      <a:cubicBezTo>
                        <a:pt x="4" y="0"/>
                        <a:pt x="4" y="0"/>
                        <a:pt x="4" y="0"/>
                      </a:cubicBezTo>
                      <a:cubicBezTo>
                        <a:pt x="1" y="4"/>
                        <a:pt x="0" y="9"/>
                        <a:pt x="0" y="14"/>
                      </a:cubicBezTo>
                      <a:cubicBezTo>
                        <a:pt x="0" y="19"/>
                        <a:pt x="1" y="24"/>
                        <a:pt x="4" y="28"/>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82" name="Freeform 22"/>
                <p:cNvSpPr>
                  <a:spLocks/>
                </p:cNvSpPr>
                <p:nvPr/>
              </p:nvSpPr>
              <p:spPr bwMode="auto">
                <a:xfrm>
                  <a:off x="7008813" y="6583363"/>
                  <a:ext cx="60325" cy="219075"/>
                </a:xfrm>
                <a:custGeom>
                  <a:avLst/>
                  <a:gdLst>
                    <a:gd name="T0" fmla="*/ 10 w 16"/>
                    <a:gd name="T1" fmla="*/ 0 h 58"/>
                    <a:gd name="T2" fmla="*/ 0 w 16"/>
                    <a:gd name="T3" fmla="*/ 29 h 58"/>
                    <a:gd name="T4" fmla="*/ 10 w 16"/>
                    <a:gd name="T5" fmla="*/ 58 h 58"/>
                    <a:gd name="T6" fmla="*/ 16 w 16"/>
                    <a:gd name="T7" fmla="*/ 53 h 58"/>
                    <a:gd name="T8" fmla="*/ 7 w 16"/>
                    <a:gd name="T9" fmla="*/ 29 h 58"/>
                    <a:gd name="T10" fmla="*/ 16 w 16"/>
                    <a:gd name="T11" fmla="*/ 5 h 58"/>
                    <a:gd name="T12" fmla="*/ 10 w 16"/>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16" h="58">
                      <a:moveTo>
                        <a:pt x="10" y="0"/>
                      </a:moveTo>
                      <a:cubicBezTo>
                        <a:pt x="4" y="8"/>
                        <a:pt x="0" y="19"/>
                        <a:pt x="0" y="29"/>
                      </a:cubicBezTo>
                      <a:cubicBezTo>
                        <a:pt x="0" y="39"/>
                        <a:pt x="4" y="50"/>
                        <a:pt x="10" y="58"/>
                      </a:cubicBezTo>
                      <a:cubicBezTo>
                        <a:pt x="16" y="53"/>
                        <a:pt x="16" y="53"/>
                        <a:pt x="16" y="53"/>
                      </a:cubicBezTo>
                      <a:cubicBezTo>
                        <a:pt x="10" y="46"/>
                        <a:pt x="7" y="38"/>
                        <a:pt x="7" y="29"/>
                      </a:cubicBezTo>
                      <a:cubicBezTo>
                        <a:pt x="7" y="20"/>
                        <a:pt x="10" y="12"/>
                        <a:pt x="16" y="5"/>
                      </a:cubicBezTo>
                      <a:lnTo>
                        <a:pt x="10" y="0"/>
                      </a:ln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83" name="Freeform 23"/>
                <p:cNvSpPr>
                  <a:spLocks/>
                </p:cNvSpPr>
                <p:nvPr/>
              </p:nvSpPr>
              <p:spPr bwMode="auto">
                <a:xfrm>
                  <a:off x="6929438" y="6526213"/>
                  <a:ext cx="79375" cy="333375"/>
                </a:xfrm>
                <a:custGeom>
                  <a:avLst/>
                  <a:gdLst>
                    <a:gd name="T0" fmla="*/ 7 w 21"/>
                    <a:gd name="T1" fmla="*/ 44 h 88"/>
                    <a:gd name="T2" fmla="*/ 21 w 21"/>
                    <a:gd name="T3" fmla="*/ 5 h 88"/>
                    <a:gd name="T4" fmla="*/ 16 w 21"/>
                    <a:gd name="T5" fmla="*/ 0 h 88"/>
                    <a:gd name="T6" fmla="*/ 0 w 21"/>
                    <a:gd name="T7" fmla="*/ 44 h 88"/>
                    <a:gd name="T8" fmla="*/ 16 w 21"/>
                    <a:gd name="T9" fmla="*/ 88 h 88"/>
                    <a:gd name="T10" fmla="*/ 21 w 21"/>
                    <a:gd name="T11" fmla="*/ 83 h 88"/>
                    <a:gd name="T12" fmla="*/ 7 w 21"/>
                    <a:gd name="T13" fmla="*/ 44 h 88"/>
                  </a:gdLst>
                  <a:ahLst/>
                  <a:cxnLst>
                    <a:cxn ang="0">
                      <a:pos x="T0" y="T1"/>
                    </a:cxn>
                    <a:cxn ang="0">
                      <a:pos x="T2" y="T3"/>
                    </a:cxn>
                    <a:cxn ang="0">
                      <a:pos x="T4" y="T5"/>
                    </a:cxn>
                    <a:cxn ang="0">
                      <a:pos x="T6" y="T7"/>
                    </a:cxn>
                    <a:cxn ang="0">
                      <a:pos x="T8" y="T9"/>
                    </a:cxn>
                    <a:cxn ang="0">
                      <a:pos x="T10" y="T11"/>
                    </a:cxn>
                    <a:cxn ang="0">
                      <a:pos x="T12" y="T13"/>
                    </a:cxn>
                  </a:cxnLst>
                  <a:rect l="0" t="0" r="r" b="b"/>
                  <a:pathLst>
                    <a:path w="21" h="88">
                      <a:moveTo>
                        <a:pt x="7" y="44"/>
                      </a:moveTo>
                      <a:cubicBezTo>
                        <a:pt x="7" y="30"/>
                        <a:pt x="12" y="16"/>
                        <a:pt x="21" y="5"/>
                      </a:cubicBezTo>
                      <a:cubicBezTo>
                        <a:pt x="16" y="0"/>
                        <a:pt x="16" y="0"/>
                        <a:pt x="16" y="0"/>
                      </a:cubicBezTo>
                      <a:cubicBezTo>
                        <a:pt x="6" y="12"/>
                        <a:pt x="0" y="28"/>
                        <a:pt x="0" y="44"/>
                      </a:cubicBezTo>
                      <a:cubicBezTo>
                        <a:pt x="0" y="60"/>
                        <a:pt x="6" y="76"/>
                        <a:pt x="16" y="88"/>
                      </a:cubicBezTo>
                      <a:cubicBezTo>
                        <a:pt x="21" y="83"/>
                        <a:pt x="21" y="83"/>
                        <a:pt x="21" y="83"/>
                      </a:cubicBezTo>
                      <a:cubicBezTo>
                        <a:pt x="12" y="72"/>
                        <a:pt x="7" y="58"/>
                        <a:pt x="7" y="44"/>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84" name="Freeform 24"/>
                <p:cNvSpPr>
                  <a:spLocks/>
                </p:cNvSpPr>
                <p:nvPr/>
              </p:nvSpPr>
              <p:spPr bwMode="auto">
                <a:xfrm>
                  <a:off x="8032751" y="6648450"/>
                  <a:ext cx="38100" cy="101600"/>
                </a:xfrm>
                <a:custGeom>
                  <a:avLst/>
                  <a:gdLst>
                    <a:gd name="T0" fmla="*/ 6 w 10"/>
                    <a:gd name="T1" fmla="*/ 0 h 27"/>
                    <a:gd name="T2" fmla="*/ 0 w 10"/>
                    <a:gd name="T3" fmla="*/ 4 h 27"/>
                    <a:gd name="T4" fmla="*/ 3 w 10"/>
                    <a:gd name="T5" fmla="*/ 13 h 27"/>
                    <a:gd name="T6" fmla="*/ 0 w 10"/>
                    <a:gd name="T7" fmla="*/ 23 h 27"/>
                    <a:gd name="T8" fmla="*/ 6 w 10"/>
                    <a:gd name="T9" fmla="*/ 27 h 27"/>
                    <a:gd name="T10" fmla="*/ 10 w 10"/>
                    <a:gd name="T11" fmla="*/ 13 h 27"/>
                    <a:gd name="T12" fmla="*/ 6 w 10"/>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0" h="27">
                      <a:moveTo>
                        <a:pt x="6" y="0"/>
                      </a:moveTo>
                      <a:cubicBezTo>
                        <a:pt x="0" y="4"/>
                        <a:pt x="0" y="4"/>
                        <a:pt x="0" y="4"/>
                      </a:cubicBezTo>
                      <a:cubicBezTo>
                        <a:pt x="2" y="6"/>
                        <a:pt x="3" y="10"/>
                        <a:pt x="3" y="13"/>
                      </a:cubicBezTo>
                      <a:cubicBezTo>
                        <a:pt x="3" y="17"/>
                        <a:pt x="2" y="20"/>
                        <a:pt x="0" y="23"/>
                      </a:cubicBezTo>
                      <a:cubicBezTo>
                        <a:pt x="6" y="27"/>
                        <a:pt x="6" y="27"/>
                        <a:pt x="6" y="27"/>
                      </a:cubicBezTo>
                      <a:cubicBezTo>
                        <a:pt x="9" y="23"/>
                        <a:pt x="10" y="18"/>
                        <a:pt x="10" y="13"/>
                      </a:cubicBezTo>
                      <a:cubicBezTo>
                        <a:pt x="10" y="8"/>
                        <a:pt x="9" y="4"/>
                        <a:pt x="6" y="0"/>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85" name="Freeform 25"/>
                <p:cNvSpPr>
                  <a:spLocks/>
                </p:cNvSpPr>
                <p:nvPr/>
              </p:nvSpPr>
              <p:spPr bwMode="auto">
                <a:xfrm>
                  <a:off x="8093076" y="6591300"/>
                  <a:ext cx="61913" cy="215900"/>
                </a:xfrm>
                <a:custGeom>
                  <a:avLst/>
                  <a:gdLst>
                    <a:gd name="T0" fmla="*/ 6 w 16"/>
                    <a:gd name="T1" fmla="*/ 57 h 57"/>
                    <a:gd name="T2" fmla="*/ 16 w 16"/>
                    <a:gd name="T3" fmla="*/ 28 h 57"/>
                    <a:gd name="T4" fmla="*/ 6 w 16"/>
                    <a:gd name="T5" fmla="*/ 0 h 57"/>
                    <a:gd name="T6" fmla="*/ 0 w 16"/>
                    <a:gd name="T7" fmla="*/ 4 h 57"/>
                    <a:gd name="T8" fmla="*/ 9 w 16"/>
                    <a:gd name="T9" fmla="*/ 28 h 57"/>
                    <a:gd name="T10" fmla="*/ 0 w 16"/>
                    <a:gd name="T11" fmla="*/ 53 h 57"/>
                    <a:gd name="T12" fmla="*/ 6 w 16"/>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16" h="57">
                      <a:moveTo>
                        <a:pt x="6" y="57"/>
                      </a:moveTo>
                      <a:cubicBezTo>
                        <a:pt x="12" y="49"/>
                        <a:pt x="16" y="39"/>
                        <a:pt x="16" y="28"/>
                      </a:cubicBezTo>
                      <a:cubicBezTo>
                        <a:pt x="16" y="18"/>
                        <a:pt x="12" y="8"/>
                        <a:pt x="6" y="0"/>
                      </a:cubicBezTo>
                      <a:cubicBezTo>
                        <a:pt x="0" y="4"/>
                        <a:pt x="0" y="4"/>
                        <a:pt x="0" y="4"/>
                      </a:cubicBezTo>
                      <a:cubicBezTo>
                        <a:pt x="6" y="11"/>
                        <a:pt x="9" y="19"/>
                        <a:pt x="9" y="28"/>
                      </a:cubicBezTo>
                      <a:cubicBezTo>
                        <a:pt x="9" y="37"/>
                        <a:pt x="6" y="46"/>
                        <a:pt x="0" y="53"/>
                      </a:cubicBezTo>
                      <a:lnTo>
                        <a:pt x="6" y="57"/>
                      </a:ln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sp>
              <p:nvSpPr>
                <p:cNvPr id="86" name="Freeform 26"/>
                <p:cNvSpPr>
                  <a:spLocks/>
                </p:cNvSpPr>
                <p:nvPr/>
              </p:nvSpPr>
              <p:spPr bwMode="auto">
                <a:xfrm>
                  <a:off x="8154988" y="6534150"/>
                  <a:ext cx="79375" cy="328612"/>
                </a:xfrm>
                <a:custGeom>
                  <a:avLst/>
                  <a:gdLst>
                    <a:gd name="T0" fmla="*/ 14 w 21"/>
                    <a:gd name="T1" fmla="*/ 43 h 87"/>
                    <a:gd name="T2" fmla="*/ 0 w 21"/>
                    <a:gd name="T3" fmla="*/ 83 h 87"/>
                    <a:gd name="T4" fmla="*/ 5 w 21"/>
                    <a:gd name="T5" fmla="*/ 87 h 87"/>
                    <a:gd name="T6" fmla="*/ 21 w 21"/>
                    <a:gd name="T7" fmla="*/ 43 h 87"/>
                    <a:gd name="T8" fmla="*/ 5 w 21"/>
                    <a:gd name="T9" fmla="*/ 0 h 87"/>
                    <a:gd name="T10" fmla="*/ 0 w 21"/>
                    <a:gd name="T11" fmla="*/ 4 h 87"/>
                    <a:gd name="T12" fmla="*/ 14 w 21"/>
                    <a:gd name="T13" fmla="*/ 43 h 87"/>
                  </a:gdLst>
                  <a:ahLst/>
                  <a:cxnLst>
                    <a:cxn ang="0">
                      <a:pos x="T0" y="T1"/>
                    </a:cxn>
                    <a:cxn ang="0">
                      <a:pos x="T2" y="T3"/>
                    </a:cxn>
                    <a:cxn ang="0">
                      <a:pos x="T4" y="T5"/>
                    </a:cxn>
                    <a:cxn ang="0">
                      <a:pos x="T6" y="T7"/>
                    </a:cxn>
                    <a:cxn ang="0">
                      <a:pos x="T8" y="T9"/>
                    </a:cxn>
                    <a:cxn ang="0">
                      <a:pos x="T10" y="T11"/>
                    </a:cxn>
                    <a:cxn ang="0">
                      <a:pos x="T12" y="T13"/>
                    </a:cxn>
                  </a:cxnLst>
                  <a:rect l="0" t="0" r="r" b="b"/>
                  <a:pathLst>
                    <a:path w="21" h="87">
                      <a:moveTo>
                        <a:pt x="14" y="43"/>
                      </a:moveTo>
                      <a:cubicBezTo>
                        <a:pt x="14" y="58"/>
                        <a:pt x="9" y="72"/>
                        <a:pt x="0" y="83"/>
                      </a:cubicBezTo>
                      <a:cubicBezTo>
                        <a:pt x="5" y="87"/>
                        <a:pt x="5" y="87"/>
                        <a:pt x="5" y="87"/>
                      </a:cubicBezTo>
                      <a:cubicBezTo>
                        <a:pt x="15" y="75"/>
                        <a:pt x="21" y="59"/>
                        <a:pt x="21" y="43"/>
                      </a:cubicBezTo>
                      <a:cubicBezTo>
                        <a:pt x="21" y="27"/>
                        <a:pt x="15" y="12"/>
                        <a:pt x="5" y="0"/>
                      </a:cubicBezTo>
                      <a:cubicBezTo>
                        <a:pt x="0" y="4"/>
                        <a:pt x="0" y="4"/>
                        <a:pt x="0" y="4"/>
                      </a:cubicBezTo>
                      <a:cubicBezTo>
                        <a:pt x="9" y="15"/>
                        <a:pt x="14" y="29"/>
                        <a:pt x="14" y="43"/>
                      </a:cubicBezTo>
                      <a:close/>
                    </a:path>
                  </a:pathLst>
                </a:custGeom>
                <a:solidFill>
                  <a:schemeClr val="accent1"/>
                </a:solidFill>
                <a:ln>
                  <a:noFill/>
                </a:ln>
                <a:extLst/>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grpSp>
        </p:grpSp>
        <p:sp>
          <p:nvSpPr>
            <p:cNvPr id="87" name="Freeform 66"/>
            <p:cNvSpPr>
              <a:spLocks noChangeAspect="1" noEditPoints="1"/>
            </p:cNvSpPr>
            <p:nvPr/>
          </p:nvSpPr>
          <p:spPr bwMode="auto">
            <a:xfrm>
              <a:off x="5059080" y="3456279"/>
              <a:ext cx="265174" cy="281747"/>
            </a:xfrm>
            <a:custGeom>
              <a:avLst/>
              <a:gdLst>
                <a:gd name="T0" fmla="*/ 2147483647 w 4478"/>
                <a:gd name="T1" fmla="*/ 2147483647 h 4763"/>
                <a:gd name="T2" fmla="*/ 2147483647 w 4478"/>
                <a:gd name="T3" fmla="*/ 2147483647 h 4763"/>
                <a:gd name="T4" fmla="*/ 2147483647 w 4478"/>
                <a:gd name="T5" fmla="*/ 2147483647 h 4763"/>
                <a:gd name="T6" fmla="*/ 2147483647 w 4478"/>
                <a:gd name="T7" fmla="*/ 2147483647 h 4763"/>
                <a:gd name="T8" fmla="*/ 2147483647 w 4478"/>
                <a:gd name="T9" fmla="*/ 2147483647 h 4763"/>
                <a:gd name="T10" fmla="*/ 2147483647 w 4478"/>
                <a:gd name="T11" fmla="*/ 2147483647 h 4763"/>
                <a:gd name="T12" fmla="*/ 2147483647 w 4478"/>
                <a:gd name="T13" fmla="*/ 2147483647 h 4763"/>
                <a:gd name="T14" fmla="*/ 2147483647 w 4478"/>
                <a:gd name="T15" fmla="*/ 2147483647 h 4763"/>
                <a:gd name="T16" fmla="*/ 2147483647 w 4478"/>
                <a:gd name="T17" fmla="*/ 2147483647 h 4763"/>
                <a:gd name="T18" fmla="*/ 2147483647 w 4478"/>
                <a:gd name="T19" fmla="*/ 2147483647 h 4763"/>
                <a:gd name="T20" fmla="*/ 2147483647 w 4478"/>
                <a:gd name="T21" fmla="*/ 2147483647 h 4763"/>
                <a:gd name="T22" fmla="*/ 2147483647 w 4478"/>
                <a:gd name="T23" fmla="*/ 2147483647 h 4763"/>
                <a:gd name="T24" fmla="*/ 2147483647 w 4478"/>
                <a:gd name="T25" fmla="*/ 2147483647 h 4763"/>
                <a:gd name="T26" fmla="*/ 2147483647 w 4478"/>
                <a:gd name="T27" fmla="*/ 2147483647 h 4763"/>
                <a:gd name="T28" fmla="*/ 2147483647 w 4478"/>
                <a:gd name="T29" fmla="*/ 2147483647 h 4763"/>
                <a:gd name="T30" fmla="*/ 2147483647 w 4478"/>
                <a:gd name="T31" fmla="*/ 2147483647 h 4763"/>
                <a:gd name="T32" fmla="*/ 2147483647 w 4478"/>
                <a:gd name="T33" fmla="*/ 2147483647 h 4763"/>
                <a:gd name="T34" fmla="*/ 2147483647 w 4478"/>
                <a:gd name="T35" fmla="*/ 2147483647 h 4763"/>
                <a:gd name="T36" fmla="*/ 2147483647 w 4478"/>
                <a:gd name="T37" fmla="*/ 2147483647 h 4763"/>
                <a:gd name="T38" fmla="*/ 2147483647 w 4478"/>
                <a:gd name="T39" fmla="*/ 2147483647 h 4763"/>
                <a:gd name="T40" fmla="*/ 2147483647 w 4478"/>
                <a:gd name="T41" fmla="*/ 2147483647 h 4763"/>
                <a:gd name="T42" fmla="*/ 2147483647 w 4478"/>
                <a:gd name="T43" fmla="*/ 2147483647 h 4763"/>
                <a:gd name="T44" fmla="*/ 2147483647 w 4478"/>
                <a:gd name="T45" fmla="*/ 2147483647 h 4763"/>
                <a:gd name="T46" fmla="*/ 2147483647 w 4478"/>
                <a:gd name="T47" fmla="*/ 2147483647 h 4763"/>
                <a:gd name="T48" fmla="*/ 2147483647 w 4478"/>
                <a:gd name="T49" fmla="*/ 2147483647 h 4763"/>
                <a:gd name="T50" fmla="*/ 2147483647 w 4478"/>
                <a:gd name="T51" fmla="*/ 2147483647 h 4763"/>
                <a:gd name="T52" fmla="*/ 2147483647 w 4478"/>
                <a:gd name="T53" fmla="*/ 2147483647 h 4763"/>
                <a:gd name="T54" fmla="*/ 2147483647 w 4478"/>
                <a:gd name="T55" fmla="*/ 2147483647 h 4763"/>
                <a:gd name="T56" fmla="*/ 2147483647 w 4478"/>
                <a:gd name="T57" fmla="*/ 2147483647 h 4763"/>
                <a:gd name="T58" fmla="*/ 2147483647 w 4478"/>
                <a:gd name="T59" fmla="*/ 2147483647 h 4763"/>
                <a:gd name="T60" fmla="*/ 2147483647 w 4478"/>
                <a:gd name="T61" fmla="*/ 2147483647 h 4763"/>
                <a:gd name="T62" fmla="*/ 2147483647 w 4478"/>
                <a:gd name="T63" fmla="*/ 2147483647 h 4763"/>
                <a:gd name="T64" fmla="*/ 2147483647 w 4478"/>
                <a:gd name="T65" fmla="*/ 2147483647 h 4763"/>
                <a:gd name="T66" fmla="*/ 2147483647 w 4478"/>
                <a:gd name="T67" fmla="*/ 2147483647 h 4763"/>
                <a:gd name="T68" fmla="*/ 2147483647 w 4478"/>
                <a:gd name="T69" fmla="*/ 2147483647 h 4763"/>
                <a:gd name="T70" fmla="*/ 2147483647 w 4478"/>
                <a:gd name="T71" fmla="*/ 2147483647 h 4763"/>
                <a:gd name="T72" fmla="*/ 2147483647 w 4478"/>
                <a:gd name="T73" fmla="*/ 2147483647 h 4763"/>
                <a:gd name="T74" fmla="*/ 2147483647 w 4478"/>
                <a:gd name="T75" fmla="*/ 2147483647 h 4763"/>
                <a:gd name="T76" fmla="*/ 2147483647 w 4478"/>
                <a:gd name="T77" fmla="*/ 2147483647 h 4763"/>
                <a:gd name="T78" fmla="*/ 2147483647 w 4478"/>
                <a:gd name="T79" fmla="*/ 2147483647 h 4763"/>
                <a:gd name="T80" fmla="*/ 2147483647 w 4478"/>
                <a:gd name="T81" fmla="*/ 2147483647 h 4763"/>
                <a:gd name="T82" fmla="*/ 2147483647 w 4478"/>
                <a:gd name="T83" fmla="*/ 2147483647 h 4763"/>
                <a:gd name="T84" fmla="*/ 2147483647 w 4478"/>
                <a:gd name="T85" fmla="*/ 2147483647 h 4763"/>
                <a:gd name="T86" fmla="*/ 2147483647 w 4478"/>
                <a:gd name="T87" fmla="*/ 2147483647 h 4763"/>
                <a:gd name="T88" fmla="*/ 2147483647 w 4478"/>
                <a:gd name="T89" fmla="*/ 2147483647 h 4763"/>
                <a:gd name="T90" fmla="*/ 2147483647 w 4478"/>
                <a:gd name="T91" fmla="*/ 2147483647 h 4763"/>
                <a:gd name="T92" fmla="*/ 2147483647 w 4478"/>
                <a:gd name="T93" fmla="*/ 2147483647 h 4763"/>
                <a:gd name="T94" fmla="*/ 2147483647 w 4478"/>
                <a:gd name="T95" fmla="*/ 2147483647 h 4763"/>
                <a:gd name="T96" fmla="*/ 2147483647 w 4478"/>
                <a:gd name="T97" fmla="*/ 2147483647 h 4763"/>
                <a:gd name="T98" fmla="*/ 2147483647 w 4478"/>
                <a:gd name="T99" fmla="*/ 2147483647 h 4763"/>
                <a:gd name="T100" fmla="*/ 2147483647 w 4478"/>
                <a:gd name="T101" fmla="*/ 2147483647 h 4763"/>
                <a:gd name="T102" fmla="*/ 2147483647 w 4478"/>
                <a:gd name="T103" fmla="*/ 2147483647 h 4763"/>
                <a:gd name="T104" fmla="*/ 2147483647 w 4478"/>
                <a:gd name="T105" fmla="*/ 2147483647 h 4763"/>
                <a:gd name="T106" fmla="*/ 2147483647 w 4478"/>
                <a:gd name="T107" fmla="*/ 2147483647 h 4763"/>
                <a:gd name="T108" fmla="*/ 2147483647 w 4478"/>
                <a:gd name="T109" fmla="*/ 2147483647 h 4763"/>
                <a:gd name="T110" fmla="*/ 2147483647 w 4478"/>
                <a:gd name="T111" fmla="*/ 2147483647 h 4763"/>
                <a:gd name="T112" fmla="*/ 2147483647 w 4478"/>
                <a:gd name="T113" fmla="*/ 2147483647 h 4763"/>
                <a:gd name="T114" fmla="*/ 2147483647 w 4478"/>
                <a:gd name="T115" fmla="*/ 2147483647 h 4763"/>
                <a:gd name="T116" fmla="*/ 2147483647 w 4478"/>
                <a:gd name="T117" fmla="*/ 2147483647 h 4763"/>
                <a:gd name="T118" fmla="*/ 2147483647 w 4478"/>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78"/>
                <a:gd name="T181" fmla="*/ 0 h 4763"/>
                <a:gd name="T182" fmla="*/ 4478 w 4478"/>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78" h="4763">
                  <a:moveTo>
                    <a:pt x="2273" y="1854"/>
                  </a:moveTo>
                  <a:lnTo>
                    <a:pt x="2273" y="3666"/>
                  </a:lnTo>
                  <a:lnTo>
                    <a:pt x="2284" y="3672"/>
                  </a:lnTo>
                  <a:lnTo>
                    <a:pt x="2293" y="3679"/>
                  </a:lnTo>
                  <a:lnTo>
                    <a:pt x="2301" y="3687"/>
                  </a:lnTo>
                  <a:lnTo>
                    <a:pt x="2308" y="3697"/>
                  </a:lnTo>
                  <a:lnTo>
                    <a:pt x="2314" y="3709"/>
                  </a:lnTo>
                  <a:lnTo>
                    <a:pt x="2318" y="3721"/>
                  </a:lnTo>
                  <a:lnTo>
                    <a:pt x="2321" y="3734"/>
                  </a:lnTo>
                  <a:lnTo>
                    <a:pt x="2321" y="3750"/>
                  </a:lnTo>
                  <a:lnTo>
                    <a:pt x="2321" y="4236"/>
                  </a:lnTo>
                  <a:lnTo>
                    <a:pt x="2321" y="4270"/>
                  </a:lnTo>
                  <a:lnTo>
                    <a:pt x="2319" y="4301"/>
                  </a:lnTo>
                  <a:lnTo>
                    <a:pt x="2315" y="4332"/>
                  </a:lnTo>
                  <a:lnTo>
                    <a:pt x="2311" y="4362"/>
                  </a:lnTo>
                  <a:lnTo>
                    <a:pt x="2305" y="4391"/>
                  </a:lnTo>
                  <a:lnTo>
                    <a:pt x="2297" y="4419"/>
                  </a:lnTo>
                  <a:lnTo>
                    <a:pt x="2289" y="4445"/>
                  </a:lnTo>
                  <a:lnTo>
                    <a:pt x="2278" y="4471"/>
                  </a:lnTo>
                  <a:lnTo>
                    <a:pt x="2267" y="4495"/>
                  </a:lnTo>
                  <a:lnTo>
                    <a:pt x="2255" y="4519"/>
                  </a:lnTo>
                  <a:lnTo>
                    <a:pt x="2243" y="4540"/>
                  </a:lnTo>
                  <a:lnTo>
                    <a:pt x="2229" y="4562"/>
                  </a:lnTo>
                  <a:lnTo>
                    <a:pt x="2214" y="4581"/>
                  </a:lnTo>
                  <a:lnTo>
                    <a:pt x="2199" y="4601"/>
                  </a:lnTo>
                  <a:lnTo>
                    <a:pt x="2182" y="4619"/>
                  </a:lnTo>
                  <a:lnTo>
                    <a:pt x="2164" y="4635"/>
                  </a:lnTo>
                  <a:lnTo>
                    <a:pt x="2146" y="4651"/>
                  </a:lnTo>
                  <a:lnTo>
                    <a:pt x="2128" y="4666"/>
                  </a:lnTo>
                  <a:lnTo>
                    <a:pt x="2108" y="4680"/>
                  </a:lnTo>
                  <a:lnTo>
                    <a:pt x="2088" y="4692"/>
                  </a:lnTo>
                  <a:lnTo>
                    <a:pt x="2068" y="4704"/>
                  </a:lnTo>
                  <a:lnTo>
                    <a:pt x="2046" y="4715"/>
                  </a:lnTo>
                  <a:lnTo>
                    <a:pt x="2024" y="4724"/>
                  </a:lnTo>
                  <a:lnTo>
                    <a:pt x="2003" y="4733"/>
                  </a:lnTo>
                  <a:lnTo>
                    <a:pt x="1980" y="4740"/>
                  </a:lnTo>
                  <a:lnTo>
                    <a:pt x="1958" y="4746"/>
                  </a:lnTo>
                  <a:lnTo>
                    <a:pt x="1935" y="4751"/>
                  </a:lnTo>
                  <a:lnTo>
                    <a:pt x="1911" y="4756"/>
                  </a:lnTo>
                  <a:lnTo>
                    <a:pt x="1888" y="4759"/>
                  </a:lnTo>
                  <a:lnTo>
                    <a:pt x="1864" y="4762"/>
                  </a:lnTo>
                  <a:lnTo>
                    <a:pt x="1841" y="4763"/>
                  </a:lnTo>
                  <a:lnTo>
                    <a:pt x="1817" y="4763"/>
                  </a:lnTo>
                  <a:lnTo>
                    <a:pt x="1793" y="4762"/>
                  </a:lnTo>
                  <a:lnTo>
                    <a:pt x="1770" y="4759"/>
                  </a:lnTo>
                  <a:lnTo>
                    <a:pt x="1746" y="4757"/>
                  </a:lnTo>
                  <a:lnTo>
                    <a:pt x="1723" y="4753"/>
                  </a:lnTo>
                  <a:lnTo>
                    <a:pt x="1700" y="4747"/>
                  </a:lnTo>
                  <a:lnTo>
                    <a:pt x="1676" y="4741"/>
                  </a:lnTo>
                  <a:lnTo>
                    <a:pt x="1655" y="4735"/>
                  </a:lnTo>
                  <a:lnTo>
                    <a:pt x="1632" y="4727"/>
                  </a:lnTo>
                  <a:lnTo>
                    <a:pt x="1610" y="4717"/>
                  </a:lnTo>
                  <a:lnTo>
                    <a:pt x="1589" y="4708"/>
                  </a:lnTo>
                  <a:lnTo>
                    <a:pt x="1567" y="4697"/>
                  </a:lnTo>
                  <a:lnTo>
                    <a:pt x="1546" y="4685"/>
                  </a:lnTo>
                  <a:lnTo>
                    <a:pt x="1527" y="4672"/>
                  </a:lnTo>
                  <a:lnTo>
                    <a:pt x="1507" y="4657"/>
                  </a:lnTo>
                  <a:lnTo>
                    <a:pt x="1489" y="4643"/>
                  </a:lnTo>
                  <a:lnTo>
                    <a:pt x="1471" y="4627"/>
                  </a:lnTo>
                  <a:lnTo>
                    <a:pt x="1453" y="4609"/>
                  </a:lnTo>
                  <a:lnTo>
                    <a:pt x="1436" y="4591"/>
                  </a:lnTo>
                  <a:lnTo>
                    <a:pt x="1420" y="4573"/>
                  </a:lnTo>
                  <a:lnTo>
                    <a:pt x="1406" y="4552"/>
                  </a:lnTo>
                  <a:lnTo>
                    <a:pt x="1391" y="4532"/>
                  </a:lnTo>
                  <a:lnTo>
                    <a:pt x="1379" y="4509"/>
                  </a:lnTo>
                  <a:lnTo>
                    <a:pt x="1367" y="4486"/>
                  </a:lnTo>
                  <a:lnTo>
                    <a:pt x="1356" y="4462"/>
                  </a:lnTo>
                  <a:lnTo>
                    <a:pt x="1347" y="4438"/>
                  </a:lnTo>
                  <a:lnTo>
                    <a:pt x="1337" y="4412"/>
                  </a:lnTo>
                  <a:lnTo>
                    <a:pt x="1330" y="4385"/>
                  </a:lnTo>
                  <a:lnTo>
                    <a:pt x="1324" y="4357"/>
                  </a:lnTo>
                  <a:lnTo>
                    <a:pt x="1319" y="4329"/>
                  </a:lnTo>
                  <a:lnTo>
                    <a:pt x="1315" y="4298"/>
                  </a:lnTo>
                  <a:lnTo>
                    <a:pt x="1313" y="4268"/>
                  </a:lnTo>
                  <a:lnTo>
                    <a:pt x="1313" y="4236"/>
                  </a:lnTo>
                  <a:lnTo>
                    <a:pt x="1313" y="4110"/>
                  </a:lnTo>
                  <a:lnTo>
                    <a:pt x="1313" y="4099"/>
                  </a:lnTo>
                  <a:lnTo>
                    <a:pt x="1314" y="4088"/>
                  </a:lnTo>
                  <a:lnTo>
                    <a:pt x="1318" y="4077"/>
                  </a:lnTo>
                  <a:lnTo>
                    <a:pt x="1321" y="4067"/>
                  </a:lnTo>
                  <a:lnTo>
                    <a:pt x="1325" y="4059"/>
                  </a:lnTo>
                  <a:lnTo>
                    <a:pt x="1330" y="4052"/>
                  </a:lnTo>
                  <a:lnTo>
                    <a:pt x="1336" y="4045"/>
                  </a:lnTo>
                  <a:lnTo>
                    <a:pt x="1343" y="4037"/>
                  </a:lnTo>
                  <a:lnTo>
                    <a:pt x="1349" y="4033"/>
                  </a:lnTo>
                  <a:lnTo>
                    <a:pt x="1357" y="4028"/>
                  </a:lnTo>
                  <a:lnTo>
                    <a:pt x="1365" y="4023"/>
                  </a:lnTo>
                  <a:lnTo>
                    <a:pt x="1373" y="4019"/>
                  </a:lnTo>
                  <a:lnTo>
                    <a:pt x="1382" y="4017"/>
                  </a:lnTo>
                  <a:lnTo>
                    <a:pt x="1391" y="4016"/>
                  </a:lnTo>
                  <a:lnTo>
                    <a:pt x="1400" y="4014"/>
                  </a:lnTo>
                  <a:lnTo>
                    <a:pt x="1409" y="4013"/>
                  </a:lnTo>
                  <a:lnTo>
                    <a:pt x="1418" y="4014"/>
                  </a:lnTo>
                  <a:lnTo>
                    <a:pt x="1427" y="4016"/>
                  </a:lnTo>
                  <a:lnTo>
                    <a:pt x="1436" y="4017"/>
                  </a:lnTo>
                  <a:lnTo>
                    <a:pt x="1444" y="4019"/>
                  </a:lnTo>
                  <a:lnTo>
                    <a:pt x="1453" y="4023"/>
                  </a:lnTo>
                  <a:lnTo>
                    <a:pt x="1461" y="4028"/>
                  </a:lnTo>
                  <a:lnTo>
                    <a:pt x="1468" y="4033"/>
                  </a:lnTo>
                  <a:lnTo>
                    <a:pt x="1475" y="4037"/>
                  </a:lnTo>
                  <a:lnTo>
                    <a:pt x="1481" y="4045"/>
                  </a:lnTo>
                  <a:lnTo>
                    <a:pt x="1487" y="4052"/>
                  </a:lnTo>
                  <a:lnTo>
                    <a:pt x="1492" y="4059"/>
                  </a:lnTo>
                  <a:lnTo>
                    <a:pt x="1497" y="4067"/>
                  </a:lnTo>
                  <a:lnTo>
                    <a:pt x="1501" y="4077"/>
                  </a:lnTo>
                  <a:lnTo>
                    <a:pt x="1503" y="4088"/>
                  </a:lnTo>
                  <a:lnTo>
                    <a:pt x="1504" y="4099"/>
                  </a:lnTo>
                  <a:lnTo>
                    <a:pt x="1506" y="4110"/>
                  </a:lnTo>
                  <a:lnTo>
                    <a:pt x="1506" y="4236"/>
                  </a:lnTo>
                  <a:lnTo>
                    <a:pt x="1506" y="4256"/>
                  </a:lnTo>
                  <a:lnTo>
                    <a:pt x="1507" y="4276"/>
                  </a:lnTo>
                  <a:lnTo>
                    <a:pt x="1509" y="4295"/>
                  </a:lnTo>
                  <a:lnTo>
                    <a:pt x="1512" y="4313"/>
                  </a:lnTo>
                  <a:lnTo>
                    <a:pt x="1516" y="4330"/>
                  </a:lnTo>
                  <a:lnTo>
                    <a:pt x="1520" y="4347"/>
                  </a:lnTo>
                  <a:lnTo>
                    <a:pt x="1526" y="4363"/>
                  </a:lnTo>
                  <a:lnTo>
                    <a:pt x="1532" y="4379"/>
                  </a:lnTo>
                  <a:lnTo>
                    <a:pt x="1539" y="4395"/>
                  </a:lnTo>
                  <a:lnTo>
                    <a:pt x="1546" y="4409"/>
                  </a:lnTo>
                  <a:lnTo>
                    <a:pt x="1554" y="4424"/>
                  </a:lnTo>
                  <a:lnTo>
                    <a:pt x="1563" y="4437"/>
                  </a:lnTo>
                  <a:lnTo>
                    <a:pt x="1572" y="4449"/>
                  </a:lnTo>
                  <a:lnTo>
                    <a:pt x="1581" y="4461"/>
                  </a:lnTo>
                  <a:lnTo>
                    <a:pt x="1592" y="4473"/>
                  </a:lnTo>
                  <a:lnTo>
                    <a:pt x="1603" y="4484"/>
                  </a:lnTo>
                  <a:lnTo>
                    <a:pt x="1614" y="4493"/>
                  </a:lnTo>
                  <a:lnTo>
                    <a:pt x="1626" y="4504"/>
                  </a:lnTo>
                  <a:lnTo>
                    <a:pt x="1638" y="4513"/>
                  </a:lnTo>
                  <a:lnTo>
                    <a:pt x="1650" y="4521"/>
                  </a:lnTo>
                  <a:lnTo>
                    <a:pt x="1675" y="4536"/>
                  </a:lnTo>
                  <a:lnTo>
                    <a:pt x="1703" y="4549"/>
                  </a:lnTo>
                  <a:lnTo>
                    <a:pt x="1731" y="4558"/>
                  </a:lnTo>
                  <a:lnTo>
                    <a:pt x="1759" y="4566"/>
                  </a:lnTo>
                  <a:lnTo>
                    <a:pt x="1788" y="4570"/>
                  </a:lnTo>
                  <a:lnTo>
                    <a:pt x="1817" y="4573"/>
                  </a:lnTo>
                  <a:lnTo>
                    <a:pt x="1846" y="4572"/>
                  </a:lnTo>
                  <a:lnTo>
                    <a:pt x="1875" y="4568"/>
                  </a:lnTo>
                  <a:lnTo>
                    <a:pt x="1904" y="4563"/>
                  </a:lnTo>
                  <a:lnTo>
                    <a:pt x="1932" y="4554"/>
                  </a:lnTo>
                  <a:lnTo>
                    <a:pt x="1946" y="4549"/>
                  </a:lnTo>
                  <a:lnTo>
                    <a:pt x="1959" y="4543"/>
                  </a:lnTo>
                  <a:lnTo>
                    <a:pt x="1972" y="4537"/>
                  </a:lnTo>
                  <a:lnTo>
                    <a:pt x="1984" y="4530"/>
                  </a:lnTo>
                  <a:lnTo>
                    <a:pt x="1997" y="4521"/>
                  </a:lnTo>
                  <a:lnTo>
                    <a:pt x="2009" y="4513"/>
                  </a:lnTo>
                  <a:lnTo>
                    <a:pt x="2021" y="4503"/>
                  </a:lnTo>
                  <a:lnTo>
                    <a:pt x="2031" y="4493"/>
                  </a:lnTo>
                  <a:lnTo>
                    <a:pt x="2042" y="4483"/>
                  </a:lnTo>
                  <a:lnTo>
                    <a:pt x="2053" y="4471"/>
                  </a:lnTo>
                  <a:lnTo>
                    <a:pt x="2063" y="4459"/>
                  </a:lnTo>
                  <a:lnTo>
                    <a:pt x="2072" y="4445"/>
                  </a:lnTo>
                  <a:lnTo>
                    <a:pt x="2081" y="4432"/>
                  </a:lnTo>
                  <a:lnTo>
                    <a:pt x="2088" y="4418"/>
                  </a:lnTo>
                  <a:lnTo>
                    <a:pt x="2096" y="4403"/>
                  </a:lnTo>
                  <a:lnTo>
                    <a:pt x="2102" y="4388"/>
                  </a:lnTo>
                  <a:lnTo>
                    <a:pt x="2108" y="4371"/>
                  </a:lnTo>
                  <a:lnTo>
                    <a:pt x="2114" y="4354"/>
                  </a:lnTo>
                  <a:lnTo>
                    <a:pt x="2118" y="4336"/>
                  </a:lnTo>
                  <a:lnTo>
                    <a:pt x="2123" y="4318"/>
                  </a:lnTo>
                  <a:lnTo>
                    <a:pt x="2125" y="4298"/>
                  </a:lnTo>
                  <a:lnTo>
                    <a:pt x="2128" y="4278"/>
                  </a:lnTo>
                  <a:lnTo>
                    <a:pt x="2129" y="4258"/>
                  </a:lnTo>
                  <a:lnTo>
                    <a:pt x="2129" y="4236"/>
                  </a:lnTo>
                  <a:lnTo>
                    <a:pt x="2129" y="3750"/>
                  </a:lnTo>
                  <a:lnTo>
                    <a:pt x="2130" y="3734"/>
                  </a:lnTo>
                  <a:lnTo>
                    <a:pt x="2132" y="3721"/>
                  </a:lnTo>
                  <a:lnTo>
                    <a:pt x="2137" y="3709"/>
                  </a:lnTo>
                  <a:lnTo>
                    <a:pt x="2143" y="3697"/>
                  </a:lnTo>
                  <a:lnTo>
                    <a:pt x="2151" y="3687"/>
                  </a:lnTo>
                  <a:lnTo>
                    <a:pt x="2158" y="3679"/>
                  </a:lnTo>
                  <a:lnTo>
                    <a:pt x="2167" y="3672"/>
                  </a:lnTo>
                  <a:lnTo>
                    <a:pt x="2177" y="3666"/>
                  </a:lnTo>
                  <a:lnTo>
                    <a:pt x="2177" y="1856"/>
                  </a:lnTo>
                  <a:lnTo>
                    <a:pt x="2146" y="1858"/>
                  </a:lnTo>
                  <a:lnTo>
                    <a:pt x="2114" y="1862"/>
                  </a:lnTo>
                  <a:lnTo>
                    <a:pt x="2084" y="1865"/>
                  </a:lnTo>
                  <a:lnTo>
                    <a:pt x="2054" y="1871"/>
                  </a:lnTo>
                  <a:lnTo>
                    <a:pt x="2024" y="1877"/>
                  </a:lnTo>
                  <a:lnTo>
                    <a:pt x="1995" y="1885"/>
                  </a:lnTo>
                  <a:lnTo>
                    <a:pt x="1966" y="1893"/>
                  </a:lnTo>
                  <a:lnTo>
                    <a:pt x="1939" y="1903"/>
                  </a:lnTo>
                  <a:lnTo>
                    <a:pt x="1910" y="1912"/>
                  </a:lnTo>
                  <a:lnTo>
                    <a:pt x="1882" y="1923"/>
                  </a:lnTo>
                  <a:lnTo>
                    <a:pt x="1856" y="1935"/>
                  </a:lnTo>
                  <a:lnTo>
                    <a:pt x="1828" y="1948"/>
                  </a:lnTo>
                  <a:lnTo>
                    <a:pt x="1802" y="1962"/>
                  </a:lnTo>
                  <a:lnTo>
                    <a:pt x="1776" y="1976"/>
                  </a:lnTo>
                  <a:lnTo>
                    <a:pt x="1750" y="1992"/>
                  </a:lnTo>
                  <a:lnTo>
                    <a:pt x="1725" y="2008"/>
                  </a:lnTo>
                  <a:lnTo>
                    <a:pt x="1726" y="1885"/>
                  </a:lnTo>
                  <a:lnTo>
                    <a:pt x="1728" y="1830"/>
                  </a:lnTo>
                  <a:lnTo>
                    <a:pt x="1731" y="1781"/>
                  </a:lnTo>
                  <a:lnTo>
                    <a:pt x="1759" y="1767"/>
                  </a:lnTo>
                  <a:lnTo>
                    <a:pt x="1788" y="1753"/>
                  </a:lnTo>
                  <a:lnTo>
                    <a:pt x="1818" y="1741"/>
                  </a:lnTo>
                  <a:lnTo>
                    <a:pt x="1848" y="1729"/>
                  </a:lnTo>
                  <a:lnTo>
                    <a:pt x="1879" y="1718"/>
                  </a:lnTo>
                  <a:lnTo>
                    <a:pt x="1910" y="1709"/>
                  </a:lnTo>
                  <a:lnTo>
                    <a:pt x="1941" y="1700"/>
                  </a:lnTo>
                  <a:lnTo>
                    <a:pt x="1972" y="1692"/>
                  </a:lnTo>
                  <a:lnTo>
                    <a:pt x="2005" y="1685"/>
                  </a:lnTo>
                  <a:lnTo>
                    <a:pt x="2036" y="1679"/>
                  </a:lnTo>
                  <a:lnTo>
                    <a:pt x="2069" y="1674"/>
                  </a:lnTo>
                  <a:lnTo>
                    <a:pt x="2102" y="1669"/>
                  </a:lnTo>
                  <a:lnTo>
                    <a:pt x="2135" y="1665"/>
                  </a:lnTo>
                  <a:lnTo>
                    <a:pt x="2169" y="1663"/>
                  </a:lnTo>
                  <a:lnTo>
                    <a:pt x="2202" y="1662"/>
                  </a:lnTo>
                  <a:lnTo>
                    <a:pt x="2236" y="1661"/>
                  </a:lnTo>
                  <a:lnTo>
                    <a:pt x="2287" y="1662"/>
                  </a:lnTo>
                  <a:lnTo>
                    <a:pt x="2336" y="1665"/>
                  </a:lnTo>
                  <a:lnTo>
                    <a:pt x="2385" y="1670"/>
                  </a:lnTo>
                  <a:lnTo>
                    <a:pt x="2433" y="1679"/>
                  </a:lnTo>
                  <a:lnTo>
                    <a:pt x="2480" y="1687"/>
                  </a:lnTo>
                  <a:lnTo>
                    <a:pt x="2527" y="1699"/>
                  </a:lnTo>
                  <a:lnTo>
                    <a:pt x="2573" y="1712"/>
                  </a:lnTo>
                  <a:lnTo>
                    <a:pt x="2619" y="1727"/>
                  </a:lnTo>
                  <a:lnTo>
                    <a:pt x="2662" y="1744"/>
                  </a:lnTo>
                  <a:lnTo>
                    <a:pt x="2705" y="1763"/>
                  </a:lnTo>
                  <a:lnTo>
                    <a:pt x="2749" y="1783"/>
                  </a:lnTo>
                  <a:lnTo>
                    <a:pt x="2790" y="1805"/>
                  </a:lnTo>
                  <a:lnTo>
                    <a:pt x="2830" y="1829"/>
                  </a:lnTo>
                  <a:lnTo>
                    <a:pt x="2869" y="1854"/>
                  </a:lnTo>
                  <a:lnTo>
                    <a:pt x="2908" y="1882"/>
                  </a:lnTo>
                  <a:lnTo>
                    <a:pt x="2944" y="1910"/>
                  </a:lnTo>
                  <a:lnTo>
                    <a:pt x="2944" y="1865"/>
                  </a:lnTo>
                  <a:lnTo>
                    <a:pt x="2941" y="1820"/>
                  </a:lnTo>
                  <a:lnTo>
                    <a:pt x="2938" y="1774"/>
                  </a:lnTo>
                  <a:lnTo>
                    <a:pt x="2933" y="1727"/>
                  </a:lnTo>
                  <a:lnTo>
                    <a:pt x="2927" y="1680"/>
                  </a:lnTo>
                  <a:lnTo>
                    <a:pt x="2918" y="1633"/>
                  </a:lnTo>
                  <a:lnTo>
                    <a:pt x="2909" y="1585"/>
                  </a:lnTo>
                  <a:lnTo>
                    <a:pt x="2898" y="1538"/>
                  </a:lnTo>
                  <a:lnTo>
                    <a:pt x="2886" y="1490"/>
                  </a:lnTo>
                  <a:lnTo>
                    <a:pt x="2873" y="1442"/>
                  </a:lnTo>
                  <a:lnTo>
                    <a:pt x="2858" y="1395"/>
                  </a:lnTo>
                  <a:lnTo>
                    <a:pt x="2841" y="1347"/>
                  </a:lnTo>
                  <a:lnTo>
                    <a:pt x="2824" y="1300"/>
                  </a:lnTo>
                  <a:lnTo>
                    <a:pt x="2805" y="1252"/>
                  </a:lnTo>
                  <a:lnTo>
                    <a:pt x="2785" y="1205"/>
                  </a:lnTo>
                  <a:lnTo>
                    <a:pt x="2764" y="1159"/>
                  </a:lnTo>
                  <a:lnTo>
                    <a:pt x="2741" y="1112"/>
                  </a:lnTo>
                  <a:lnTo>
                    <a:pt x="2717" y="1066"/>
                  </a:lnTo>
                  <a:lnTo>
                    <a:pt x="2692" y="1022"/>
                  </a:lnTo>
                  <a:lnTo>
                    <a:pt x="2667" y="977"/>
                  </a:lnTo>
                  <a:lnTo>
                    <a:pt x="2639" y="933"/>
                  </a:lnTo>
                  <a:lnTo>
                    <a:pt x="2611" y="891"/>
                  </a:lnTo>
                  <a:lnTo>
                    <a:pt x="2581" y="848"/>
                  </a:lnTo>
                  <a:lnTo>
                    <a:pt x="2551" y="806"/>
                  </a:lnTo>
                  <a:lnTo>
                    <a:pt x="2519" y="767"/>
                  </a:lnTo>
                  <a:lnTo>
                    <a:pt x="2486" y="727"/>
                  </a:lnTo>
                  <a:lnTo>
                    <a:pt x="2453" y="688"/>
                  </a:lnTo>
                  <a:lnTo>
                    <a:pt x="2418" y="651"/>
                  </a:lnTo>
                  <a:lnTo>
                    <a:pt x="2382" y="616"/>
                  </a:lnTo>
                  <a:lnTo>
                    <a:pt x="2344" y="581"/>
                  </a:lnTo>
                  <a:lnTo>
                    <a:pt x="2307" y="548"/>
                  </a:lnTo>
                  <a:lnTo>
                    <a:pt x="2268" y="516"/>
                  </a:lnTo>
                  <a:lnTo>
                    <a:pt x="2208" y="516"/>
                  </a:lnTo>
                  <a:lnTo>
                    <a:pt x="2178" y="542"/>
                  </a:lnTo>
                  <a:lnTo>
                    <a:pt x="2147" y="568"/>
                  </a:lnTo>
                  <a:lnTo>
                    <a:pt x="2117" y="596"/>
                  </a:lnTo>
                  <a:lnTo>
                    <a:pt x="2086" y="626"/>
                  </a:lnTo>
                  <a:lnTo>
                    <a:pt x="2054" y="657"/>
                  </a:lnTo>
                  <a:lnTo>
                    <a:pt x="2023" y="691"/>
                  </a:lnTo>
                  <a:lnTo>
                    <a:pt x="1992" y="726"/>
                  </a:lnTo>
                  <a:lnTo>
                    <a:pt x="1962" y="763"/>
                  </a:lnTo>
                  <a:lnTo>
                    <a:pt x="1930" y="801"/>
                  </a:lnTo>
                  <a:lnTo>
                    <a:pt x="1900" y="841"/>
                  </a:lnTo>
                  <a:lnTo>
                    <a:pt x="1871" y="882"/>
                  </a:lnTo>
                  <a:lnTo>
                    <a:pt x="1842" y="925"/>
                  </a:lnTo>
                  <a:lnTo>
                    <a:pt x="1814" y="971"/>
                  </a:lnTo>
                  <a:lnTo>
                    <a:pt x="1786" y="1017"/>
                  </a:lnTo>
                  <a:lnTo>
                    <a:pt x="1759" y="1065"/>
                  </a:lnTo>
                  <a:lnTo>
                    <a:pt x="1733" y="1116"/>
                  </a:lnTo>
                  <a:lnTo>
                    <a:pt x="1709" y="1166"/>
                  </a:lnTo>
                  <a:lnTo>
                    <a:pt x="1685" y="1219"/>
                  </a:lnTo>
                  <a:lnTo>
                    <a:pt x="1663" y="1273"/>
                  </a:lnTo>
                  <a:lnTo>
                    <a:pt x="1641" y="1330"/>
                  </a:lnTo>
                  <a:lnTo>
                    <a:pt x="1622" y="1386"/>
                  </a:lnTo>
                  <a:lnTo>
                    <a:pt x="1604" y="1445"/>
                  </a:lnTo>
                  <a:lnTo>
                    <a:pt x="1589" y="1505"/>
                  </a:lnTo>
                  <a:lnTo>
                    <a:pt x="1574" y="1568"/>
                  </a:lnTo>
                  <a:lnTo>
                    <a:pt x="1561" y="1631"/>
                  </a:lnTo>
                  <a:lnTo>
                    <a:pt x="1550" y="1696"/>
                  </a:lnTo>
                  <a:lnTo>
                    <a:pt x="1542" y="1762"/>
                  </a:lnTo>
                  <a:lnTo>
                    <a:pt x="1536" y="1829"/>
                  </a:lnTo>
                  <a:lnTo>
                    <a:pt x="1531" y="1899"/>
                  </a:lnTo>
                  <a:lnTo>
                    <a:pt x="1528" y="1969"/>
                  </a:lnTo>
                  <a:lnTo>
                    <a:pt x="1530" y="2041"/>
                  </a:lnTo>
                  <a:lnTo>
                    <a:pt x="1532" y="2114"/>
                  </a:lnTo>
                  <a:lnTo>
                    <a:pt x="1384" y="2114"/>
                  </a:lnTo>
                  <a:lnTo>
                    <a:pt x="1349" y="2084"/>
                  </a:lnTo>
                  <a:lnTo>
                    <a:pt x="1313" y="2055"/>
                  </a:lnTo>
                  <a:lnTo>
                    <a:pt x="1277" y="2028"/>
                  </a:lnTo>
                  <a:lnTo>
                    <a:pt x="1240" y="2004"/>
                  </a:lnTo>
                  <a:lnTo>
                    <a:pt x="1202" y="1980"/>
                  </a:lnTo>
                  <a:lnTo>
                    <a:pt x="1164" y="1958"/>
                  </a:lnTo>
                  <a:lnTo>
                    <a:pt x="1124" y="1939"/>
                  </a:lnTo>
                  <a:lnTo>
                    <a:pt x="1084" y="1922"/>
                  </a:lnTo>
                  <a:lnTo>
                    <a:pt x="1045" y="1906"/>
                  </a:lnTo>
                  <a:lnTo>
                    <a:pt x="1002" y="1892"/>
                  </a:lnTo>
                  <a:lnTo>
                    <a:pt x="960" y="1881"/>
                  </a:lnTo>
                  <a:lnTo>
                    <a:pt x="917" y="1871"/>
                  </a:lnTo>
                  <a:lnTo>
                    <a:pt x="874" y="1864"/>
                  </a:lnTo>
                  <a:lnTo>
                    <a:pt x="828" y="1858"/>
                  </a:lnTo>
                  <a:lnTo>
                    <a:pt x="782" y="1854"/>
                  </a:lnTo>
                  <a:lnTo>
                    <a:pt x="735" y="1853"/>
                  </a:lnTo>
                  <a:lnTo>
                    <a:pt x="692" y="1854"/>
                  </a:lnTo>
                  <a:lnTo>
                    <a:pt x="651" y="1857"/>
                  </a:lnTo>
                  <a:lnTo>
                    <a:pt x="613" y="1862"/>
                  </a:lnTo>
                  <a:lnTo>
                    <a:pt x="574" y="1866"/>
                  </a:lnTo>
                  <a:lnTo>
                    <a:pt x="537" y="1874"/>
                  </a:lnTo>
                  <a:lnTo>
                    <a:pt x="501" y="1883"/>
                  </a:lnTo>
                  <a:lnTo>
                    <a:pt x="465" y="1893"/>
                  </a:lnTo>
                  <a:lnTo>
                    <a:pt x="431" y="1905"/>
                  </a:lnTo>
                  <a:lnTo>
                    <a:pt x="396" y="1918"/>
                  </a:lnTo>
                  <a:lnTo>
                    <a:pt x="362" y="1933"/>
                  </a:lnTo>
                  <a:lnTo>
                    <a:pt x="329" y="1948"/>
                  </a:lnTo>
                  <a:lnTo>
                    <a:pt x="295" y="1966"/>
                  </a:lnTo>
                  <a:lnTo>
                    <a:pt x="261" y="1984"/>
                  </a:lnTo>
                  <a:lnTo>
                    <a:pt x="227" y="2005"/>
                  </a:lnTo>
                  <a:lnTo>
                    <a:pt x="193" y="2025"/>
                  </a:lnTo>
                  <a:lnTo>
                    <a:pt x="158" y="2048"/>
                  </a:lnTo>
                  <a:lnTo>
                    <a:pt x="0" y="1889"/>
                  </a:lnTo>
                  <a:lnTo>
                    <a:pt x="17" y="1846"/>
                  </a:lnTo>
                  <a:lnTo>
                    <a:pt x="36" y="1803"/>
                  </a:lnTo>
                  <a:lnTo>
                    <a:pt x="54" y="1759"/>
                  </a:lnTo>
                  <a:lnTo>
                    <a:pt x="75" y="1717"/>
                  </a:lnTo>
                  <a:lnTo>
                    <a:pt x="95" y="1675"/>
                  </a:lnTo>
                  <a:lnTo>
                    <a:pt x="116" y="1634"/>
                  </a:lnTo>
                  <a:lnTo>
                    <a:pt x="137" y="1593"/>
                  </a:lnTo>
                  <a:lnTo>
                    <a:pt x="160" y="1552"/>
                  </a:lnTo>
                  <a:lnTo>
                    <a:pt x="183" y="1513"/>
                  </a:lnTo>
                  <a:lnTo>
                    <a:pt x="206" y="1474"/>
                  </a:lnTo>
                  <a:lnTo>
                    <a:pt x="230" y="1434"/>
                  </a:lnTo>
                  <a:lnTo>
                    <a:pt x="255" y="1397"/>
                  </a:lnTo>
                  <a:lnTo>
                    <a:pt x="280" y="1359"/>
                  </a:lnTo>
                  <a:lnTo>
                    <a:pt x="307" y="1321"/>
                  </a:lnTo>
                  <a:lnTo>
                    <a:pt x="333" y="1285"/>
                  </a:lnTo>
                  <a:lnTo>
                    <a:pt x="360" y="1249"/>
                  </a:lnTo>
                  <a:lnTo>
                    <a:pt x="388" y="1213"/>
                  </a:lnTo>
                  <a:lnTo>
                    <a:pt x="416" y="1178"/>
                  </a:lnTo>
                  <a:lnTo>
                    <a:pt x="445" y="1144"/>
                  </a:lnTo>
                  <a:lnTo>
                    <a:pt x="475" y="1111"/>
                  </a:lnTo>
                  <a:lnTo>
                    <a:pt x="505" y="1077"/>
                  </a:lnTo>
                  <a:lnTo>
                    <a:pt x="536" y="1045"/>
                  </a:lnTo>
                  <a:lnTo>
                    <a:pt x="567" y="1013"/>
                  </a:lnTo>
                  <a:lnTo>
                    <a:pt x="598" y="982"/>
                  </a:lnTo>
                  <a:lnTo>
                    <a:pt x="631" y="951"/>
                  </a:lnTo>
                  <a:lnTo>
                    <a:pt x="663" y="921"/>
                  </a:lnTo>
                  <a:lnTo>
                    <a:pt x="697" y="892"/>
                  </a:lnTo>
                  <a:lnTo>
                    <a:pt x="730" y="863"/>
                  </a:lnTo>
                  <a:lnTo>
                    <a:pt x="764" y="835"/>
                  </a:lnTo>
                  <a:lnTo>
                    <a:pt x="799" y="807"/>
                  </a:lnTo>
                  <a:lnTo>
                    <a:pt x="835" y="781"/>
                  </a:lnTo>
                  <a:lnTo>
                    <a:pt x="870" y="755"/>
                  </a:lnTo>
                  <a:lnTo>
                    <a:pt x="907" y="729"/>
                  </a:lnTo>
                  <a:lnTo>
                    <a:pt x="943" y="705"/>
                  </a:lnTo>
                  <a:lnTo>
                    <a:pt x="981" y="681"/>
                  </a:lnTo>
                  <a:lnTo>
                    <a:pt x="1018" y="657"/>
                  </a:lnTo>
                  <a:lnTo>
                    <a:pt x="1057" y="635"/>
                  </a:lnTo>
                  <a:lnTo>
                    <a:pt x="1095" y="613"/>
                  </a:lnTo>
                  <a:lnTo>
                    <a:pt x="1135" y="592"/>
                  </a:lnTo>
                  <a:lnTo>
                    <a:pt x="1173" y="572"/>
                  </a:lnTo>
                  <a:lnTo>
                    <a:pt x="1214" y="552"/>
                  </a:lnTo>
                  <a:lnTo>
                    <a:pt x="1254" y="533"/>
                  </a:lnTo>
                  <a:lnTo>
                    <a:pt x="1295" y="515"/>
                  </a:lnTo>
                  <a:lnTo>
                    <a:pt x="1336" y="498"/>
                  </a:lnTo>
                  <a:lnTo>
                    <a:pt x="1378" y="481"/>
                  </a:lnTo>
                  <a:lnTo>
                    <a:pt x="1420" y="466"/>
                  </a:lnTo>
                  <a:lnTo>
                    <a:pt x="1462" y="450"/>
                  </a:lnTo>
                  <a:lnTo>
                    <a:pt x="1504" y="437"/>
                  </a:lnTo>
                  <a:lnTo>
                    <a:pt x="1548" y="422"/>
                  </a:lnTo>
                  <a:lnTo>
                    <a:pt x="1591" y="410"/>
                  </a:lnTo>
                  <a:lnTo>
                    <a:pt x="1635" y="398"/>
                  </a:lnTo>
                  <a:lnTo>
                    <a:pt x="1680" y="387"/>
                  </a:lnTo>
                  <a:lnTo>
                    <a:pt x="1725" y="378"/>
                  </a:lnTo>
                  <a:lnTo>
                    <a:pt x="1769" y="368"/>
                  </a:lnTo>
                  <a:lnTo>
                    <a:pt x="1815" y="360"/>
                  </a:lnTo>
                  <a:lnTo>
                    <a:pt x="1861" y="353"/>
                  </a:lnTo>
                  <a:lnTo>
                    <a:pt x="1906" y="345"/>
                  </a:lnTo>
                  <a:lnTo>
                    <a:pt x="1952" y="339"/>
                  </a:lnTo>
                  <a:lnTo>
                    <a:pt x="1999" y="335"/>
                  </a:lnTo>
                  <a:lnTo>
                    <a:pt x="2046" y="331"/>
                  </a:lnTo>
                  <a:lnTo>
                    <a:pt x="2093" y="327"/>
                  </a:lnTo>
                  <a:lnTo>
                    <a:pt x="2141" y="325"/>
                  </a:lnTo>
                  <a:lnTo>
                    <a:pt x="2189" y="324"/>
                  </a:lnTo>
                  <a:lnTo>
                    <a:pt x="2236" y="324"/>
                  </a:lnTo>
                  <a:lnTo>
                    <a:pt x="2285" y="324"/>
                  </a:lnTo>
                  <a:lnTo>
                    <a:pt x="2332" y="325"/>
                  </a:lnTo>
                  <a:lnTo>
                    <a:pt x="2380" y="327"/>
                  </a:lnTo>
                  <a:lnTo>
                    <a:pt x="2429" y="331"/>
                  </a:lnTo>
                  <a:lnTo>
                    <a:pt x="2475" y="335"/>
                  </a:lnTo>
                  <a:lnTo>
                    <a:pt x="2522" y="339"/>
                  </a:lnTo>
                  <a:lnTo>
                    <a:pt x="2568" y="345"/>
                  </a:lnTo>
                  <a:lnTo>
                    <a:pt x="2615" y="353"/>
                  </a:lnTo>
                  <a:lnTo>
                    <a:pt x="2661" y="360"/>
                  </a:lnTo>
                  <a:lnTo>
                    <a:pt x="2705" y="368"/>
                  </a:lnTo>
                  <a:lnTo>
                    <a:pt x="2751" y="378"/>
                  </a:lnTo>
                  <a:lnTo>
                    <a:pt x="2796" y="389"/>
                  </a:lnTo>
                  <a:lnTo>
                    <a:pt x="2840" y="400"/>
                  </a:lnTo>
                  <a:lnTo>
                    <a:pt x="2885" y="412"/>
                  </a:lnTo>
                  <a:lnTo>
                    <a:pt x="2928" y="424"/>
                  </a:lnTo>
                  <a:lnTo>
                    <a:pt x="2971" y="437"/>
                  </a:lnTo>
                  <a:lnTo>
                    <a:pt x="3013" y="451"/>
                  </a:lnTo>
                  <a:lnTo>
                    <a:pt x="3057" y="467"/>
                  </a:lnTo>
                  <a:lnTo>
                    <a:pt x="3099" y="483"/>
                  </a:lnTo>
                  <a:lnTo>
                    <a:pt x="3140" y="499"/>
                  </a:lnTo>
                  <a:lnTo>
                    <a:pt x="3182" y="516"/>
                  </a:lnTo>
                  <a:lnTo>
                    <a:pt x="3223" y="534"/>
                  </a:lnTo>
                  <a:lnTo>
                    <a:pt x="3263" y="554"/>
                  </a:lnTo>
                  <a:lnTo>
                    <a:pt x="3303" y="574"/>
                  </a:lnTo>
                  <a:lnTo>
                    <a:pt x="3343" y="594"/>
                  </a:lnTo>
                  <a:lnTo>
                    <a:pt x="3382" y="615"/>
                  </a:lnTo>
                  <a:lnTo>
                    <a:pt x="3420" y="638"/>
                  </a:lnTo>
                  <a:lnTo>
                    <a:pt x="3459" y="659"/>
                  </a:lnTo>
                  <a:lnTo>
                    <a:pt x="3497" y="684"/>
                  </a:lnTo>
                  <a:lnTo>
                    <a:pt x="3535" y="708"/>
                  </a:lnTo>
                  <a:lnTo>
                    <a:pt x="3571" y="733"/>
                  </a:lnTo>
                  <a:lnTo>
                    <a:pt x="3607" y="758"/>
                  </a:lnTo>
                  <a:lnTo>
                    <a:pt x="3643" y="785"/>
                  </a:lnTo>
                  <a:lnTo>
                    <a:pt x="3679" y="811"/>
                  </a:lnTo>
                  <a:lnTo>
                    <a:pt x="3714" y="839"/>
                  </a:lnTo>
                  <a:lnTo>
                    <a:pt x="3748" y="866"/>
                  </a:lnTo>
                  <a:lnTo>
                    <a:pt x="3781" y="897"/>
                  </a:lnTo>
                  <a:lnTo>
                    <a:pt x="3815" y="925"/>
                  </a:lnTo>
                  <a:lnTo>
                    <a:pt x="3847" y="955"/>
                  </a:lnTo>
                  <a:lnTo>
                    <a:pt x="3880" y="987"/>
                  </a:lnTo>
                  <a:lnTo>
                    <a:pt x="3911" y="1018"/>
                  </a:lnTo>
                  <a:lnTo>
                    <a:pt x="3942" y="1051"/>
                  </a:lnTo>
                  <a:lnTo>
                    <a:pt x="3974" y="1083"/>
                  </a:lnTo>
                  <a:lnTo>
                    <a:pt x="4004" y="1117"/>
                  </a:lnTo>
                  <a:lnTo>
                    <a:pt x="4033" y="1150"/>
                  </a:lnTo>
                  <a:lnTo>
                    <a:pt x="4062" y="1185"/>
                  </a:lnTo>
                  <a:lnTo>
                    <a:pt x="4090" y="1220"/>
                  </a:lnTo>
                  <a:lnTo>
                    <a:pt x="4118" y="1256"/>
                  </a:lnTo>
                  <a:lnTo>
                    <a:pt x="4146" y="1292"/>
                  </a:lnTo>
                  <a:lnTo>
                    <a:pt x="4172" y="1329"/>
                  </a:lnTo>
                  <a:lnTo>
                    <a:pt x="4198" y="1366"/>
                  </a:lnTo>
                  <a:lnTo>
                    <a:pt x="4223" y="1404"/>
                  </a:lnTo>
                  <a:lnTo>
                    <a:pt x="4248" y="1443"/>
                  </a:lnTo>
                  <a:lnTo>
                    <a:pt x="4272" y="1481"/>
                  </a:lnTo>
                  <a:lnTo>
                    <a:pt x="4295" y="1521"/>
                  </a:lnTo>
                  <a:lnTo>
                    <a:pt x="4318" y="1562"/>
                  </a:lnTo>
                  <a:lnTo>
                    <a:pt x="4341" y="1602"/>
                  </a:lnTo>
                  <a:lnTo>
                    <a:pt x="4362" y="1644"/>
                  </a:lnTo>
                  <a:lnTo>
                    <a:pt x="4383" y="1685"/>
                  </a:lnTo>
                  <a:lnTo>
                    <a:pt x="4403" y="1727"/>
                  </a:lnTo>
                  <a:lnTo>
                    <a:pt x="4423" y="1770"/>
                  </a:lnTo>
                  <a:lnTo>
                    <a:pt x="4442" y="1812"/>
                  </a:lnTo>
                  <a:lnTo>
                    <a:pt x="4460" y="1857"/>
                  </a:lnTo>
                  <a:lnTo>
                    <a:pt x="4478" y="1900"/>
                  </a:lnTo>
                  <a:lnTo>
                    <a:pt x="4324" y="2054"/>
                  </a:lnTo>
                  <a:lnTo>
                    <a:pt x="4288" y="2031"/>
                  </a:lnTo>
                  <a:lnTo>
                    <a:pt x="4253" y="2010"/>
                  </a:lnTo>
                  <a:lnTo>
                    <a:pt x="4219" y="1989"/>
                  </a:lnTo>
                  <a:lnTo>
                    <a:pt x="4186" y="1970"/>
                  </a:lnTo>
                  <a:lnTo>
                    <a:pt x="4151" y="1952"/>
                  </a:lnTo>
                  <a:lnTo>
                    <a:pt x="4117" y="1935"/>
                  </a:lnTo>
                  <a:lnTo>
                    <a:pt x="4082" y="1921"/>
                  </a:lnTo>
                  <a:lnTo>
                    <a:pt x="4047" y="1906"/>
                  </a:lnTo>
                  <a:lnTo>
                    <a:pt x="4012" y="1894"/>
                  </a:lnTo>
                  <a:lnTo>
                    <a:pt x="3976" y="1885"/>
                  </a:lnTo>
                  <a:lnTo>
                    <a:pt x="3940" y="1875"/>
                  </a:lnTo>
                  <a:lnTo>
                    <a:pt x="3902" y="1868"/>
                  </a:lnTo>
                  <a:lnTo>
                    <a:pt x="3863" y="1862"/>
                  </a:lnTo>
                  <a:lnTo>
                    <a:pt x="3823" y="1857"/>
                  </a:lnTo>
                  <a:lnTo>
                    <a:pt x="3781" y="1854"/>
                  </a:lnTo>
                  <a:lnTo>
                    <a:pt x="3738" y="1853"/>
                  </a:lnTo>
                  <a:lnTo>
                    <a:pt x="3691" y="1854"/>
                  </a:lnTo>
                  <a:lnTo>
                    <a:pt x="3645" y="1858"/>
                  </a:lnTo>
                  <a:lnTo>
                    <a:pt x="3599" y="1864"/>
                  </a:lnTo>
                  <a:lnTo>
                    <a:pt x="3556" y="1871"/>
                  </a:lnTo>
                  <a:lnTo>
                    <a:pt x="3513" y="1881"/>
                  </a:lnTo>
                  <a:lnTo>
                    <a:pt x="3471" y="1892"/>
                  </a:lnTo>
                  <a:lnTo>
                    <a:pt x="3429" y="1906"/>
                  </a:lnTo>
                  <a:lnTo>
                    <a:pt x="3389" y="1922"/>
                  </a:lnTo>
                  <a:lnTo>
                    <a:pt x="3349" y="1939"/>
                  </a:lnTo>
                  <a:lnTo>
                    <a:pt x="3309" y="1959"/>
                  </a:lnTo>
                  <a:lnTo>
                    <a:pt x="3271" y="1980"/>
                  </a:lnTo>
                  <a:lnTo>
                    <a:pt x="3234" y="2004"/>
                  </a:lnTo>
                  <a:lnTo>
                    <a:pt x="3196" y="2028"/>
                  </a:lnTo>
                  <a:lnTo>
                    <a:pt x="3160" y="2055"/>
                  </a:lnTo>
                  <a:lnTo>
                    <a:pt x="3124" y="2084"/>
                  </a:lnTo>
                  <a:lnTo>
                    <a:pt x="3089" y="2114"/>
                  </a:lnTo>
                  <a:lnTo>
                    <a:pt x="2886" y="2114"/>
                  </a:lnTo>
                  <a:lnTo>
                    <a:pt x="2852" y="2085"/>
                  </a:lnTo>
                  <a:lnTo>
                    <a:pt x="2818" y="2058"/>
                  </a:lnTo>
                  <a:lnTo>
                    <a:pt x="2784" y="2033"/>
                  </a:lnTo>
                  <a:lnTo>
                    <a:pt x="2749" y="2008"/>
                  </a:lnTo>
                  <a:lnTo>
                    <a:pt x="2713" y="1986"/>
                  </a:lnTo>
                  <a:lnTo>
                    <a:pt x="2676" y="1965"/>
                  </a:lnTo>
                  <a:lnTo>
                    <a:pt x="2640" y="1946"/>
                  </a:lnTo>
                  <a:lnTo>
                    <a:pt x="2602" y="1928"/>
                  </a:lnTo>
                  <a:lnTo>
                    <a:pt x="2565" y="1912"/>
                  </a:lnTo>
                  <a:lnTo>
                    <a:pt x="2525" y="1899"/>
                  </a:lnTo>
                  <a:lnTo>
                    <a:pt x="2485" y="1887"/>
                  </a:lnTo>
                  <a:lnTo>
                    <a:pt x="2444" y="1876"/>
                  </a:lnTo>
                  <a:lnTo>
                    <a:pt x="2403" y="1868"/>
                  </a:lnTo>
                  <a:lnTo>
                    <a:pt x="2361" y="1862"/>
                  </a:lnTo>
                  <a:lnTo>
                    <a:pt x="2318" y="1857"/>
                  </a:lnTo>
                  <a:lnTo>
                    <a:pt x="2273" y="1854"/>
                  </a:lnTo>
                  <a:close/>
                  <a:moveTo>
                    <a:pt x="2425" y="523"/>
                  </a:moveTo>
                  <a:lnTo>
                    <a:pt x="2425" y="523"/>
                  </a:lnTo>
                  <a:lnTo>
                    <a:pt x="2460" y="558"/>
                  </a:lnTo>
                  <a:lnTo>
                    <a:pt x="2495" y="593"/>
                  </a:lnTo>
                  <a:lnTo>
                    <a:pt x="2528" y="629"/>
                  </a:lnTo>
                  <a:lnTo>
                    <a:pt x="2561" y="667"/>
                  </a:lnTo>
                  <a:lnTo>
                    <a:pt x="2593" y="705"/>
                  </a:lnTo>
                  <a:lnTo>
                    <a:pt x="2623" y="744"/>
                  </a:lnTo>
                  <a:lnTo>
                    <a:pt x="2654" y="783"/>
                  </a:lnTo>
                  <a:lnTo>
                    <a:pt x="2682" y="824"/>
                  </a:lnTo>
                  <a:lnTo>
                    <a:pt x="2710" y="865"/>
                  </a:lnTo>
                  <a:lnTo>
                    <a:pt x="2737" y="907"/>
                  </a:lnTo>
                  <a:lnTo>
                    <a:pt x="2763" y="951"/>
                  </a:lnTo>
                  <a:lnTo>
                    <a:pt x="2787" y="994"/>
                  </a:lnTo>
                  <a:lnTo>
                    <a:pt x="2811" y="1037"/>
                  </a:lnTo>
                  <a:lnTo>
                    <a:pt x="2834" y="1082"/>
                  </a:lnTo>
                  <a:lnTo>
                    <a:pt x="2856" y="1128"/>
                  </a:lnTo>
                  <a:lnTo>
                    <a:pt x="2876" y="1172"/>
                  </a:lnTo>
                  <a:lnTo>
                    <a:pt x="2895" y="1218"/>
                  </a:lnTo>
                  <a:lnTo>
                    <a:pt x="2914" y="1264"/>
                  </a:lnTo>
                  <a:lnTo>
                    <a:pt x="2930" y="1309"/>
                  </a:lnTo>
                  <a:lnTo>
                    <a:pt x="2946" y="1355"/>
                  </a:lnTo>
                  <a:lnTo>
                    <a:pt x="2960" y="1402"/>
                  </a:lnTo>
                  <a:lnTo>
                    <a:pt x="2975" y="1448"/>
                  </a:lnTo>
                  <a:lnTo>
                    <a:pt x="2987" y="1495"/>
                  </a:lnTo>
                  <a:lnTo>
                    <a:pt x="2998" y="1540"/>
                  </a:lnTo>
                  <a:lnTo>
                    <a:pt x="3007" y="1587"/>
                  </a:lnTo>
                  <a:lnTo>
                    <a:pt x="3016" y="1633"/>
                  </a:lnTo>
                  <a:lnTo>
                    <a:pt x="3023" y="1679"/>
                  </a:lnTo>
                  <a:lnTo>
                    <a:pt x="3029" y="1724"/>
                  </a:lnTo>
                  <a:lnTo>
                    <a:pt x="3034" y="1769"/>
                  </a:lnTo>
                  <a:lnTo>
                    <a:pt x="3037" y="1814"/>
                  </a:lnTo>
                  <a:lnTo>
                    <a:pt x="3040" y="1858"/>
                  </a:lnTo>
                  <a:lnTo>
                    <a:pt x="3040" y="1903"/>
                  </a:lnTo>
                  <a:lnTo>
                    <a:pt x="3077" y="1875"/>
                  </a:lnTo>
                  <a:lnTo>
                    <a:pt x="3115" y="1848"/>
                  </a:lnTo>
                  <a:lnTo>
                    <a:pt x="3154" y="1824"/>
                  </a:lnTo>
                  <a:lnTo>
                    <a:pt x="3194" y="1801"/>
                  </a:lnTo>
                  <a:lnTo>
                    <a:pt x="3235" y="1780"/>
                  </a:lnTo>
                  <a:lnTo>
                    <a:pt x="3276" y="1759"/>
                  </a:lnTo>
                  <a:lnTo>
                    <a:pt x="3319" y="1741"/>
                  </a:lnTo>
                  <a:lnTo>
                    <a:pt x="3362" y="1726"/>
                  </a:lnTo>
                  <a:lnTo>
                    <a:pt x="3407" y="1710"/>
                  </a:lnTo>
                  <a:lnTo>
                    <a:pt x="3453" y="1698"/>
                  </a:lnTo>
                  <a:lnTo>
                    <a:pt x="3498" y="1687"/>
                  </a:lnTo>
                  <a:lnTo>
                    <a:pt x="3545" y="1678"/>
                  </a:lnTo>
                  <a:lnTo>
                    <a:pt x="3592" y="1670"/>
                  </a:lnTo>
                  <a:lnTo>
                    <a:pt x="3640" y="1665"/>
                  </a:lnTo>
                  <a:lnTo>
                    <a:pt x="3690" y="1662"/>
                  </a:lnTo>
                  <a:lnTo>
                    <a:pt x="3738" y="1661"/>
                  </a:lnTo>
                  <a:lnTo>
                    <a:pt x="3781" y="1662"/>
                  </a:lnTo>
                  <a:lnTo>
                    <a:pt x="3825" y="1664"/>
                  </a:lnTo>
                  <a:lnTo>
                    <a:pt x="3865" y="1668"/>
                  </a:lnTo>
                  <a:lnTo>
                    <a:pt x="3906" y="1674"/>
                  </a:lnTo>
                  <a:lnTo>
                    <a:pt x="3946" y="1681"/>
                  </a:lnTo>
                  <a:lnTo>
                    <a:pt x="3985" y="1690"/>
                  </a:lnTo>
                  <a:lnTo>
                    <a:pt x="4022" y="1700"/>
                  </a:lnTo>
                  <a:lnTo>
                    <a:pt x="4057" y="1711"/>
                  </a:lnTo>
                  <a:lnTo>
                    <a:pt x="4090" y="1724"/>
                  </a:lnTo>
                  <a:lnTo>
                    <a:pt x="4121" y="1739"/>
                  </a:lnTo>
                  <a:lnTo>
                    <a:pt x="4149" y="1755"/>
                  </a:lnTo>
                  <a:lnTo>
                    <a:pt x="4176" y="1771"/>
                  </a:lnTo>
                  <a:lnTo>
                    <a:pt x="4200" y="1791"/>
                  </a:lnTo>
                  <a:lnTo>
                    <a:pt x="4211" y="1800"/>
                  </a:lnTo>
                  <a:lnTo>
                    <a:pt x="4220" y="1810"/>
                  </a:lnTo>
                  <a:lnTo>
                    <a:pt x="4229" y="1821"/>
                  </a:lnTo>
                  <a:lnTo>
                    <a:pt x="4237" y="1832"/>
                  </a:lnTo>
                  <a:lnTo>
                    <a:pt x="4246" y="1842"/>
                  </a:lnTo>
                  <a:lnTo>
                    <a:pt x="4252" y="1853"/>
                  </a:lnTo>
                  <a:lnTo>
                    <a:pt x="4222" y="1786"/>
                  </a:lnTo>
                  <a:lnTo>
                    <a:pt x="4189" y="1718"/>
                  </a:lnTo>
                  <a:lnTo>
                    <a:pt x="4155" y="1653"/>
                  </a:lnTo>
                  <a:lnTo>
                    <a:pt x="4118" y="1590"/>
                  </a:lnTo>
                  <a:lnTo>
                    <a:pt x="4080" y="1527"/>
                  </a:lnTo>
                  <a:lnTo>
                    <a:pt x="4040" y="1466"/>
                  </a:lnTo>
                  <a:lnTo>
                    <a:pt x="3997" y="1406"/>
                  </a:lnTo>
                  <a:lnTo>
                    <a:pt x="3952" y="1348"/>
                  </a:lnTo>
                  <a:lnTo>
                    <a:pt x="3906" y="1291"/>
                  </a:lnTo>
                  <a:lnTo>
                    <a:pt x="3858" y="1236"/>
                  </a:lnTo>
                  <a:lnTo>
                    <a:pt x="3808" y="1182"/>
                  </a:lnTo>
                  <a:lnTo>
                    <a:pt x="3756" y="1130"/>
                  </a:lnTo>
                  <a:lnTo>
                    <a:pt x="3702" y="1081"/>
                  </a:lnTo>
                  <a:lnTo>
                    <a:pt x="3648" y="1033"/>
                  </a:lnTo>
                  <a:lnTo>
                    <a:pt x="3590" y="986"/>
                  </a:lnTo>
                  <a:lnTo>
                    <a:pt x="3532" y="941"/>
                  </a:lnTo>
                  <a:lnTo>
                    <a:pt x="3472" y="899"/>
                  </a:lnTo>
                  <a:lnTo>
                    <a:pt x="3411" y="858"/>
                  </a:lnTo>
                  <a:lnTo>
                    <a:pt x="3348" y="820"/>
                  </a:lnTo>
                  <a:lnTo>
                    <a:pt x="3284" y="783"/>
                  </a:lnTo>
                  <a:lnTo>
                    <a:pt x="3219" y="749"/>
                  </a:lnTo>
                  <a:lnTo>
                    <a:pt x="3152" y="716"/>
                  </a:lnTo>
                  <a:lnTo>
                    <a:pt x="3084" y="686"/>
                  </a:lnTo>
                  <a:lnTo>
                    <a:pt x="3015" y="658"/>
                  </a:lnTo>
                  <a:lnTo>
                    <a:pt x="2945" y="633"/>
                  </a:lnTo>
                  <a:lnTo>
                    <a:pt x="2874" y="610"/>
                  </a:lnTo>
                  <a:lnTo>
                    <a:pt x="2800" y="590"/>
                  </a:lnTo>
                  <a:lnTo>
                    <a:pt x="2727" y="572"/>
                  </a:lnTo>
                  <a:lnTo>
                    <a:pt x="2654" y="556"/>
                  </a:lnTo>
                  <a:lnTo>
                    <a:pt x="2578" y="543"/>
                  </a:lnTo>
                  <a:lnTo>
                    <a:pt x="2502" y="532"/>
                  </a:lnTo>
                  <a:lnTo>
                    <a:pt x="2425" y="523"/>
                  </a:lnTo>
                  <a:close/>
                  <a:moveTo>
                    <a:pt x="2052" y="523"/>
                  </a:moveTo>
                  <a:lnTo>
                    <a:pt x="2052" y="523"/>
                  </a:lnTo>
                  <a:lnTo>
                    <a:pt x="1974" y="532"/>
                  </a:lnTo>
                  <a:lnTo>
                    <a:pt x="1895" y="543"/>
                  </a:lnTo>
                  <a:lnTo>
                    <a:pt x="1818" y="556"/>
                  </a:lnTo>
                  <a:lnTo>
                    <a:pt x="1743" y="572"/>
                  </a:lnTo>
                  <a:lnTo>
                    <a:pt x="1667" y="590"/>
                  </a:lnTo>
                  <a:lnTo>
                    <a:pt x="1593" y="611"/>
                  </a:lnTo>
                  <a:lnTo>
                    <a:pt x="1520" y="634"/>
                  </a:lnTo>
                  <a:lnTo>
                    <a:pt x="1448" y="659"/>
                  </a:lnTo>
                  <a:lnTo>
                    <a:pt x="1378" y="687"/>
                  </a:lnTo>
                  <a:lnTo>
                    <a:pt x="1308" y="717"/>
                  </a:lnTo>
                  <a:lnTo>
                    <a:pt x="1240" y="750"/>
                  </a:lnTo>
                  <a:lnTo>
                    <a:pt x="1173" y="785"/>
                  </a:lnTo>
                  <a:lnTo>
                    <a:pt x="1107" y="821"/>
                  </a:lnTo>
                  <a:lnTo>
                    <a:pt x="1043" y="858"/>
                  </a:lnTo>
                  <a:lnTo>
                    <a:pt x="981" y="899"/>
                  </a:lnTo>
                  <a:lnTo>
                    <a:pt x="919" y="940"/>
                  </a:lnTo>
                  <a:lnTo>
                    <a:pt x="860" y="984"/>
                  </a:lnTo>
                  <a:lnTo>
                    <a:pt x="803" y="1029"/>
                  </a:lnTo>
                  <a:lnTo>
                    <a:pt x="746" y="1076"/>
                  </a:lnTo>
                  <a:lnTo>
                    <a:pt x="691" y="1124"/>
                  </a:lnTo>
                  <a:lnTo>
                    <a:pt x="638" y="1175"/>
                  </a:lnTo>
                  <a:lnTo>
                    <a:pt x="587" y="1226"/>
                  </a:lnTo>
                  <a:lnTo>
                    <a:pt x="538" y="1278"/>
                  </a:lnTo>
                  <a:lnTo>
                    <a:pt x="491" y="1332"/>
                  </a:lnTo>
                  <a:lnTo>
                    <a:pt x="445" y="1388"/>
                  </a:lnTo>
                  <a:lnTo>
                    <a:pt x="402" y="1444"/>
                  </a:lnTo>
                  <a:lnTo>
                    <a:pt x="361" y="1502"/>
                  </a:lnTo>
                  <a:lnTo>
                    <a:pt x="321" y="1560"/>
                  </a:lnTo>
                  <a:lnTo>
                    <a:pt x="284" y="1620"/>
                  </a:lnTo>
                  <a:lnTo>
                    <a:pt x="249" y="1680"/>
                  </a:lnTo>
                  <a:lnTo>
                    <a:pt x="217" y="1741"/>
                  </a:lnTo>
                  <a:lnTo>
                    <a:pt x="185" y="1804"/>
                  </a:lnTo>
                  <a:lnTo>
                    <a:pt x="217" y="1787"/>
                  </a:lnTo>
                  <a:lnTo>
                    <a:pt x="248" y="1771"/>
                  </a:lnTo>
                  <a:lnTo>
                    <a:pt x="279" y="1757"/>
                  </a:lnTo>
                  <a:lnTo>
                    <a:pt x="312" y="1743"/>
                  </a:lnTo>
                  <a:lnTo>
                    <a:pt x="345" y="1730"/>
                  </a:lnTo>
                  <a:lnTo>
                    <a:pt x="378" y="1718"/>
                  </a:lnTo>
                  <a:lnTo>
                    <a:pt x="413" y="1708"/>
                  </a:lnTo>
                  <a:lnTo>
                    <a:pt x="446" y="1698"/>
                  </a:lnTo>
                  <a:lnTo>
                    <a:pt x="481" y="1690"/>
                  </a:lnTo>
                  <a:lnTo>
                    <a:pt x="516" y="1682"/>
                  </a:lnTo>
                  <a:lnTo>
                    <a:pt x="552" y="1676"/>
                  </a:lnTo>
                  <a:lnTo>
                    <a:pt x="587" y="1670"/>
                  </a:lnTo>
                  <a:lnTo>
                    <a:pt x="625" y="1667"/>
                  </a:lnTo>
                  <a:lnTo>
                    <a:pt x="661" y="1663"/>
                  </a:lnTo>
                  <a:lnTo>
                    <a:pt x="698" y="1662"/>
                  </a:lnTo>
                  <a:lnTo>
                    <a:pt x="735" y="1661"/>
                  </a:lnTo>
                  <a:lnTo>
                    <a:pt x="785" y="1662"/>
                  </a:lnTo>
                  <a:lnTo>
                    <a:pt x="833" y="1665"/>
                  </a:lnTo>
                  <a:lnTo>
                    <a:pt x="881" y="1670"/>
                  </a:lnTo>
                  <a:lnTo>
                    <a:pt x="929" y="1678"/>
                  </a:lnTo>
                  <a:lnTo>
                    <a:pt x="976" y="1687"/>
                  </a:lnTo>
                  <a:lnTo>
                    <a:pt x="1022" y="1698"/>
                  </a:lnTo>
                  <a:lnTo>
                    <a:pt x="1067" y="1711"/>
                  </a:lnTo>
                  <a:lnTo>
                    <a:pt x="1112" y="1726"/>
                  </a:lnTo>
                  <a:lnTo>
                    <a:pt x="1157" y="1743"/>
                  </a:lnTo>
                  <a:lnTo>
                    <a:pt x="1199" y="1761"/>
                  </a:lnTo>
                  <a:lnTo>
                    <a:pt x="1241" y="1781"/>
                  </a:lnTo>
                  <a:lnTo>
                    <a:pt x="1283" y="1803"/>
                  </a:lnTo>
                  <a:lnTo>
                    <a:pt x="1323" y="1826"/>
                  </a:lnTo>
                  <a:lnTo>
                    <a:pt x="1361" y="1851"/>
                  </a:lnTo>
                  <a:lnTo>
                    <a:pt x="1400" y="1877"/>
                  </a:lnTo>
                  <a:lnTo>
                    <a:pt x="1436" y="1905"/>
                  </a:lnTo>
                  <a:lnTo>
                    <a:pt x="1437" y="1860"/>
                  </a:lnTo>
                  <a:lnTo>
                    <a:pt x="1438" y="1816"/>
                  </a:lnTo>
                  <a:lnTo>
                    <a:pt x="1442" y="1771"/>
                  </a:lnTo>
                  <a:lnTo>
                    <a:pt x="1447" y="1727"/>
                  </a:lnTo>
                  <a:lnTo>
                    <a:pt x="1453" y="1681"/>
                  </a:lnTo>
                  <a:lnTo>
                    <a:pt x="1460" y="1635"/>
                  </a:lnTo>
                  <a:lnTo>
                    <a:pt x="1468" y="1588"/>
                  </a:lnTo>
                  <a:lnTo>
                    <a:pt x="1478" y="1543"/>
                  </a:lnTo>
                  <a:lnTo>
                    <a:pt x="1490" y="1496"/>
                  </a:lnTo>
                  <a:lnTo>
                    <a:pt x="1502" y="1450"/>
                  </a:lnTo>
                  <a:lnTo>
                    <a:pt x="1515" y="1403"/>
                  </a:lnTo>
                  <a:lnTo>
                    <a:pt x="1530" y="1357"/>
                  </a:lnTo>
                  <a:lnTo>
                    <a:pt x="1545" y="1310"/>
                  </a:lnTo>
                  <a:lnTo>
                    <a:pt x="1562" y="1265"/>
                  </a:lnTo>
                  <a:lnTo>
                    <a:pt x="1580" y="1219"/>
                  </a:lnTo>
                  <a:lnTo>
                    <a:pt x="1601" y="1173"/>
                  </a:lnTo>
                  <a:lnTo>
                    <a:pt x="1620" y="1128"/>
                  </a:lnTo>
                  <a:lnTo>
                    <a:pt x="1641" y="1083"/>
                  </a:lnTo>
                  <a:lnTo>
                    <a:pt x="1664" y="1039"/>
                  </a:lnTo>
                  <a:lnTo>
                    <a:pt x="1688" y="995"/>
                  </a:lnTo>
                  <a:lnTo>
                    <a:pt x="1712" y="951"/>
                  </a:lnTo>
                  <a:lnTo>
                    <a:pt x="1739" y="909"/>
                  </a:lnTo>
                  <a:lnTo>
                    <a:pt x="1765" y="866"/>
                  </a:lnTo>
                  <a:lnTo>
                    <a:pt x="1793" y="824"/>
                  </a:lnTo>
                  <a:lnTo>
                    <a:pt x="1822" y="783"/>
                  </a:lnTo>
                  <a:lnTo>
                    <a:pt x="1852" y="744"/>
                  </a:lnTo>
                  <a:lnTo>
                    <a:pt x="1883" y="705"/>
                  </a:lnTo>
                  <a:lnTo>
                    <a:pt x="1915" y="667"/>
                  </a:lnTo>
                  <a:lnTo>
                    <a:pt x="1948" y="629"/>
                  </a:lnTo>
                  <a:lnTo>
                    <a:pt x="1982" y="593"/>
                  </a:lnTo>
                  <a:lnTo>
                    <a:pt x="2016" y="557"/>
                  </a:lnTo>
                  <a:lnTo>
                    <a:pt x="2052" y="523"/>
                  </a:lnTo>
                  <a:close/>
                  <a:moveTo>
                    <a:pt x="1303" y="1637"/>
                  </a:moveTo>
                  <a:lnTo>
                    <a:pt x="1303" y="1637"/>
                  </a:lnTo>
                  <a:lnTo>
                    <a:pt x="1272" y="1623"/>
                  </a:lnTo>
                  <a:lnTo>
                    <a:pt x="1242" y="1610"/>
                  </a:lnTo>
                  <a:lnTo>
                    <a:pt x="1211" y="1598"/>
                  </a:lnTo>
                  <a:lnTo>
                    <a:pt x="1178" y="1587"/>
                  </a:lnTo>
                  <a:lnTo>
                    <a:pt x="1147" y="1576"/>
                  </a:lnTo>
                  <a:lnTo>
                    <a:pt x="1114" y="1567"/>
                  </a:lnTo>
                  <a:lnTo>
                    <a:pt x="1081" y="1557"/>
                  </a:lnTo>
                  <a:lnTo>
                    <a:pt x="1048" y="1550"/>
                  </a:lnTo>
                  <a:lnTo>
                    <a:pt x="1014" y="1543"/>
                  </a:lnTo>
                  <a:lnTo>
                    <a:pt x="981" y="1537"/>
                  </a:lnTo>
                  <a:lnTo>
                    <a:pt x="947" y="1532"/>
                  </a:lnTo>
                  <a:lnTo>
                    <a:pt x="912" y="1527"/>
                  </a:lnTo>
                  <a:lnTo>
                    <a:pt x="877" y="1523"/>
                  </a:lnTo>
                  <a:lnTo>
                    <a:pt x="842" y="1521"/>
                  </a:lnTo>
                  <a:lnTo>
                    <a:pt x="808" y="1520"/>
                  </a:lnTo>
                  <a:lnTo>
                    <a:pt x="771" y="1519"/>
                  </a:lnTo>
                  <a:lnTo>
                    <a:pt x="717" y="1520"/>
                  </a:lnTo>
                  <a:lnTo>
                    <a:pt x="662" y="1523"/>
                  </a:lnTo>
                  <a:lnTo>
                    <a:pt x="609" y="1530"/>
                  </a:lnTo>
                  <a:lnTo>
                    <a:pt x="556" y="1538"/>
                  </a:lnTo>
                  <a:lnTo>
                    <a:pt x="581" y="1501"/>
                  </a:lnTo>
                  <a:lnTo>
                    <a:pt x="608" y="1465"/>
                  </a:lnTo>
                  <a:lnTo>
                    <a:pt x="634" y="1428"/>
                  </a:lnTo>
                  <a:lnTo>
                    <a:pt x="662" y="1392"/>
                  </a:lnTo>
                  <a:lnTo>
                    <a:pt x="691" y="1357"/>
                  </a:lnTo>
                  <a:lnTo>
                    <a:pt x="720" y="1324"/>
                  </a:lnTo>
                  <a:lnTo>
                    <a:pt x="750" y="1290"/>
                  </a:lnTo>
                  <a:lnTo>
                    <a:pt x="781" y="1258"/>
                  </a:lnTo>
                  <a:lnTo>
                    <a:pt x="812" y="1225"/>
                  </a:lnTo>
                  <a:lnTo>
                    <a:pt x="844" y="1194"/>
                  </a:lnTo>
                  <a:lnTo>
                    <a:pt x="877" y="1162"/>
                  </a:lnTo>
                  <a:lnTo>
                    <a:pt x="911" y="1132"/>
                  </a:lnTo>
                  <a:lnTo>
                    <a:pt x="945" y="1104"/>
                  </a:lnTo>
                  <a:lnTo>
                    <a:pt x="980" y="1075"/>
                  </a:lnTo>
                  <a:lnTo>
                    <a:pt x="1014" y="1047"/>
                  </a:lnTo>
                  <a:lnTo>
                    <a:pt x="1051" y="1019"/>
                  </a:lnTo>
                  <a:lnTo>
                    <a:pt x="1087" y="993"/>
                  </a:lnTo>
                  <a:lnTo>
                    <a:pt x="1124" y="968"/>
                  </a:lnTo>
                  <a:lnTo>
                    <a:pt x="1163" y="942"/>
                  </a:lnTo>
                  <a:lnTo>
                    <a:pt x="1201" y="918"/>
                  </a:lnTo>
                  <a:lnTo>
                    <a:pt x="1240" y="895"/>
                  </a:lnTo>
                  <a:lnTo>
                    <a:pt x="1279" y="874"/>
                  </a:lnTo>
                  <a:lnTo>
                    <a:pt x="1319" y="852"/>
                  </a:lnTo>
                  <a:lnTo>
                    <a:pt x="1359" y="832"/>
                  </a:lnTo>
                  <a:lnTo>
                    <a:pt x="1401" y="811"/>
                  </a:lnTo>
                  <a:lnTo>
                    <a:pt x="1442" y="793"/>
                  </a:lnTo>
                  <a:lnTo>
                    <a:pt x="1484" y="775"/>
                  </a:lnTo>
                  <a:lnTo>
                    <a:pt x="1526" y="758"/>
                  </a:lnTo>
                  <a:lnTo>
                    <a:pt x="1569" y="741"/>
                  </a:lnTo>
                  <a:lnTo>
                    <a:pt x="1613" y="727"/>
                  </a:lnTo>
                  <a:lnTo>
                    <a:pt x="1656" y="712"/>
                  </a:lnTo>
                  <a:lnTo>
                    <a:pt x="1700" y="699"/>
                  </a:lnTo>
                  <a:lnTo>
                    <a:pt x="1666" y="752"/>
                  </a:lnTo>
                  <a:lnTo>
                    <a:pt x="1632" y="805"/>
                  </a:lnTo>
                  <a:lnTo>
                    <a:pt x="1601" y="860"/>
                  </a:lnTo>
                  <a:lnTo>
                    <a:pt x="1569" y="916"/>
                  </a:lnTo>
                  <a:lnTo>
                    <a:pt x="1540" y="972"/>
                  </a:lnTo>
                  <a:lnTo>
                    <a:pt x="1513" y="1029"/>
                  </a:lnTo>
                  <a:lnTo>
                    <a:pt x="1486" y="1088"/>
                  </a:lnTo>
                  <a:lnTo>
                    <a:pt x="1461" y="1147"/>
                  </a:lnTo>
                  <a:lnTo>
                    <a:pt x="1436" y="1206"/>
                  </a:lnTo>
                  <a:lnTo>
                    <a:pt x="1414" y="1266"/>
                  </a:lnTo>
                  <a:lnTo>
                    <a:pt x="1392" y="1327"/>
                  </a:lnTo>
                  <a:lnTo>
                    <a:pt x="1372" y="1388"/>
                  </a:lnTo>
                  <a:lnTo>
                    <a:pt x="1353" y="1450"/>
                  </a:lnTo>
                  <a:lnTo>
                    <a:pt x="1335" y="1511"/>
                  </a:lnTo>
                  <a:lnTo>
                    <a:pt x="1318" y="1574"/>
                  </a:lnTo>
                  <a:lnTo>
                    <a:pt x="1303" y="1637"/>
                  </a:lnTo>
                  <a:close/>
                  <a:moveTo>
                    <a:pt x="2125" y="227"/>
                  </a:moveTo>
                  <a:lnTo>
                    <a:pt x="2125" y="113"/>
                  </a:lnTo>
                  <a:lnTo>
                    <a:pt x="2126" y="100"/>
                  </a:lnTo>
                  <a:lnTo>
                    <a:pt x="2128" y="87"/>
                  </a:lnTo>
                  <a:lnTo>
                    <a:pt x="2131" y="75"/>
                  </a:lnTo>
                  <a:lnTo>
                    <a:pt x="2135" y="64"/>
                  </a:lnTo>
                  <a:lnTo>
                    <a:pt x="2141" y="54"/>
                  </a:lnTo>
                  <a:lnTo>
                    <a:pt x="2147" y="45"/>
                  </a:lnTo>
                  <a:lnTo>
                    <a:pt x="2154" y="36"/>
                  </a:lnTo>
                  <a:lnTo>
                    <a:pt x="2161" y="29"/>
                  </a:lnTo>
                  <a:lnTo>
                    <a:pt x="2170" y="22"/>
                  </a:lnTo>
                  <a:lnTo>
                    <a:pt x="2178" y="16"/>
                  </a:lnTo>
                  <a:lnTo>
                    <a:pt x="2188" y="11"/>
                  </a:lnTo>
                  <a:lnTo>
                    <a:pt x="2197" y="7"/>
                  </a:lnTo>
                  <a:lnTo>
                    <a:pt x="2208" y="4"/>
                  </a:lnTo>
                  <a:lnTo>
                    <a:pt x="2218" y="2"/>
                  </a:lnTo>
                  <a:lnTo>
                    <a:pt x="2229" y="0"/>
                  </a:lnTo>
                  <a:lnTo>
                    <a:pt x="2238" y="0"/>
                  </a:lnTo>
                  <a:lnTo>
                    <a:pt x="2249" y="0"/>
                  </a:lnTo>
                  <a:lnTo>
                    <a:pt x="2259" y="2"/>
                  </a:lnTo>
                  <a:lnTo>
                    <a:pt x="2270" y="4"/>
                  </a:lnTo>
                  <a:lnTo>
                    <a:pt x="2279" y="7"/>
                  </a:lnTo>
                  <a:lnTo>
                    <a:pt x="2289" y="11"/>
                  </a:lnTo>
                  <a:lnTo>
                    <a:pt x="2299" y="16"/>
                  </a:lnTo>
                  <a:lnTo>
                    <a:pt x="2307" y="22"/>
                  </a:lnTo>
                  <a:lnTo>
                    <a:pt x="2315" y="29"/>
                  </a:lnTo>
                  <a:lnTo>
                    <a:pt x="2324" y="36"/>
                  </a:lnTo>
                  <a:lnTo>
                    <a:pt x="2331" y="45"/>
                  </a:lnTo>
                  <a:lnTo>
                    <a:pt x="2337" y="54"/>
                  </a:lnTo>
                  <a:lnTo>
                    <a:pt x="2342" y="64"/>
                  </a:lnTo>
                  <a:lnTo>
                    <a:pt x="2346" y="75"/>
                  </a:lnTo>
                  <a:lnTo>
                    <a:pt x="2349" y="87"/>
                  </a:lnTo>
                  <a:lnTo>
                    <a:pt x="2352" y="100"/>
                  </a:lnTo>
                  <a:lnTo>
                    <a:pt x="2352" y="113"/>
                  </a:lnTo>
                  <a:lnTo>
                    <a:pt x="2352" y="227"/>
                  </a:lnTo>
                  <a:lnTo>
                    <a:pt x="2125" y="227"/>
                  </a:lnTo>
                  <a:close/>
                </a:path>
              </a:pathLst>
            </a:custGeom>
            <a:solidFill>
              <a:schemeClr val="tx2"/>
            </a:solidFill>
            <a:ln>
              <a:noFill/>
            </a:ln>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sp>
          <p:nvSpPr>
            <p:cNvPr id="88" name="Freeform 22"/>
            <p:cNvSpPr>
              <a:spLocks noChangeAspect="1" noEditPoints="1"/>
            </p:cNvSpPr>
            <p:nvPr/>
          </p:nvSpPr>
          <p:spPr bwMode="auto">
            <a:xfrm>
              <a:off x="5530745" y="2650592"/>
              <a:ext cx="332548" cy="242037"/>
            </a:xfrm>
            <a:custGeom>
              <a:avLst/>
              <a:gdLst>
                <a:gd name="T0" fmla="*/ 2147483647 w 6544"/>
                <a:gd name="T1" fmla="*/ 2147483647 h 4763"/>
                <a:gd name="T2" fmla="*/ 2147483647 w 6544"/>
                <a:gd name="T3" fmla="*/ 2147483647 h 4763"/>
                <a:gd name="T4" fmla="*/ 2147483647 w 6544"/>
                <a:gd name="T5" fmla="*/ 2147483647 h 4763"/>
                <a:gd name="T6" fmla="*/ 2147483647 w 6544"/>
                <a:gd name="T7" fmla="*/ 2147483647 h 4763"/>
                <a:gd name="T8" fmla="*/ 2147483647 w 6544"/>
                <a:gd name="T9" fmla="*/ 2147483647 h 4763"/>
                <a:gd name="T10" fmla="*/ 2147483647 w 6544"/>
                <a:gd name="T11" fmla="*/ 2147483647 h 4763"/>
                <a:gd name="T12" fmla="*/ 2147483647 w 6544"/>
                <a:gd name="T13" fmla="*/ 2147483647 h 4763"/>
                <a:gd name="T14" fmla="*/ 2147483647 w 6544"/>
                <a:gd name="T15" fmla="*/ 2147483647 h 4763"/>
                <a:gd name="T16" fmla="*/ 2147483647 w 6544"/>
                <a:gd name="T17" fmla="*/ 2147483647 h 4763"/>
                <a:gd name="T18" fmla="*/ 2147483647 w 6544"/>
                <a:gd name="T19" fmla="*/ 2147483647 h 4763"/>
                <a:gd name="T20" fmla="*/ 2147483647 w 6544"/>
                <a:gd name="T21" fmla="*/ 2147483647 h 4763"/>
                <a:gd name="T22" fmla="*/ 2147483647 w 6544"/>
                <a:gd name="T23" fmla="*/ 2147483647 h 4763"/>
                <a:gd name="T24" fmla="*/ 2147483647 w 6544"/>
                <a:gd name="T25" fmla="*/ 2147483647 h 4763"/>
                <a:gd name="T26" fmla="*/ 2147483647 w 6544"/>
                <a:gd name="T27" fmla="*/ 2147483647 h 4763"/>
                <a:gd name="T28" fmla="*/ 2147483647 w 6544"/>
                <a:gd name="T29" fmla="*/ 2147483647 h 4763"/>
                <a:gd name="T30" fmla="*/ 2147483647 w 6544"/>
                <a:gd name="T31" fmla="*/ 2147483647 h 4763"/>
                <a:gd name="T32" fmla="*/ 2147483647 w 6544"/>
                <a:gd name="T33" fmla="*/ 2147483647 h 4763"/>
                <a:gd name="T34" fmla="*/ 2147483647 w 6544"/>
                <a:gd name="T35" fmla="*/ 2147483647 h 4763"/>
                <a:gd name="T36" fmla="*/ 2147483647 w 6544"/>
                <a:gd name="T37" fmla="*/ 2147483647 h 4763"/>
                <a:gd name="T38" fmla="*/ 2147483647 w 6544"/>
                <a:gd name="T39" fmla="*/ 2147483647 h 4763"/>
                <a:gd name="T40" fmla="*/ 2147483647 w 6544"/>
                <a:gd name="T41" fmla="*/ 2147483647 h 4763"/>
                <a:gd name="T42" fmla="*/ 2147483647 w 6544"/>
                <a:gd name="T43" fmla="*/ 2147483647 h 4763"/>
                <a:gd name="T44" fmla="*/ 2147483647 w 6544"/>
                <a:gd name="T45" fmla="*/ 2147483647 h 4763"/>
                <a:gd name="T46" fmla="*/ 2147483647 w 6544"/>
                <a:gd name="T47" fmla="*/ 2147483647 h 4763"/>
                <a:gd name="T48" fmla="*/ 2147483647 w 6544"/>
                <a:gd name="T49" fmla="*/ 2147483647 h 4763"/>
                <a:gd name="T50" fmla="*/ 2147483647 w 6544"/>
                <a:gd name="T51" fmla="*/ 2147483647 h 4763"/>
                <a:gd name="T52" fmla="*/ 2147483647 w 6544"/>
                <a:gd name="T53" fmla="*/ 2147483647 h 4763"/>
                <a:gd name="T54" fmla="*/ 2147483647 w 6544"/>
                <a:gd name="T55" fmla="*/ 2147483647 h 4763"/>
                <a:gd name="T56" fmla="*/ 2147483647 w 6544"/>
                <a:gd name="T57" fmla="*/ 2147483647 h 4763"/>
                <a:gd name="T58" fmla="*/ 2147483647 w 6544"/>
                <a:gd name="T59" fmla="*/ 2147483647 h 4763"/>
                <a:gd name="T60" fmla="*/ 2147483647 w 6544"/>
                <a:gd name="T61" fmla="*/ 2147483647 h 4763"/>
                <a:gd name="T62" fmla="*/ 2147483647 w 6544"/>
                <a:gd name="T63" fmla="*/ 2147483647 h 4763"/>
                <a:gd name="T64" fmla="*/ 2147483647 w 6544"/>
                <a:gd name="T65" fmla="*/ 2147483647 h 4763"/>
                <a:gd name="T66" fmla="*/ 2147483647 w 6544"/>
                <a:gd name="T67" fmla="*/ 2147483647 h 4763"/>
                <a:gd name="T68" fmla="*/ 2147483647 w 6544"/>
                <a:gd name="T69" fmla="*/ 2147483647 h 4763"/>
                <a:gd name="T70" fmla="*/ 2147483647 w 6544"/>
                <a:gd name="T71" fmla="*/ 2147483647 h 4763"/>
                <a:gd name="T72" fmla="*/ 2147483647 w 6544"/>
                <a:gd name="T73" fmla="*/ 2147483647 h 4763"/>
                <a:gd name="T74" fmla="*/ 2147483647 w 6544"/>
                <a:gd name="T75" fmla="*/ 2147483647 h 4763"/>
                <a:gd name="T76" fmla="*/ 2147483647 w 6544"/>
                <a:gd name="T77" fmla="*/ 2147483647 h 4763"/>
                <a:gd name="T78" fmla="*/ 2147483647 w 6544"/>
                <a:gd name="T79" fmla="*/ 2147483647 h 4763"/>
                <a:gd name="T80" fmla="*/ 2147483647 w 6544"/>
                <a:gd name="T81" fmla="*/ 2147483647 h 4763"/>
                <a:gd name="T82" fmla="*/ 2147483647 w 6544"/>
                <a:gd name="T83" fmla="*/ 2147483647 h 4763"/>
                <a:gd name="T84" fmla="*/ 2147483647 w 6544"/>
                <a:gd name="T85" fmla="*/ 2147483647 h 4763"/>
                <a:gd name="T86" fmla="*/ 2147483647 w 6544"/>
                <a:gd name="T87" fmla="*/ 2147483647 h 4763"/>
                <a:gd name="T88" fmla="*/ 2147483647 w 6544"/>
                <a:gd name="T89" fmla="*/ 2147483647 h 4763"/>
                <a:gd name="T90" fmla="*/ 2147483647 w 6544"/>
                <a:gd name="T91" fmla="*/ 2147483647 h 4763"/>
                <a:gd name="T92" fmla="*/ 2147483647 w 6544"/>
                <a:gd name="T93" fmla="*/ 2147483647 h 4763"/>
                <a:gd name="T94" fmla="*/ 2147483647 w 6544"/>
                <a:gd name="T95" fmla="*/ 2147483647 h 4763"/>
                <a:gd name="T96" fmla="*/ 2147483647 w 6544"/>
                <a:gd name="T97" fmla="*/ 2147483647 h 4763"/>
                <a:gd name="T98" fmla="*/ 2147483647 w 6544"/>
                <a:gd name="T99" fmla="*/ 2147483647 h 4763"/>
                <a:gd name="T100" fmla="*/ 2147483647 w 6544"/>
                <a:gd name="T101" fmla="*/ 2147483647 h 4763"/>
                <a:gd name="T102" fmla="*/ 2147483647 w 6544"/>
                <a:gd name="T103" fmla="*/ 2147483647 h 4763"/>
                <a:gd name="T104" fmla="*/ 2147483647 w 6544"/>
                <a:gd name="T105" fmla="*/ 2147483647 h 4763"/>
                <a:gd name="T106" fmla="*/ 2147483647 w 6544"/>
                <a:gd name="T107" fmla="*/ 2147483647 h 4763"/>
                <a:gd name="T108" fmla="*/ 2147483647 w 6544"/>
                <a:gd name="T109" fmla="*/ 2147483647 h 4763"/>
                <a:gd name="T110" fmla="*/ 2147483647 w 6544"/>
                <a:gd name="T111" fmla="*/ 2147483647 h 4763"/>
                <a:gd name="T112" fmla="*/ 2147483647 w 6544"/>
                <a:gd name="T113" fmla="*/ 2147483647 h 4763"/>
                <a:gd name="T114" fmla="*/ 2147483647 w 6544"/>
                <a:gd name="T115" fmla="*/ 2147483647 h 4763"/>
                <a:gd name="T116" fmla="*/ 2147483647 w 6544"/>
                <a:gd name="T117" fmla="*/ 2147483647 h 4763"/>
                <a:gd name="T118" fmla="*/ 2147483647 w 6544"/>
                <a:gd name="T119" fmla="*/ 2147483647 h 4763"/>
                <a:gd name="T120" fmla="*/ 2147483647 w 6544"/>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544"/>
                <a:gd name="T184" fmla="*/ 0 h 4763"/>
                <a:gd name="T185" fmla="*/ 6544 w 6544"/>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544" h="4763">
                  <a:moveTo>
                    <a:pt x="5362" y="4281"/>
                  </a:moveTo>
                  <a:lnTo>
                    <a:pt x="5362" y="4281"/>
                  </a:lnTo>
                  <a:lnTo>
                    <a:pt x="5362" y="4292"/>
                  </a:lnTo>
                  <a:lnTo>
                    <a:pt x="5364" y="4304"/>
                  </a:lnTo>
                  <a:lnTo>
                    <a:pt x="5367" y="4315"/>
                  </a:lnTo>
                  <a:lnTo>
                    <a:pt x="5370" y="4327"/>
                  </a:lnTo>
                  <a:lnTo>
                    <a:pt x="5375" y="4337"/>
                  </a:lnTo>
                  <a:lnTo>
                    <a:pt x="5382" y="4347"/>
                  </a:lnTo>
                  <a:lnTo>
                    <a:pt x="5389" y="4355"/>
                  </a:lnTo>
                  <a:lnTo>
                    <a:pt x="5397" y="4365"/>
                  </a:lnTo>
                  <a:lnTo>
                    <a:pt x="5405" y="4371"/>
                  </a:lnTo>
                  <a:lnTo>
                    <a:pt x="5413" y="4378"/>
                  </a:lnTo>
                  <a:lnTo>
                    <a:pt x="5423" y="4384"/>
                  </a:lnTo>
                  <a:lnTo>
                    <a:pt x="5435" y="4389"/>
                  </a:lnTo>
                  <a:lnTo>
                    <a:pt x="5445" y="4393"/>
                  </a:lnTo>
                  <a:lnTo>
                    <a:pt x="5456" y="4396"/>
                  </a:lnTo>
                  <a:lnTo>
                    <a:pt x="5468" y="4398"/>
                  </a:lnTo>
                  <a:lnTo>
                    <a:pt x="5481" y="4399"/>
                  </a:lnTo>
                  <a:lnTo>
                    <a:pt x="5492" y="4398"/>
                  </a:lnTo>
                  <a:lnTo>
                    <a:pt x="5504" y="4396"/>
                  </a:lnTo>
                  <a:lnTo>
                    <a:pt x="5515" y="4393"/>
                  </a:lnTo>
                  <a:lnTo>
                    <a:pt x="5527" y="4389"/>
                  </a:lnTo>
                  <a:lnTo>
                    <a:pt x="5537" y="4384"/>
                  </a:lnTo>
                  <a:lnTo>
                    <a:pt x="5547" y="4378"/>
                  </a:lnTo>
                  <a:lnTo>
                    <a:pt x="5556" y="4371"/>
                  </a:lnTo>
                  <a:lnTo>
                    <a:pt x="5565" y="4365"/>
                  </a:lnTo>
                  <a:lnTo>
                    <a:pt x="5571" y="4355"/>
                  </a:lnTo>
                  <a:lnTo>
                    <a:pt x="5580" y="4347"/>
                  </a:lnTo>
                  <a:lnTo>
                    <a:pt x="5584" y="4337"/>
                  </a:lnTo>
                  <a:lnTo>
                    <a:pt x="5589" y="4327"/>
                  </a:lnTo>
                  <a:lnTo>
                    <a:pt x="5594" y="4315"/>
                  </a:lnTo>
                  <a:lnTo>
                    <a:pt x="5596" y="4304"/>
                  </a:lnTo>
                  <a:lnTo>
                    <a:pt x="5598" y="4292"/>
                  </a:lnTo>
                  <a:lnTo>
                    <a:pt x="5599" y="4281"/>
                  </a:lnTo>
                  <a:lnTo>
                    <a:pt x="5598" y="4268"/>
                  </a:lnTo>
                  <a:lnTo>
                    <a:pt x="5596" y="4256"/>
                  </a:lnTo>
                  <a:lnTo>
                    <a:pt x="5594" y="4245"/>
                  </a:lnTo>
                  <a:lnTo>
                    <a:pt x="5589" y="4235"/>
                  </a:lnTo>
                  <a:lnTo>
                    <a:pt x="5584" y="4223"/>
                  </a:lnTo>
                  <a:lnTo>
                    <a:pt x="5580" y="4213"/>
                  </a:lnTo>
                  <a:lnTo>
                    <a:pt x="5571" y="4205"/>
                  </a:lnTo>
                  <a:lnTo>
                    <a:pt x="5565" y="4197"/>
                  </a:lnTo>
                  <a:lnTo>
                    <a:pt x="5556" y="4189"/>
                  </a:lnTo>
                  <a:lnTo>
                    <a:pt x="5547" y="4182"/>
                  </a:lnTo>
                  <a:lnTo>
                    <a:pt x="5537" y="4175"/>
                  </a:lnTo>
                  <a:lnTo>
                    <a:pt x="5527" y="4171"/>
                  </a:lnTo>
                  <a:lnTo>
                    <a:pt x="5515" y="4167"/>
                  </a:lnTo>
                  <a:lnTo>
                    <a:pt x="5504" y="4164"/>
                  </a:lnTo>
                  <a:lnTo>
                    <a:pt x="5492" y="4162"/>
                  </a:lnTo>
                  <a:lnTo>
                    <a:pt x="5481" y="4161"/>
                  </a:lnTo>
                  <a:lnTo>
                    <a:pt x="5468" y="4162"/>
                  </a:lnTo>
                  <a:lnTo>
                    <a:pt x="5456" y="4164"/>
                  </a:lnTo>
                  <a:lnTo>
                    <a:pt x="5445" y="4167"/>
                  </a:lnTo>
                  <a:lnTo>
                    <a:pt x="5435" y="4171"/>
                  </a:lnTo>
                  <a:lnTo>
                    <a:pt x="5423" y="4175"/>
                  </a:lnTo>
                  <a:lnTo>
                    <a:pt x="5413" y="4182"/>
                  </a:lnTo>
                  <a:lnTo>
                    <a:pt x="5405" y="4189"/>
                  </a:lnTo>
                  <a:lnTo>
                    <a:pt x="5397" y="4197"/>
                  </a:lnTo>
                  <a:lnTo>
                    <a:pt x="5389" y="4205"/>
                  </a:lnTo>
                  <a:lnTo>
                    <a:pt x="5382" y="4213"/>
                  </a:lnTo>
                  <a:lnTo>
                    <a:pt x="5375" y="4223"/>
                  </a:lnTo>
                  <a:lnTo>
                    <a:pt x="5370" y="4235"/>
                  </a:lnTo>
                  <a:lnTo>
                    <a:pt x="5367" y="4245"/>
                  </a:lnTo>
                  <a:lnTo>
                    <a:pt x="5364" y="4256"/>
                  </a:lnTo>
                  <a:lnTo>
                    <a:pt x="5362" y="4268"/>
                  </a:lnTo>
                  <a:lnTo>
                    <a:pt x="5362" y="4281"/>
                  </a:lnTo>
                  <a:close/>
                  <a:moveTo>
                    <a:pt x="3593" y="4531"/>
                  </a:moveTo>
                  <a:lnTo>
                    <a:pt x="3437" y="4531"/>
                  </a:lnTo>
                  <a:lnTo>
                    <a:pt x="3437" y="4631"/>
                  </a:lnTo>
                  <a:lnTo>
                    <a:pt x="3593" y="4631"/>
                  </a:lnTo>
                  <a:lnTo>
                    <a:pt x="3593" y="4531"/>
                  </a:lnTo>
                  <a:close/>
                  <a:moveTo>
                    <a:pt x="3881" y="4531"/>
                  </a:moveTo>
                  <a:lnTo>
                    <a:pt x="3725" y="4531"/>
                  </a:lnTo>
                  <a:lnTo>
                    <a:pt x="3725" y="4631"/>
                  </a:lnTo>
                  <a:lnTo>
                    <a:pt x="3881" y="4631"/>
                  </a:lnTo>
                  <a:lnTo>
                    <a:pt x="3881" y="4531"/>
                  </a:lnTo>
                  <a:close/>
                  <a:moveTo>
                    <a:pt x="4169" y="4531"/>
                  </a:moveTo>
                  <a:lnTo>
                    <a:pt x="4013" y="4531"/>
                  </a:lnTo>
                  <a:lnTo>
                    <a:pt x="4013" y="4631"/>
                  </a:lnTo>
                  <a:lnTo>
                    <a:pt x="4169" y="4631"/>
                  </a:lnTo>
                  <a:lnTo>
                    <a:pt x="4169" y="4531"/>
                  </a:lnTo>
                  <a:close/>
                  <a:moveTo>
                    <a:pt x="4457" y="4531"/>
                  </a:moveTo>
                  <a:lnTo>
                    <a:pt x="4301" y="4531"/>
                  </a:lnTo>
                  <a:lnTo>
                    <a:pt x="4301" y="4631"/>
                  </a:lnTo>
                  <a:lnTo>
                    <a:pt x="4457" y="4631"/>
                  </a:lnTo>
                  <a:lnTo>
                    <a:pt x="4457" y="4531"/>
                  </a:lnTo>
                  <a:close/>
                  <a:moveTo>
                    <a:pt x="4745" y="4531"/>
                  </a:moveTo>
                  <a:lnTo>
                    <a:pt x="4589" y="4531"/>
                  </a:lnTo>
                  <a:lnTo>
                    <a:pt x="4589" y="4631"/>
                  </a:lnTo>
                  <a:lnTo>
                    <a:pt x="4745" y="4631"/>
                  </a:lnTo>
                  <a:lnTo>
                    <a:pt x="4745" y="4531"/>
                  </a:lnTo>
                  <a:close/>
                  <a:moveTo>
                    <a:pt x="5031" y="4531"/>
                  </a:moveTo>
                  <a:lnTo>
                    <a:pt x="4877" y="4531"/>
                  </a:lnTo>
                  <a:lnTo>
                    <a:pt x="4877" y="4631"/>
                  </a:lnTo>
                  <a:lnTo>
                    <a:pt x="5031" y="4631"/>
                  </a:lnTo>
                  <a:lnTo>
                    <a:pt x="5031" y="4531"/>
                  </a:lnTo>
                  <a:close/>
                  <a:moveTo>
                    <a:pt x="2935" y="4161"/>
                  </a:moveTo>
                  <a:lnTo>
                    <a:pt x="2935" y="4161"/>
                  </a:lnTo>
                  <a:lnTo>
                    <a:pt x="2923" y="4162"/>
                  </a:lnTo>
                  <a:lnTo>
                    <a:pt x="2910" y="4164"/>
                  </a:lnTo>
                  <a:lnTo>
                    <a:pt x="2900" y="4167"/>
                  </a:lnTo>
                  <a:lnTo>
                    <a:pt x="2889" y="4171"/>
                  </a:lnTo>
                  <a:lnTo>
                    <a:pt x="2879" y="4175"/>
                  </a:lnTo>
                  <a:lnTo>
                    <a:pt x="2869" y="4182"/>
                  </a:lnTo>
                  <a:lnTo>
                    <a:pt x="2859" y="4189"/>
                  </a:lnTo>
                  <a:lnTo>
                    <a:pt x="2851" y="4197"/>
                  </a:lnTo>
                  <a:lnTo>
                    <a:pt x="2842" y="4205"/>
                  </a:lnTo>
                  <a:lnTo>
                    <a:pt x="2836" y="4213"/>
                  </a:lnTo>
                  <a:lnTo>
                    <a:pt x="2831" y="4223"/>
                  </a:lnTo>
                  <a:lnTo>
                    <a:pt x="2826" y="4235"/>
                  </a:lnTo>
                  <a:lnTo>
                    <a:pt x="2821" y="4245"/>
                  </a:lnTo>
                  <a:lnTo>
                    <a:pt x="2818" y="4256"/>
                  </a:lnTo>
                  <a:lnTo>
                    <a:pt x="2816" y="4268"/>
                  </a:lnTo>
                  <a:lnTo>
                    <a:pt x="2816" y="4281"/>
                  </a:lnTo>
                  <a:lnTo>
                    <a:pt x="2816" y="4292"/>
                  </a:lnTo>
                  <a:lnTo>
                    <a:pt x="2818" y="4304"/>
                  </a:lnTo>
                  <a:lnTo>
                    <a:pt x="2821" y="4315"/>
                  </a:lnTo>
                  <a:lnTo>
                    <a:pt x="2826" y="4327"/>
                  </a:lnTo>
                  <a:lnTo>
                    <a:pt x="2831" y="4337"/>
                  </a:lnTo>
                  <a:lnTo>
                    <a:pt x="2836" y="4347"/>
                  </a:lnTo>
                  <a:lnTo>
                    <a:pt x="2842" y="4355"/>
                  </a:lnTo>
                  <a:lnTo>
                    <a:pt x="2851" y="4365"/>
                  </a:lnTo>
                  <a:lnTo>
                    <a:pt x="2859" y="4371"/>
                  </a:lnTo>
                  <a:lnTo>
                    <a:pt x="2869" y="4378"/>
                  </a:lnTo>
                  <a:lnTo>
                    <a:pt x="2879" y="4384"/>
                  </a:lnTo>
                  <a:lnTo>
                    <a:pt x="2889" y="4389"/>
                  </a:lnTo>
                  <a:lnTo>
                    <a:pt x="2900" y="4393"/>
                  </a:lnTo>
                  <a:lnTo>
                    <a:pt x="2910" y="4396"/>
                  </a:lnTo>
                  <a:lnTo>
                    <a:pt x="2923" y="4398"/>
                  </a:lnTo>
                  <a:lnTo>
                    <a:pt x="2935" y="4399"/>
                  </a:lnTo>
                  <a:lnTo>
                    <a:pt x="2946" y="4398"/>
                  </a:lnTo>
                  <a:lnTo>
                    <a:pt x="2959" y="4396"/>
                  </a:lnTo>
                  <a:lnTo>
                    <a:pt x="2969" y="4393"/>
                  </a:lnTo>
                  <a:lnTo>
                    <a:pt x="2981" y="4389"/>
                  </a:lnTo>
                  <a:lnTo>
                    <a:pt x="2991" y="4384"/>
                  </a:lnTo>
                  <a:lnTo>
                    <a:pt x="3000" y="4378"/>
                  </a:lnTo>
                  <a:lnTo>
                    <a:pt x="3010" y="4371"/>
                  </a:lnTo>
                  <a:lnTo>
                    <a:pt x="3019" y="4365"/>
                  </a:lnTo>
                  <a:lnTo>
                    <a:pt x="3027" y="4355"/>
                  </a:lnTo>
                  <a:lnTo>
                    <a:pt x="3033" y="4347"/>
                  </a:lnTo>
                  <a:lnTo>
                    <a:pt x="3038" y="4337"/>
                  </a:lnTo>
                  <a:lnTo>
                    <a:pt x="3043" y="4327"/>
                  </a:lnTo>
                  <a:lnTo>
                    <a:pt x="3048" y="4315"/>
                  </a:lnTo>
                  <a:lnTo>
                    <a:pt x="3051" y="4304"/>
                  </a:lnTo>
                  <a:lnTo>
                    <a:pt x="3053" y="4292"/>
                  </a:lnTo>
                  <a:lnTo>
                    <a:pt x="3053" y="4281"/>
                  </a:lnTo>
                  <a:lnTo>
                    <a:pt x="3053" y="4268"/>
                  </a:lnTo>
                  <a:lnTo>
                    <a:pt x="3051" y="4256"/>
                  </a:lnTo>
                  <a:lnTo>
                    <a:pt x="3048" y="4245"/>
                  </a:lnTo>
                  <a:lnTo>
                    <a:pt x="3043" y="4235"/>
                  </a:lnTo>
                  <a:lnTo>
                    <a:pt x="3038" y="4223"/>
                  </a:lnTo>
                  <a:lnTo>
                    <a:pt x="3033" y="4213"/>
                  </a:lnTo>
                  <a:lnTo>
                    <a:pt x="3027" y="4205"/>
                  </a:lnTo>
                  <a:lnTo>
                    <a:pt x="3019" y="4197"/>
                  </a:lnTo>
                  <a:lnTo>
                    <a:pt x="3010" y="4189"/>
                  </a:lnTo>
                  <a:lnTo>
                    <a:pt x="3000" y="4182"/>
                  </a:lnTo>
                  <a:lnTo>
                    <a:pt x="2991" y="4175"/>
                  </a:lnTo>
                  <a:lnTo>
                    <a:pt x="2981" y="4171"/>
                  </a:lnTo>
                  <a:lnTo>
                    <a:pt x="2969" y="4167"/>
                  </a:lnTo>
                  <a:lnTo>
                    <a:pt x="2959" y="4164"/>
                  </a:lnTo>
                  <a:lnTo>
                    <a:pt x="2946" y="4162"/>
                  </a:lnTo>
                  <a:lnTo>
                    <a:pt x="2935" y="4161"/>
                  </a:lnTo>
                  <a:close/>
                  <a:moveTo>
                    <a:pt x="5481" y="4531"/>
                  </a:moveTo>
                  <a:lnTo>
                    <a:pt x="5163" y="4531"/>
                  </a:lnTo>
                  <a:lnTo>
                    <a:pt x="5163" y="4631"/>
                  </a:lnTo>
                  <a:lnTo>
                    <a:pt x="5575" y="4631"/>
                  </a:lnTo>
                  <a:lnTo>
                    <a:pt x="5611" y="4630"/>
                  </a:lnTo>
                  <a:lnTo>
                    <a:pt x="5644" y="4623"/>
                  </a:lnTo>
                  <a:lnTo>
                    <a:pt x="5678" y="4615"/>
                  </a:lnTo>
                  <a:lnTo>
                    <a:pt x="5710" y="4603"/>
                  </a:lnTo>
                  <a:lnTo>
                    <a:pt x="5739" y="4587"/>
                  </a:lnTo>
                  <a:lnTo>
                    <a:pt x="5767" y="4570"/>
                  </a:lnTo>
                  <a:lnTo>
                    <a:pt x="5793" y="4549"/>
                  </a:lnTo>
                  <a:lnTo>
                    <a:pt x="5818" y="4526"/>
                  </a:lnTo>
                  <a:lnTo>
                    <a:pt x="5841" y="4501"/>
                  </a:lnTo>
                  <a:lnTo>
                    <a:pt x="5861" y="4475"/>
                  </a:lnTo>
                  <a:lnTo>
                    <a:pt x="5877" y="4445"/>
                  </a:lnTo>
                  <a:lnTo>
                    <a:pt x="5892" y="4414"/>
                  </a:lnTo>
                  <a:lnTo>
                    <a:pt x="5904" y="4383"/>
                  </a:lnTo>
                  <a:lnTo>
                    <a:pt x="5912" y="4350"/>
                  </a:lnTo>
                  <a:lnTo>
                    <a:pt x="5919" y="4315"/>
                  </a:lnTo>
                  <a:lnTo>
                    <a:pt x="5920" y="4279"/>
                  </a:lnTo>
                  <a:lnTo>
                    <a:pt x="5919" y="4246"/>
                  </a:lnTo>
                  <a:lnTo>
                    <a:pt x="5914" y="4215"/>
                  </a:lnTo>
                  <a:lnTo>
                    <a:pt x="5904" y="4185"/>
                  </a:lnTo>
                  <a:lnTo>
                    <a:pt x="5894" y="4157"/>
                  </a:lnTo>
                  <a:lnTo>
                    <a:pt x="5879" y="4131"/>
                  </a:lnTo>
                  <a:lnTo>
                    <a:pt x="5861" y="4105"/>
                  </a:lnTo>
                  <a:lnTo>
                    <a:pt x="5841" y="4082"/>
                  </a:lnTo>
                  <a:lnTo>
                    <a:pt x="5818" y="4059"/>
                  </a:lnTo>
                  <a:lnTo>
                    <a:pt x="5793" y="4037"/>
                  </a:lnTo>
                  <a:lnTo>
                    <a:pt x="5766" y="4017"/>
                  </a:lnTo>
                  <a:lnTo>
                    <a:pt x="5736" y="4001"/>
                  </a:lnTo>
                  <a:lnTo>
                    <a:pt x="5705" y="3985"/>
                  </a:lnTo>
                  <a:lnTo>
                    <a:pt x="5672" y="3970"/>
                  </a:lnTo>
                  <a:lnTo>
                    <a:pt x="5635" y="3955"/>
                  </a:lnTo>
                  <a:lnTo>
                    <a:pt x="5598" y="3943"/>
                  </a:lnTo>
                  <a:lnTo>
                    <a:pt x="5560" y="3934"/>
                  </a:lnTo>
                  <a:lnTo>
                    <a:pt x="4791" y="3744"/>
                  </a:lnTo>
                  <a:lnTo>
                    <a:pt x="3685" y="3744"/>
                  </a:lnTo>
                  <a:lnTo>
                    <a:pt x="2882" y="3934"/>
                  </a:lnTo>
                  <a:lnTo>
                    <a:pt x="2844" y="3943"/>
                  </a:lnTo>
                  <a:lnTo>
                    <a:pt x="2806" y="3955"/>
                  </a:lnTo>
                  <a:lnTo>
                    <a:pt x="2772" y="3968"/>
                  </a:lnTo>
                  <a:lnTo>
                    <a:pt x="2737" y="3985"/>
                  </a:lnTo>
                  <a:lnTo>
                    <a:pt x="2706" y="4001"/>
                  </a:lnTo>
                  <a:lnTo>
                    <a:pt x="2676" y="4019"/>
                  </a:lnTo>
                  <a:lnTo>
                    <a:pt x="2648" y="4039"/>
                  </a:lnTo>
                  <a:lnTo>
                    <a:pt x="2624" y="4060"/>
                  </a:lnTo>
                  <a:lnTo>
                    <a:pt x="2600" y="4083"/>
                  </a:lnTo>
                  <a:lnTo>
                    <a:pt x="2581" y="4108"/>
                  </a:lnTo>
                  <a:lnTo>
                    <a:pt x="2564" y="4134"/>
                  </a:lnTo>
                  <a:lnTo>
                    <a:pt x="2549" y="4162"/>
                  </a:lnTo>
                  <a:lnTo>
                    <a:pt x="2538" y="4190"/>
                  </a:lnTo>
                  <a:lnTo>
                    <a:pt x="2530" y="4222"/>
                  </a:lnTo>
                  <a:lnTo>
                    <a:pt x="2525" y="4253"/>
                  </a:lnTo>
                  <a:lnTo>
                    <a:pt x="2523" y="4286"/>
                  </a:lnTo>
                  <a:lnTo>
                    <a:pt x="2525" y="4322"/>
                  </a:lnTo>
                  <a:lnTo>
                    <a:pt x="2530" y="4355"/>
                  </a:lnTo>
                  <a:lnTo>
                    <a:pt x="2538" y="4388"/>
                  </a:lnTo>
                  <a:lnTo>
                    <a:pt x="2549" y="4421"/>
                  </a:lnTo>
                  <a:lnTo>
                    <a:pt x="2564" y="4450"/>
                  </a:lnTo>
                  <a:lnTo>
                    <a:pt x="2581" y="4478"/>
                  </a:lnTo>
                  <a:lnTo>
                    <a:pt x="2602" y="4505"/>
                  </a:lnTo>
                  <a:lnTo>
                    <a:pt x="2624" y="4529"/>
                  </a:lnTo>
                  <a:lnTo>
                    <a:pt x="2648" y="4552"/>
                  </a:lnTo>
                  <a:lnTo>
                    <a:pt x="2675" y="4572"/>
                  </a:lnTo>
                  <a:lnTo>
                    <a:pt x="2703" y="4589"/>
                  </a:lnTo>
                  <a:lnTo>
                    <a:pt x="2734" y="4603"/>
                  </a:lnTo>
                  <a:lnTo>
                    <a:pt x="2765" y="4615"/>
                  </a:lnTo>
                  <a:lnTo>
                    <a:pt x="2798" y="4623"/>
                  </a:lnTo>
                  <a:lnTo>
                    <a:pt x="2833" y="4630"/>
                  </a:lnTo>
                  <a:lnTo>
                    <a:pt x="2867" y="4631"/>
                  </a:lnTo>
                  <a:lnTo>
                    <a:pt x="3305" y="4631"/>
                  </a:lnTo>
                  <a:lnTo>
                    <a:pt x="3305" y="4531"/>
                  </a:lnTo>
                  <a:lnTo>
                    <a:pt x="2951" y="4531"/>
                  </a:lnTo>
                  <a:lnTo>
                    <a:pt x="2935" y="4531"/>
                  </a:lnTo>
                  <a:lnTo>
                    <a:pt x="2908" y="4529"/>
                  </a:lnTo>
                  <a:lnTo>
                    <a:pt x="2884" y="4526"/>
                  </a:lnTo>
                  <a:lnTo>
                    <a:pt x="2861" y="4519"/>
                  </a:lnTo>
                  <a:lnTo>
                    <a:pt x="2837" y="4511"/>
                  </a:lnTo>
                  <a:lnTo>
                    <a:pt x="2814" y="4500"/>
                  </a:lnTo>
                  <a:lnTo>
                    <a:pt x="2795" y="4488"/>
                  </a:lnTo>
                  <a:lnTo>
                    <a:pt x="2775" y="4473"/>
                  </a:lnTo>
                  <a:lnTo>
                    <a:pt x="2757" y="4457"/>
                  </a:lnTo>
                  <a:lnTo>
                    <a:pt x="2742" y="4439"/>
                  </a:lnTo>
                  <a:lnTo>
                    <a:pt x="2727" y="4421"/>
                  </a:lnTo>
                  <a:lnTo>
                    <a:pt x="2714" y="4399"/>
                  </a:lnTo>
                  <a:lnTo>
                    <a:pt x="2704" y="4378"/>
                  </a:lnTo>
                  <a:lnTo>
                    <a:pt x="2696" y="4355"/>
                  </a:lnTo>
                  <a:lnTo>
                    <a:pt x="2689" y="4330"/>
                  </a:lnTo>
                  <a:lnTo>
                    <a:pt x="2686" y="4305"/>
                  </a:lnTo>
                  <a:lnTo>
                    <a:pt x="2684" y="4281"/>
                  </a:lnTo>
                  <a:lnTo>
                    <a:pt x="2686" y="4254"/>
                  </a:lnTo>
                  <a:lnTo>
                    <a:pt x="2689" y="4230"/>
                  </a:lnTo>
                  <a:lnTo>
                    <a:pt x="2696" y="4205"/>
                  </a:lnTo>
                  <a:lnTo>
                    <a:pt x="2704" y="4182"/>
                  </a:lnTo>
                  <a:lnTo>
                    <a:pt x="2714" y="4161"/>
                  </a:lnTo>
                  <a:lnTo>
                    <a:pt x="2727" y="4141"/>
                  </a:lnTo>
                  <a:lnTo>
                    <a:pt x="2742" y="4121"/>
                  </a:lnTo>
                  <a:lnTo>
                    <a:pt x="2757" y="4103"/>
                  </a:lnTo>
                  <a:lnTo>
                    <a:pt x="2775" y="4087"/>
                  </a:lnTo>
                  <a:lnTo>
                    <a:pt x="2795" y="4072"/>
                  </a:lnTo>
                  <a:lnTo>
                    <a:pt x="2814" y="4060"/>
                  </a:lnTo>
                  <a:lnTo>
                    <a:pt x="2837" y="4049"/>
                  </a:lnTo>
                  <a:lnTo>
                    <a:pt x="2861" y="4040"/>
                  </a:lnTo>
                  <a:lnTo>
                    <a:pt x="2884" y="4036"/>
                  </a:lnTo>
                  <a:lnTo>
                    <a:pt x="2908" y="4031"/>
                  </a:lnTo>
                  <a:lnTo>
                    <a:pt x="2935" y="4029"/>
                  </a:lnTo>
                  <a:lnTo>
                    <a:pt x="2961" y="4031"/>
                  </a:lnTo>
                  <a:lnTo>
                    <a:pt x="2986" y="4036"/>
                  </a:lnTo>
                  <a:lnTo>
                    <a:pt x="3009" y="4040"/>
                  </a:lnTo>
                  <a:lnTo>
                    <a:pt x="3032" y="4049"/>
                  </a:lnTo>
                  <a:lnTo>
                    <a:pt x="3055" y="4060"/>
                  </a:lnTo>
                  <a:lnTo>
                    <a:pt x="3074" y="4072"/>
                  </a:lnTo>
                  <a:lnTo>
                    <a:pt x="3094" y="4087"/>
                  </a:lnTo>
                  <a:lnTo>
                    <a:pt x="3112" y="4103"/>
                  </a:lnTo>
                  <a:lnTo>
                    <a:pt x="3127" y="4121"/>
                  </a:lnTo>
                  <a:lnTo>
                    <a:pt x="3142" y="4141"/>
                  </a:lnTo>
                  <a:lnTo>
                    <a:pt x="3155" y="4161"/>
                  </a:lnTo>
                  <a:lnTo>
                    <a:pt x="3165" y="4182"/>
                  </a:lnTo>
                  <a:lnTo>
                    <a:pt x="3173" y="4205"/>
                  </a:lnTo>
                  <a:lnTo>
                    <a:pt x="3180" y="4230"/>
                  </a:lnTo>
                  <a:lnTo>
                    <a:pt x="3183" y="4254"/>
                  </a:lnTo>
                  <a:lnTo>
                    <a:pt x="3185" y="4281"/>
                  </a:lnTo>
                  <a:lnTo>
                    <a:pt x="3185" y="4296"/>
                  </a:lnTo>
                  <a:lnTo>
                    <a:pt x="3183" y="4312"/>
                  </a:lnTo>
                  <a:lnTo>
                    <a:pt x="3177" y="4342"/>
                  </a:lnTo>
                  <a:lnTo>
                    <a:pt x="3168" y="4371"/>
                  </a:lnTo>
                  <a:lnTo>
                    <a:pt x="3155" y="4399"/>
                  </a:lnTo>
                  <a:lnTo>
                    <a:pt x="5260" y="4399"/>
                  </a:lnTo>
                  <a:lnTo>
                    <a:pt x="5247" y="4371"/>
                  </a:lnTo>
                  <a:lnTo>
                    <a:pt x="5237" y="4342"/>
                  </a:lnTo>
                  <a:lnTo>
                    <a:pt x="5232" y="4312"/>
                  </a:lnTo>
                  <a:lnTo>
                    <a:pt x="5231" y="4296"/>
                  </a:lnTo>
                  <a:lnTo>
                    <a:pt x="5231" y="4281"/>
                  </a:lnTo>
                  <a:lnTo>
                    <a:pt x="5231" y="4254"/>
                  </a:lnTo>
                  <a:lnTo>
                    <a:pt x="5236" y="4230"/>
                  </a:lnTo>
                  <a:lnTo>
                    <a:pt x="5240" y="4205"/>
                  </a:lnTo>
                  <a:lnTo>
                    <a:pt x="5250" y="4182"/>
                  </a:lnTo>
                  <a:lnTo>
                    <a:pt x="5260" y="4161"/>
                  </a:lnTo>
                  <a:lnTo>
                    <a:pt x="5273" y="4141"/>
                  </a:lnTo>
                  <a:lnTo>
                    <a:pt x="5287" y="4121"/>
                  </a:lnTo>
                  <a:lnTo>
                    <a:pt x="5303" y="4103"/>
                  </a:lnTo>
                  <a:lnTo>
                    <a:pt x="5321" y="4087"/>
                  </a:lnTo>
                  <a:lnTo>
                    <a:pt x="5341" y="4072"/>
                  </a:lnTo>
                  <a:lnTo>
                    <a:pt x="5361" y="4060"/>
                  </a:lnTo>
                  <a:lnTo>
                    <a:pt x="5384" y="4049"/>
                  </a:lnTo>
                  <a:lnTo>
                    <a:pt x="5405" y="4040"/>
                  </a:lnTo>
                  <a:lnTo>
                    <a:pt x="5430" y="4036"/>
                  </a:lnTo>
                  <a:lnTo>
                    <a:pt x="5454" y="4031"/>
                  </a:lnTo>
                  <a:lnTo>
                    <a:pt x="5481" y="4029"/>
                  </a:lnTo>
                  <a:lnTo>
                    <a:pt x="5505" y="4031"/>
                  </a:lnTo>
                  <a:lnTo>
                    <a:pt x="5530" y="4036"/>
                  </a:lnTo>
                  <a:lnTo>
                    <a:pt x="5555" y="4040"/>
                  </a:lnTo>
                  <a:lnTo>
                    <a:pt x="5578" y="4049"/>
                  </a:lnTo>
                  <a:lnTo>
                    <a:pt x="5599" y="4060"/>
                  </a:lnTo>
                  <a:lnTo>
                    <a:pt x="5621" y="4072"/>
                  </a:lnTo>
                  <a:lnTo>
                    <a:pt x="5640" y="4087"/>
                  </a:lnTo>
                  <a:lnTo>
                    <a:pt x="5657" y="4103"/>
                  </a:lnTo>
                  <a:lnTo>
                    <a:pt x="5673" y="4121"/>
                  </a:lnTo>
                  <a:lnTo>
                    <a:pt x="5688" y="4141"/>
                  </a:lnTo>
                  <a:lnTo>
                    <a:pt x="5701" y="4161"/>
                  </a:lnTo>
                  <a:lnTo>
                    <a:pt x="5711" y="4182"/>
                  </a:lnTo>
                  <a:lnTo>
                    <a:pt x="5719" y="4205"/>
                  </a:lnTo>
                  <a:lnTo>
                    <a:pt x="5726" y="4230"/>
                  </a:lnTo>
                  <a:lnTo>
                    <a:pt x="5729" y="4254"/>
                  </a:lnTo>
                  <a:lnTo>
                    <a:pt x="5731" y="4281"/>
                  </a:lnTo>
                  <a:lnTo>
                    <a:pt x="5729" y="4305"/>
                  </a:lnTo>
                  <a:lnTo>
                    <a:pt x="5726" y="4329"/>
                  </a:lnTo>
                  <a:lnTo>
                    <a:pt x="5719" y="4353"/>
                  </a:lnTo>
                  <a:lnTo>
                    <a:pt x="5713" y="4375"/>
                  </a:lnTo>
                  <a:lnTo>
                    <a:pt x="5701" y="4396"/>
                  </a:lnTo>
                  <a:lnTo>
                    <a:pt x="5690" y="4417"/>
                  </a:lnTo>
                  <a:lnTo>
                    <a:pt x="5677" y="4435"/>
                  </a:lnTo>
                  <a:lnTo>
                    <a:pt x="5662" y="4454"/>
                  </a:lnTo>
                  <a:lnTo>
                    <a:pt x="5644" y="4470"/>
                  </a:lnTo>
                  <a:lnTo>
                    <a:pt x="5626" y="4483"/>
                  </a:lnTo>
                  <a:lnTo>
                    <a:pt x="5606" y="4496"/>
                  </a:lnTo>
                  <a:lnTo>
                    <a:pt x="5584" y="4508"/>
                  </a:lnTo>
                  <a:lnTo>
                    <a:pt x="5563" y="4516"/>
                  </a:lnTo>
                  <a:lnTo>
                    <a:pt x="5540" y="4523"/>
                  </a:lnTo>
                  <a:lnTo>
                    <a:pt x="5517" y="4528"/>
                  </a:lnTo>
                  <a:lnTo>
                    <a:pt x="5492" y="4531"/>
                  </a:lnTo>
                  <a:lnTo>
                    <a:pt x="5481" y="4531"/>
                  </a:lnTo>
                  <a:close/>
                  <a:moveTo>
                    <a:pt x="3346" y="3357"/>
                  </a:moveTo>
                  <a:lnTo>
                    <a:pt x="4775" y="3357"/>
                  </a:lnTo>
                  <a:lnTo>
                    <a:pt x="5013" y="3357"/>
                  </a:lnTo>
                  <a:lnTo>
                    <a:pt x="6346" y="3357"/>
                  </a:lnTo>
                  <a:lnTo>
                    <a:pt x="6346" y="2795"/>
                  </a:lnTo>
                  <a:lnTo>
                    <a:pt x="6345" y="2770"/>
                  </a:lnTo>
                  <a:lnTo>
                    <a:pt x="6342" y="2745"/>
                  </a:lnTo>
                  <a:lnTo>
                    <a:pt x="6335" y="2721"/>
                  </a:lnTo>
                  <a:lnTo>
                    <a:pt x="6327" y="2699"/>
                  </a:lnTo>
                  <a:lnTo>
                    <a:pt x="6317" y="2678"/>
                  </a:lnTo>
                  <a:lnTo>
                    <a:pt x="6304" y="2656"/>
                  </a:lnTo>
                  <a:lnTo>
                    <a:pt x="6291" y="2638"/>
                  </a:lnTo>
                  <a:lnTo>
                    <a:pt x="6274" y="2620"/>
                  </a:lnTo>
                  <a:lnTo>
                    <a:pt x="6256" y="2604"/>
                  </a:lnTo>
                  <a:lnTo>
                    <a:pt x="6238" y="2591"/>
                  </a:lnTo>
                  <a:lnTo>
                    <a:pt x="6216" y="2577"/>
                  </a:lnTo>
                  <a:lnTo>
                    <a:pt x="6195" y="2567"/>
                  </a:lnTo>
                  <a:lnTo>
                    <a:pt x="6174" y="2559"/>
                  </a:lnTo>
                  <a:lnTo>
                    <a:pt x="6149" y="2553"/>
                  </a:lnTo>
                  <a:lnTo>
                    <a:pt x="6124" y="2549"/>
                  </a:lnTo>
                  <a:lnTo>
                    <a:pt x="6100" y="2548"/>
                  </a:lnTo>
                  <a:lnTo>
                    <a:pt x="4742" y="2548"/>
                  </a:lnTo>
                  <a:lnTo>
                    <a:pt x="4742" y="1615"/>
                  </a:lnTo>
                  <a:lnTo>
                    <a:pt x="3257" y="1615"/>
                  </a:lnTo>
                  <a:lnTo>
                    <a:pt x="3223" y="1692"/>
                  </a:lnTo>
                  <a:lnTo>
                    <a:pt x="3193" y="1768"/>
                  </a:lnTo>
                  <a:lnTo>
                    <a:pt x="3165" y="1845"/>
                  </a:lnTo>
                  <a:lnTo>
                    <a:pt x="3139" y="1922"/>
                  </a:lnTo>
                  <a:lnTo>
                    <a:pt x="3117" y="2000"/>
                  </a:lnTo>
                  <a:lnTo>
                    <a:pt x="3096" y="2077"/>
                  </a:lnTo>
                  <a:lnTo>
                    <a:pt x="3078" y="2154"/>
                  </a:lnTo>
                  <a:lnTo>
                    <a:pt x="3063" y="2230"/>
                  </a:lnTo>
                  <a:lnTo>
                    <a:pt x="3048" y="2304"/>
                  </a:lnTo>
                  <a:lnTo>
                    <a:pt x="3037" y="2378"/>
                  </a:lnTo>
                  <a:lnTo>
                    <a:pt x="3028" y="2452"/>
                  </a:lnTo>
                  <a:lnTo>
                    <a:pt x="3020" y="2523"/>
                  </a:lnTo>
                  <a:lnTo>
                    <a:pt x="3015" y="2592"/>
                  </a:lnTo>
                  <a:lnTo>
                    <a:pt x="3012" y="2661"/>
                  </a:lnTo>
                  <a:lnTo>
                    <a:pt x="3010" y="2727"/>
                  </a:lnTo>
                  <a:lnTo>
                    <a:pt x="3009" y="2790"/>
                  </a:lnTo>
                  <a:lnTo>
                    <a:pt x="3010" y="2852"/>
                  </a:lnTo>
                  <a:lnTo>
                    <a:pt x="3014" y="2911"/>
                  </a:lnTo>
                  <a:lnTo>
                    <a:pt x="3019" y="2967"/>
                  </a:lnTo>
                  <a:lnTo>
                    <a:pt x="3023" y="3020"/>
                  </a:lnTo>
                  <a:lnTo>
                    <a:pt x="3032" y="3069"/>
                  </a:lnTo>
                  <a:lnTo>
                    <a:pt x="3040" y="3117"/>
                  </a:lnTo>
                  <a:lnTo>
                    <a:pt x="3050" y="3160"/>
                  </a:lnTo>
                  <a:lnTo>
                    <a:pt x="3060" y="3199"/>
                  </a:lnTo>
                  <a:lnTo>
                    <a:pt x="3071" y="3234"/>
                  </a:lnTo>
                  <a:lnTo>
                    <a:pt x="3084" y="3265"/>
                  </a:lnTo>
                  <a:lnTo>
                    <a:pt x="3098" y="3293"/>
                  </a:lnTo>
                  <a:lnTo>
                    <a:pt x="3112" y="3316"/>
                  </a:lnTo>
                  <a:lnTo>
                    <a:pt x="3127" y="3333"/>
                  </a:lnTo>
                  <a:lnTo>
                    <a:pt x="3135" y="3341"/>
                  </a:lnTo>
                  <a:lnTo>
                    <a:pt x="3144" y="3346"/>
                  </a:lnTo>
                  <a:lnTo>
                    <a:pt x="3152" y="3351"/>
                  </a:lnTo>
                  <a:lnTo>
                    <a:pt x="3160" y="3354"/>
                  </a:lnTo>
                  <a:lnTo>
                    <a:pt x="3168" y="3356"/>
                  </a:lnTo>
                  <a:lnTo>
                    <a:pt x="3177" y="3357"/>
                  </a:lnTo>
                  <a:lnTo>
                    <a:pt x="3346" y="3357"/>
                  </a:lnTo>
                  <a:close/>
                  <a:moveTo>
                    <a:pt x="5614" y="2169"/>
                  </a:moveTo>
                  <a:lnTo>
                    <a:pt x="5614" y="2169"/>
                  </a:lnTo>
                  <a:lnTo>
                    <a:pt x="5614" y="2146"/>
                  </a:lnTo>
                  <a:lnTo>
                    <a:pt x="5617" y="2125"/>
                  </a:lnTo>
                  <a:lnTo>
                    <a:pt x="5622" y="2103"/>
                  </a:lnTo>
                  <a:lnTo>
                    <a:pt x="5627" y="2084"/>
                  </a:lnTo>
                  <a:lnTo>
                    <a:pt x="5635" y="2066"/>
                  </a:lnTo>
                  <a:lnTo>
                    <a:pt x="5644" y="2049"/>
                  </a:lnTo>
                  <a:lnTo>
                    <a:pt x="5655" y="2034"/>
                  </a:lnTo>
                  <a:lnTo>
                    <a:pt x="5667" y="2021"/>
                  </a:lnTo>
                  <a:lnTo>
                    <a:pt x="5682" y="2010"/>
                  </a:lnTo>
                  <a:lnTo>
                    <a:pt x="5696" y="1998"/>
                  </a:lnTo>
                  <a:lnTo>
                    <a:pt x="5713" y="1990"/>
                  </a:lnTo>
                  <a:lnTo>
                    <a:pt x="5731" y="1983"/>
                  </a:lnTo>
                  <a:lnTo>
                    <a:pt x="5751" y="1977"/>
                  </a:lnTo>
                  <a:lnTo>
                    <a:pt x="5772" y="1973"/>
                  </a:lnTo>
                  <a:lnTo>
                    <a:pt x="5795" y="1972"/>
                  </a:lnTo>
                  <a:lnTo>
                    <a:pt x="5818" y="1972"/>
                  </a:lnTo>
                  <a:lnTo>
                    <a:pt x="5891" y="1972"/>
                  </a:lnTo>
                  <a:lnTo>
                    <a:pt x="5891" y="2103"/>
                  </a:lnTo>
                  <a:lnTo>
                    <a:pt x="5817" y="2103"/>
                  </a:lnTo>
                  <a:lnTo>
                    <a:pt x="5797" y="2103"/>
                  </a:lnTo>
                  <a:lnTo>
                    <a:pt x="5782" y="2105"/>
                  </a:lnTo>
                  <a:lnTo>
                    <a:pt x="5770" y="2110"/>
                  </a:lnTo>
                  <a:lnTo>
                    <a:pt x="5761" y="2115"/>
                  </a:lnTo>
                  <a:lnTo>
                    <a:pt x="5754" y="2125"/>
                  </a:lnTo>
                  <a:lnTo>
                    <a:pt x="5749" y="2136"/>
                  </a:lnTo>
                  <a:lnTo>
                    <a:pt x="5746" y="2151"/>
                  </a:lnTo>
                  <a:lnTo>
                    <a:pt x="5746" y="2169"/>
                  </a:lnTo>
                  <a:lnTo>
                    <a:pt x="5973" y="2169"/>
                  </a:lnTo>
                  <a:lnTo>
                    <a:pt x="6044" y="2350"/>
                  </a:lnTo>
                  <a:lnTo>
                    <a:pt x="6100" y="2350"/>
                  </a:lnTo>
                  <a:lnTo>
                    <a:pt x="6123" y="2350"/>
                  </a:lnTo>
                  <a:lnTo>
                    <a:pt x="6146" y="2352"/>
                  </a:lnTo>
                  <a:lnTo>
                    <a:pt x="6167" y="2355"/>
                  </a:lnTo>
                  <a:lnTo>
                    <a:pt x="6188" y="2360"/>
                  </a:lnTo>
                  <a:lnTo>
                    <a:pt x="6210" y="2365"/>
                  </a:lnTo>
                  <a:lnTo>
                    <a:pt x="6231" y="2370"/>
                  </a:lnTo>
                  <a:lnTo>
                    <a:pt x="6253" y="2377"/>
                  </a:lnTo>
                  <a:lnTo>
                    <a:pt x="6272" y="2385"/>
                  </a:lnTo>
                  <a:lnTo>
                    <a:pt x="6292" y="2395"/>
                  </a:lnTo>
                  <a:lnTo>
                    <a:pt x="6312" y="2405"/>
                  </a:lnTo>
                  <a:lnTo>
                    <a:pt x="6330" y="2414"/>
                  </a:lnTo>
                  <a:lnTo>
                    <a:pt x="6348" y="2426"/>
                  </a:lnTo>
                  <a:lnTo>
                    <a:pt x="6366" y="2439"/>
                  </a:lnTo>
                  <a:lnTo>
                    <a:pt x="6383" y="2452"/>
                  </a:lnTo>
                  <a:lnTo>
                    <a:pt x="6399" y="2465"/>
                  </a:lnTo>
                  <a:lnTo>
                    <a:pt x="6414" y="2480"/>
                  </a:lnTo>
                  <a:lnTo>
                    <a:pt x="6429" y="2497"/>
                  </a:lnTo>
                  <a:lnTo>
                    <a:pt x="6442" y="2512"/>
                  </a:lnTo>
                  <a:lnTo>
                    <a:pt x="6455" y="2530"/>
                  </a:lnTo>
                  <a:lnTo>
                    <a:pt x="6468" y="2546"/>
                  </a:lnTo>
                  <a:lnTo>
                    <a:pt x="6480" y="2564"/>
                  </a:lnTo>
                  <a:lnTo>
                    <a:pt x="6490" y="2582"/>
                  </a:lnTo>
                  <a:lnTo>
                    <a:pt x="6500" y="2602"/>
                  </a:lnTo>
                  <a:lnTo>
                    <a:pt x="6509" y="2622"/>
                  </a:lnTo>
                  <a:lnTo>
                    <a:pt x="6518" y="2642"/>
                  </a:lnTo>
                  <a:lnTo>
                    <a:pt x="6524" y="2663"/>
                  </a:lnTo>
                  <a:lnTo>
                    <a:pt x="6531" y="2684"/>
                  </a:lnTo>
                  <a:lnTo>
                    <a:pt x="6536" y="2706"/>
                  </a:lnTo>
                  <a:lnTo>
                    <a:pt x="6539" y="2727"/>
                  </a:lnTo>
                  <a:lnTo>
                    <a:pt x="6542" y="2749"/>
                  </a:lnTo>
                  <a:lnTo>
                    <a:pt x="6544" y="2772"/>
                  </a:lnTo>
                  <a:lnTo>
                    <a:pt x="6544" y="2795"/>
                  </a:lnTo>
                  <a:lnTo>
                    <a:pt x="6544" y="3555"/>
                  </a:lnTo>
                  <a:lnTo>
                    <a:pt x="4966" y="3555"/>
                  </a:lnTo>
                  <a:lnTo>
                    <a:pt x="4951" y="3576"/>
                  </a:lnTo>
                  <a:lnTo>
                    <a:pt x="4934" y="3598"/>
                  </a:lnTo>
                  <a:lnTo>
                    <a:pt x="4916" y="3618"/>
                  </a:lnTo>
                  <a:lnTo>
                    <a:pt x="4896" y="3634"/>
                  </a:lnTo>
                  <a:lnTo>
                    <a:pt x="5591" y="3805"/>
                  </a:lnTo>
                  <a:lnTo>
                    <a:pt x="5634" y="3817"/>
                  </a:lnTo>
                  <a:lnTo>
                    <a:pt x="5677" y="3830"/>
                  </a:lnTo>
                  <a:lnTo>
                    <a:pt x="5718" y="3846"/>
                  </a:lnTo>
                  <a:lnTo>
                    <a:pt x="5759" y="3864"/>
                  </a:lnTo>
                  <a:lnTo>
                    <a:pt x="5798" y="3884"/>
                  </a:lnTo>
                  <a:lnTo>
                    <a:pt x="5836" y="3907"/>
                  </a:lnTo>
                  <a:lnTo>
                    <a:pt x="5872" y="3934"/>
                  </a:lnTo>
                  <a:lnTo>
                    <a:pt x="5907" y="3960"/>
                  </a:lnTo>
                  <a:lnTo>
                    <a:pt x="5938" y="3991"/>
                  </a:lnTo>
                  <a:lnTo>
                    <a:pt x="5951" y="4008"/>
                  </a:lnTo>
                  <a:lnTo>
                    <a:pt x="5966" y="4024"/>
                  </a:lnTo>
                  <a:lnTo>
                    <a:pt x="5979" y="4040"/>
                  </a:lnTo>
                  <a:lnTo>
                    <a:pt x="5991" y="4059"/>
                  </a:lnTo>
                  <a:lnTo>
                    <a:pt x="6001" y="4078"/>
                  </a:lnTo>
                  <a:lnTo>
                    <a:pt x="6011" y="4098"/>
                  </a:lnTo>
                  <a:lnTo>
                    <a:pt x="6021" y="4118"/>
                  </a:lnTo>
                  <a:lnTo>
                    <a:pt x="6029" y="4139"/>
                  </a:lnTo>
                  <a:lnTo>
                    <a:pt x="6035" y="4161"/>
                  </a:lnTo>
                  <a:lnTo>
                    <a:pt x="6040" y="4182"/>
                  </a:lnTo>
                  <a:lnTo>
                    <a:pt x="6045" y="4205"/>
                  </a:lnTo>
                  <a:lnTo>
                    <a:pt x="6049" y="4230"/>
                  </a:lnTo>
                  <a:lnTo>
                    <a:pt x="6050" y="4254"/>
                  </a:lnTo>
                  <a:lnTo>
                    <a:pt x="6052" y="4279"/>
                  </a:lnTo>
                  <a:lnTo>
                    <a:pt x="6050" y="4304"/>
                  </a:lnTo>
                  <a:lnTo>
                    <a:pt x="6049" y="4329"/>
                  </a:lnTo>
                  <a:lnTo>
                    <a:pt x="6045" y="4352"/>
                  </a:lnTo>
                  <a:lnTo>
                    <a:pt x="6042" y="4376"/>
                  </a:lnTo>
                  <a:lnTo>
                    <a:pt x="6037" y="4399"/>
                  </a:lnTo>
                  <a:lnTo>
                    <a:pt x="6030" y="4422"/>
                  </a:lnTo>
                  <a:lnTo>
                    <a:pt x="6022" y="4444"/>
                  </a:lnTo>
                  <a:lnTo>
                    <a:pt x="6014" y="4467"/>
                  </a:lnTo>
                  <a:lnTo>
                    <a:pt x="6004" y="4488"/>
                  </a:lnTo>
                  <a:lnTo>
                    <a:pt x="5994" y="4508"/>
                  </a:lnTo>
                  <a:lnTo>
                    <a:pt x="5983" y="4528"/>
                  </a:lnTo>
                  <a:lnTo>
                    <a:pt x="5970" y="4547"/>
                  </a:lnTo>
                  <a:lnTo>
                    <a:pt x="5956" y="4567"/>
                  </a:lnTo>
                  <a:lnTo>
                    <a:pt x="5943" y="4585"/>
                  </a:lnTo>
                  <a:lnTo>
                    <a:pt x="5927" y="4603"/>
                  </a:lnTo>
                  <a:lnTo>
                    <a:pt x="5912" y="4620"/>
                  </a:lnTo>
                  <a:lnTo>
                    <a:pt x="5896" y="4636"/>
                  </a:lnTo>
                  <a:lnTo>
                    <a:pt x="5877" y="4651"/>
                  </a:lnTo>
                  <a:lnTo>
                    <a:pt x="5859" y="4666"/>
                  </a:lnTo>
                  <a:lnTo>
                    <a:pt x="5841" y="4679"/>
                  </a:lnTo>
                  <a:lnTo>
                    <a:pt x="5821" y="4692"/>
                  </a:lnTo>
                  <a:lnTo>
                    <a:pt x="5802" y="4704"/>
                  </a:lnTo>
                  <a:lnTo>
                    <a:pt x="5782" y="4714"/>
                  </a:lnTo>
                  <a:lnTo>
                    <a:pt x="5761" y="4724"/>
                  </a:lnTo>
                  <a:lnTo>
                    <a:pt x="5739" y="4733"/>
                  </a:lnTo>
                  <a:lnTo>
                    <a:pt x="5716" y="4740"/>
                  </a:lnTo>
                  <a:lnTo>
                    <a:pt x="5695" y="4747"/>
                  </a:lnTo>
                  <a:lnTo>
                    <a:pt x="5672" y="4753"/>
                  </a:lnTo>
                  <a:lnTo>
                    <a:pt x="5647" y="4756"/>
                  </a:lnTo>
                  <a:lnTo>
                    <a:pt x="5624" y="4760"/>
                  </a:lnTo>
                  <a:lnTo>
                    <a:pt x="5599" y="4761"/>
                  </a:lnTo>
                  <a:lnTo>
                    <a:pt x="5575" y="4763"/>
                  </a:lnTo>
                  <a:lnTo>
                    <a:pt x="2867" y="4763"/>
                  </a:lnTo>
                  <a:lnTo>
                    <a:pt x="2842" y="4761"/>
                  </a:lnTo>
                  <a:lnTo>
                    <a:pt x="2819" y="4760"/>
                  </a:lnTo>
                  <a:lnTo>
                    <a:pt x="2795" y="4756"/>
                  </a:lnTo>
                  <a:lnTo>
                    <a:pt x="2772" y="4753"/>
                  </a:lnTo>
                  <a:lnTo>
                    <a:pt x="2749" y="4748"/>
                  </a:lnTo>
                  <a:lnTo>
                    <a:pt x="2726" y="4742"/>
                  </a:lnTo>
                  <a:lnTo>
                    <a:pt x="2704" y="4733"/>
                  </a:lnTo>
                  <a:lnTo>
                    <a:pt x="2681" y="4725"/>
                  </a:lnTo>
                  <a:lnTo>
                    <a:pt x="2661" y="4715"/>
                  </a:lnTo>
                  <a:lnTo>
                    <a:pt x="2640" y="4705"/>
                  </a:lnTo>
                  <a:lnTo>
                    <a:pt x="2620" y="4694"/>
                  </a:lnTo>
                  <a:lnTo>
                    <a:pt x="2600" y="4681"/>
                  </a:lnTo>
                  <a:lnTo>
                    <a:pt x="2582" y="4668"/>
                  </a:lnTo>
                  <a:lnTo>
                    <a:pt x="2564" y="4654"/>
                  </a:lnTo>
                  <a:lnTo>
                    <a:pt x="2548" y="4638"/>
                  </a:lnTo>
                  <a:lnTo>
                    <a:pt x="2530" y="4623"/>
                  </a:lnTo>
                  <a:lnTo>
                    <a:pt x="2515" y="4607"/>
                  </a:lnTo>
                  <a:lnTo>
                    <a:pt x="2500" y="4589"/>
                  </a:lnTo>
                  <a:lnTo>
                    <a:pt x="2485" y="4570"/>
                  </a:lnTo>
                  <a:lnTo>
                    <a:pt x="2472" y="4552"/>
                  </a:lnTo>
                  <a:lnTo>
                    <a:pt x="2461" y="4533"/>
                  </a:lnTo>
                  <a:lnTo>
                    <a:pt x="2449" y="4513"/>
                  </a:lnTo>
                  <a:lnTo>
                    <a:pt x="2438" y="4493"/>
                  </a:lnTo>
                  <a:lnTo>
                    <a:pt x="2428" y="4472"/>
                  </a:lnTo>
                  <a:lnTo>
                    <a:pt x="2419" y="4450"/>
                  </a:lnTo>
                  <a:lnTo>
                    <a:pt x="2413" y="4427"/>
                  </a:lnTo>
                  <a:lnTo>
                    <a:pt x="2406" y="4406"/>
                  </a:lnTo>
                  <a:lnTo>
                    <a:pt x="2401" y="4383"/>
                  </a:lnTo>
                  <a:lnTo>
                    <a:pt x="2396" y="4358"/>
                  </a:lnTo>
                  <a:lnTo>
                    <a:pt x="2393" y="4335"/>
                  </a:lnTo>
                  <a:lnTo>
                    <a:pt x="2391" y="4310"/>
                  </a:lnTo>
                  <a:lnTo>
                    <a:pt x="2391" y="4286"/>
                  </a:lnTo>
                  <a:lnTo>
                    <a:pt x="2391" y="4261"/>
                  </a:lnTo>
                  <a:lnTo>
                    <a:pt x="2393" y="4236"/>
                  </a:lnTo>
                  <a:lnTo>
                    <a:pt x="2396" y="4212"/>
                  </a:lnTo>
                  <a:lnTo>
                    <a:pt x="2401" y="4189"/>
                  </a:lnTo>
                  <a:lnTo>
                    <a:pt x="2406" y="4167"/>
                  </a:lnTo>
                  <a:lnTo>
                    <a:pt x="2414" y="4144"/>
                  </a:lnTo>
                  <a:lnTo>
                    <a:pt x="2421" y="4123"/>
                  </a:lnTo>
                  <a:lnTo>
                    <a:pt x="2431" y="4103"/>
                  </a:lnTo>
                  <a:lnTo>
                    <a:pt x="2441" y="4083"/>
                  </a:lnTo>
                  <a:lnTo>
                    <a:pt x="2451" y="4064"/>
                  </a:lnTo>
                  <a:lnTo>
                    <a:pt x="2464" y="4045"/>
                  </a:lnTo>
                  <a:lnTo>
                    <a:pt x="2475" y="4027"/>
                  </a:lnTo>
                  <a:lnTo>
                    <a:pt x="2490" y="4011"/>
                  </a:lnTo>
                  <a:lnTo>
                    <a:pt x="2503" y="3994"/>
                  </a:lnTo>
                  <a:lnTo>
                    <a:pt x="2535" y="3963"/>
                  </a:lnTo>
                  <a:lnTo>
                    <a:pt x="2569" y="3935"/>
                  </a:lnTo>
                  <a:lnTo>
                    <a:pt x="2605" y="3909"/>
                  </a:lnTo>
                  <a:lnTo>
                    <a:pt x="2643" y="3886"/>
                  </a:lnTo>
                  <a:lnTo>
                    <a:pt x="2683" y="3864"/>
                  </a:lnTo>
                  <a:lnTo>
                    <a:pt x="2724" y="3846"/>
                  </a:lnTo>
                  <a:lnTo>
                    <a:pt x="2767" y="3830"/>
                  </a:lnTo>
                  <a:lnTo>
                    <a:pt x="2810" y="3817"/>
                  </a:lnTo>
                  <a:lnTo>
                    <a:pt x="2852" y="3805"/>
                  </a:lnTo>
                  <a:lnTo>
                    <a:pt x="3491" y="3655"/>
                  </a:lnTo>
                  <a:lnTo>
                    <a:pt x="3463" y="3634"/>
                  </a:lnTo>
                  <a:lnTo>
                    <a:pt x="3437" y="3609"/>
                  </a:lnTo>
                  <a:lnTo>
                    <a:pt x="3414" y="3583"/>
                  </a:lnTo>
                  <a:lnTo>
                    <a:pt x="3394" y="3555"/>
                  </a:lnTo>
                  <a:lnTo>
                    <a:pt x="3177" y="3555"/>
                  </a:lnTo>
                  <a:lnTo>
                    <a:pt x="3147" y="3553"/>
                  </a:lnTo>
                  <a:lnTo>
                    <a:pt x="3117" y="3548"/>
                  </a:lnTo>
                  <a:lnTo>
                    <a:pt x="3091" y="3540"/>
                  </a:lnTo>
                  <a:lnTo>
                    <a:pt x="3065" y="3530"/>
                  </a:lnTo>
                  <a:lnTo>
                    <a:pt x="3042" y="3517"/>
                  </a:lnTo>
                  <a:lnTo>
                    <a:pt x="3019" y="3502"/>
                  </a:lnTo>
                  <a:lnTo>
                    <a:pt x="2999" y="3484"/>
                  </a:lnTo>
                  <a:lnTo>
                    <a:pt x="2979" y="3464"/>
                  </a:lnTo>
                  <a:lnTo>
                    <a:pt x="2961" y="3443"/>
                  </a:lnTo>
                  <a:lnTo>
                    <a:pt x="2944" y="3418"/>
                  </a:lnTo>
                  <a:lnTo>
                    <a:pt x="2928" y="3394"/>
                  </a:lnTo>
                  <a:lnTo>
                    <a:pt x="2915" y="3367"/>
                  </a:lnTo>
                  <a:lnTo>
                    <a:pt x="2902" y="3339"/>
                  </a:lnTo>
                  <a:lnTo>
                    <a:pt x="2890" y="3310"/>
                  </a:lnTo>
                  <a:lnTo>
                    <a:pt x="2879" y="3280"/>
                  </a:lnTo>
                  <a:lnTo>
                    <a:pt x="2869" y="3249"/>
                  </a:lnTo>
                  <a:lnTo>
                    <a:pt x="2861" y="3218"/>
                  </a:lnTo>
                  <a:lnTo>
                    <a:pt x="2852" y="3186"/>
                  </a:lnTo>
                  <a:lnTo>
                    <a:pt x="2839" y="3122"/>
                  </a:lnTo>
                  <a:lnTo>
                    <a:pt x="2829" y="3058"/>
                  </a:lnTo>
                  <a:lnTo>
                    <a:pt x="2823" y="2994"/>
                  </a:lnTo>
                  <a:lnTo>
                    <a:pt x="2818" y="2934"/>
                  </a:lnTo>
                  <a:lnTo>
                    <a:pt x="2814" y="2879"/>
                  </a:lnTo>
                  <a:lnTo>
                    <a:pt x="2813" y="2828"/>
                  </a:lnTo>
                  <a:lnTo>
                    <a:pt x="2811" y="2783"/>
                  </a:lnTo>
                  <a:lnTo>
                    <a:pt x="2813" y="2693"/>
                  </a:lnTo>
                  <a:lnTo>
                    <a:pt x="2816" y="2604"/>
                  </a:lnTo>
                  <a:lnTo>
                    <a:pt x="2823" y="2515"/>
                  </a:lnTo>
                  <a:lnTo>
                    <a:pt x="2833" y="2428"/>
                  </a:lnTo>
                  <a:lnTo>
                    <a:pt x="2844" y="2340"/>
                  </a:lnTo>
                  <a:lnTo>
                    <a:pt x="2859" y="2255"/>
                  </a:lnTo>
                  <a:lnTo>
                    <a:pt x="2875" y="2168"/>
                  </a:lnTo>
                  <a:lnTo>
                    <a:pt x="2895" y="2084"/>
                  </a:lnTo>
                  <a:lnTo>
                    <a:pt x="2916" y="1998"/>
                  </a:lnTo>
                  <a:lnTo>
                    <a:pt x="2940" y="1914"/>
                  </a:lnTo>
                  <a:lnTo>
                    <a:pt x="2966" y="1830"/>
                  </a:lnTo>
                  <a:lnTo>
                    <a:pt x="2995" y="1746"/>
                  </a:lnTo>
                  <a:lnTo>
                    <a:pt x="3025" y="1664"/>
                  </a:lnTo>
                  <a:lnTo>
                    <a:pt x="3058" y="1582"/>
                  </a:lnTo>
                  <a:lnTo>
                    <a:pt x="3094" y="1499"/>
                  </a:lnTo>
                  <a:lnTo>
                    <a:pt x="3130" y="1417"/>
                  </a:lnTo>
                  <a:lnTo>
                    <a:pt x="4939" y="1417"/>
                  </a:lnTo>
                  <a:lnTo>
                    <a:pt x="4939" y="2350"/>
                  </a:lnTo>
                  <a:lnTo>
                    <a:pt x="5007" y="2350"/>
                  </a:lnTo>
                  <a:lnTo>
                    <a:pt x="5071" y="2169"/>
                  </a:lnTo>
                  <a:lnTo>
                    <a:pt x="5614" y="2169"/>
                  </a:lnTo>
                  <a:close/>
                  <a:moveTo>
                    <a:pt x="3181" y="3170"/>
                  </a:moveTo>
                  <a:lnTo>
                    <a:pt x="3181" y="3170"/>
                  </a:lnTo>
                  <a:lnTo>
                    <a:pt x="3172" y="3135"/>
                  </a:lnTo>
                  <a:lnTo>
                    <a:pt x="3163" y="3097"/>
                  </a:lnTo>
                  <a:lnTo>
                    <a:pt x="3155" y="3053"/>
                  </a:lnTo>
                  <a:lnTo>
                    <a:pt x="3149" y="3007"/>
                  </a:lnTo>
                  <a:lnTo>
                    <a:pt x="3142" y="2956"/>
                  </a:lnTo>
                  <a:lnTo>
                    <a:pt x="3139" y="2902"/>
                  </a:lnTo>
                  <a:lnTo>
                    <a:pt x="3135" y="2844"/>
                  </a:lnTo>
                  <a:lnTo>
                    <a:pt x="3134" y="2783"/>
                  </a:lnTo>
                  <a:lnTo>
                    <a:pt x="3135" y="2716"/>
                  </a:lnTo>
                  <a:lnTo>
                    <a:pt x="3137" y="2648"/>
                  </a:lnTo>
                  <a:lnTo>
                    <a:pt x="3142" y="2582"/>
                  </a:lnTo>
                  <a:lnTo>
                    <a:pt x="3147" y="2515"/>
                  </a:lnTo>
                  <a:lnTo>
                    <a:pt x="3155" y="2449"/>
                  </a:lnTo>
                  <a:lnTo>
                    <a:pt x="3165" y="2383"/>
                  </a:lnTo>
                  <a:lnTo>
                    <a:pt x="3175" y="2317"/>
                  </a:lnTo>
                  <a:lnTo>
                    <a:pt x="3188" y="2251"/>
                  </a:lnTo>
                  <a:lnTo>
                    <a:pt x="3201" y="2186"/>
                  </a:lnTo>
                  <a:lnTo>
                    <a:pt x="3216" y="2121"/>
                  </a:lnTo>
                  <a:lnTo>
                    <a:pt x="3234" y="2057"/>
                  </a:lnTo>
                  <a:lnTo>
                    <a:pt x="3252" y="1993"/>
                  </a:lnTo>
                  <a:lnTo>
                    <a:pt x="3272" y="1929"/>
                  </a:lnTo>
                  <a:lnTo>
                    <a:pt x="3292" y="1865"/>
                  </a:lnTo>
                  <a:lnTo>
                    <a:pt x="3315" y="1802"/>
                  </a:lnTo>
                  <a:lnTo>
                    <a:pt x="3338" y="1740"/>
                  </a:lnTo>
                  <a:lnTo>
                    <a:pt x="4617" y="1740"/>
                  </a:lnTo>
                  <a:lnTo>
                    <a:pt x="4617" y="2778"/>
                  </a:lnTo>
                  <a:lnTo>
                    <a:pt x="3739" y="3232"/>
                  </a:lnTo>
                  <a:lnTo>
                    <a:pt x="3206" y="3232"/>
                  </a:lnTo>
                  <a:lnTo>
                    <a:pt x="3193" y="3201"/>
                  </a:lnTo>
                  <a:lnTo>
                    <a:pt x="3181" y="3170"/>
                  </a:lnTo>
                  <a:close/>
                  <a:moveTo>
                    <a:pt x="4213" y="2839"/>
                  </a:moveTo>
                  <a:lnTo>
                    <a:pt x="4485" y="2699"/>
                  </a:lnTo>
                  <a:lnTo>
                    <a:pt x="4485" y="1871"/>
                  </a:lnTo>
                  <a:lnTo>
                    <a:pt x="4213" y="1871"/>
                  </a:lnTo>
                  <a:lnTo>
                    <a:pt x="4213" y="2839"/>
                  </a:lnTo>
                  <a:close/>
                  <a:moveTo>
                    <a:pt x="3298" y="3101"/>
                  </a:moveTo>
                  <a:lnTo>
                    <a:pt x="3707" y="3101"/>
                  </a:lnTo>
                  <a:lnTo>
                    <a:pt x="4082" y="2907"/>
                  </a:lnTo>
                  <a:lnTo>
                    <a:pt x="4082" y="1871"/>
                  </a:lnTo>
                  <a:lnTo>
                    <a:pt x="3428" y="1871"/>
                  </a:lnTo>
                  <a:lnTo>
                    <a:pt x="3409" y="1931"/>
                  </a:lnTo>
                  <a:lnTo>
                    <a:pt x="3389" y="1988"/>
                  </a:lnTo>
                  <a:lnTo>
                    <a:pt x="3371" y="2047"/>
                  </a:lnTo>
                  <a:lnTo>
                    <a:pt x="3354" y="2107"/>
                  </a:lnTo>
                  <a:lnTo>
                    <a:pt x="3341" y="2166"/>
                  </a:lnTo>
                  <a:lnTo>
                    <a:pt x="3326" y="2225"/>
                  </a:lnTo>
                  <a:lnTo>
                    <a:pt x="3315" y="2284"/>
                  </a:lnTo>
                  <a:lnTo>
                    <a:pt x="3305" y="2342"/>
                  </a:lnTo>
                  <a:lnTo>
                    <a:pt x="3295" y="2400"/>
                  </a:lnTo>
                  <a:lnTo>
                    <a:pt x="3287" y="2457"/>
                  </a:lnTo>
                  <a:lnTo>
                    <a:pt x="3280" y="2515"/>
                  </a:lnTo>
                  <a:lnTo>
                    <a:pt x="3275" y="2571"/>
                  </a:lnTo>
                  <a:lnTo>
                    <a:pt x="3270" y="2625"/>
                  </a:lnTo>
                  <a:lnTo>
                    <a:pt x="3269" y="2679"/>
                  </a:lnTo>
                  <a:lnTo>
                    <a:pt x="3267" y="2730"/>
                  </a:lnTo>
                  <a:lnTo>
                    <a:pt x="3265" y="2781"/>
                  </a:lnTo>
                  <a:lnTo>
                    <a:pt x="3267" y="2832"/>
                  </a:lnTo>
                  <a:lnTo>
                    <a:pt x="3269" y="2880"/>
                  </a:lnTo>
                  <a:lnTo>
                    <a:pt x="3272" y="2925"/>
                  </a:lnTo>
                  <a:lnTo>
                    <a:pt x="3275" y="2967"/>
                  </a:lnTo>
                  <a:lnTo>
                    <a:pt x="3280" y="3005"/>
                  </a:lnTo>
                  <a:lnTo>
                    <a:pt x="3285" y="3040"/>
                  </a:lnTo>
                  <a:lnTo>
                    <a:pt x="3292" y="3071"/>
                  </a:lnTo>
                  <a:lnTo>
                    <a:pt x="3298" y="3101"/>
                  </a:lnTo>
                  <a:close/>
                  <a:moveTo>
                    <a:pt x="3698" y="2413"/>
                  </a:moveTo>
                  <a:lnTo>
                    <a:pt x="3868" y="2245"/>
                  </a:lnTo>
                  <a:lnTo>
                    <a:pt x="3960" y="2337"/>
                  </a:lnTo>
                  <a:lnTo>
                    <a:pt x="3792" y="2507"/>
                  </a:lnTo>
                  <a:lnTo>
                    <a:pt x="3698" y="2413"/>
                  </a:lnTo>
                  <a:close/>
                  <a:moveTo>
                    <a:pt x="3407" y="2413"/>
                  </a:moveTo>
                  <a:lnTo>
                    <a:pt x="3794" y="2028"/>
                  </a:lnTo>
                  <a:lnTo>
                    <a:pt x="3888" y="2120"/>
                  </a:lnTo>
                  <a:lnTo>
                    <a:pt x="3501" y="2507"/>
                  </a:lnTo>
                  <a:lnTo>
                    <a:pt x="3407" y="2413"/>
                  </a:lnTo>
                  <a:close/>
                  <a:moveTo>
                    <a:pt x="5492" y="4531"/>
                  </a:moveTo>
                  <a:lnTo>
                    <a:pt x="5481" y="4531"/>
                  </a:lnTo>
                  <a:lnTo>
                    <a:pt x="5492" y="4531"/>
                  </a:lnTo>
                  <a:close/>
                  <a:moveTo>
                    <a:pt x="2428" y="3055"/>
                  </a:moveTo>
                  <a:lnTo>
                    <a:pt x="1995" y="3320"/>
                  </a:lnTo>
                  <a:lnTo>
                    <a:pt x="1310" y="3277"/>
                  </a:lnTo>
                  <a:lnTo>
                    <a:pt x="1091" y="3412"/>
                  </a:lnTo>
                  <a:lnTo>
                    <a:pt x="1211" y="3555"/>
                  </a:lnTo>
                  <a:lnTo>
                    <a:pt x="1211" y="3884"/>
                  </a:lnTo>
                  <a:lnTo>
                    <a:pt x="1213" y="3901"/>
                  </a:lnTo>
                  <a:lnTo>
                    <a:pt x="1216" y="3917"/>
                  </a:lnTo>
                  <a:lnTo>
                    <a:pt x="1223" y="3935"/>
                  </a:lnTo>
                  <a:lnTo>
                    <a:pt x="1231" y="3952"/>
                  </a:lnTo>
                  <a:lnTo>
                    <a:pt x="1241" y="3968"/>
                  </a:lnTo>
                  <a:lnTo>
                    <a:pt x="1254" y="3985"/>
                  </a:lnTo>
                  <a:lnTo>
                    <a:pt x="1269" y="4001"/>
                  </a:lnTo>
                  <a:lnTo>
                    <a:pt x="1285" y="4016"/>
                  </a:lnTo>
                  <a:lnTo>
                    <a:pt x="1304" y="4031"/>
                  </a:lnTo>
                  <a:lnTo>
                    <a:pt x="1323" y="4045"/>
                  </a:lnTo>
                  <a:lnTo>
                    <a:pt x="1343" y="4059"/>
                  </a:lnTo>
                  <a:lnTo>
                    <a:pt x="1366" y="4072"/>
                  </a:lnTo>
                  <a:lnTo>
                    <a:pt x="1389" y="4083"/>
                  </a:lnTo>
                  <a:lnTo>
                    <a:pt x="1412" y="4095"/>
                  </a:lnTo>
                  <a:lnTo>
                    <a:pt x="1437" y="4103"/>
                  </a:lnTo>
                  <a:lnTo>
                    <a:pt x="1463" y="4111"/>
                  </a:lnTo>
                  <a:lnTo>
                    <a:pt x="1490" y="4118"/>
                  </a:lnTo>
                  <a:lnTo>
                    <a:pt x="1516" y="4123"/>
                  </a:lnTo>
                  <a:lnTo>
                    <a:pt x="1542" y="4126"/>
                  </a:lnTo>
                  <a:lnTo>
                    <a:pt x="1570" y="4128"/>
                  </a:lnTo>
                  <a:lnTo>
                    <a:pt x="1596" y="4128"/>
                  </a:lnTo>
                  <a:lnTo>
                    <a:pt x="1624" y="4126"/>
                  </a:lnTo>
                  <a:lnTo>
                    <a:pt x="1651" y="4121"/>
                  </a:lnTo>
                  <a:lnTo>
                    <a:pt x="1677" y="4115"/>
                  </a:lnTo>
                  <a:lnTo>
                    <a:pt x="1703" y="4106"/>
                  </a:lnTo>
                  <a:lnTo>
                    <a:pt x="1730" y="4095"/>
                  </a:lnTo>
                  <a:lnTo>
                    <a:pt x="1755" y="4082"/>
                  </a:lnTo>
                  <a:lnTo>
                    <a:pt x="1778" y="4065"/>
                  </a:lnTo>
                  <a:lnTo>
                    <a:pt x="1801" y="4045"/>
                  </a:lnTo>
                  <a:lnTo>
                    <a:pt x="1822" y="4022"/>
                  </a:lnTo>
                  <a:lnTo>
                    <a:pt x="1843" y="3998"/>
                  </a:lnTo>
                  <a:lnTo>
                    <a:pt x="1861" y="3970"/>
                  </a:lnTo>
                  <a:lnTo>
                    <a:pt x="2428" y="3055"/>
                  </a:lnTo>
                  <a:close/>
                  <a:moveTo>
                    <a:pt x="596" y="346"/>
                  </a:moveTo>
                  <a:lnTo>
                    <a:pt x="742" y="604"/>
                  </a:lnTo>
                  <a:lnTo>
                    <a:pt x="1926" y="816"/>
                  </a:lnTo>
                  <a:lnTo>
                    <a:pt x="596" y="346"/>
                  </a:lnTo>
                  <a:close/>
                  <a:moveTo>
                    <a:pt x="377" y="1493"/>
                  </a:moveTo>
                  <a:lnTo>
                    <a:pt x="635" y="3144"/>
                  </a:lnTo>
                  <a:lnTo>
                    <a:pt x="890" y="2882"/>
                  </a:lnTo>
                  <a:lnTo>
                    <a:pt x="377" y="1493"/>
                  </a:lnTo>
                  <a:close/>
                  <a:moveTo>
                    <a:pt x="273" y="833"/>
                  </a:moveTo>
                  <a:lnTo>
                    <a:pt x="1154" y="3218"/>
                  </a:lnTo>
                  <a:lnTo>
                    <a:pt x="1276" y="3142"/>
                  </a:lnTo>
                  <a:lnTo>
                    <a:pt x="1297" y="3144"/>
                  </a:lnTo>
                  <a:lnTo>
                    <a:pt x="625" y="665"/>
                  </a:lnTo>
                  <a:lnTo>
                    <a:pt x="407" y="280"/>
                  </a:lnTo>
                  <a:lnTo>
                    <a:pt x="402" y="276"/>
                  </a:lnTo>
                  <a:lnTo>
                    <a:pt x="403" y="272"/>
                  </a:lnTo>
                  <a:lnTo>
                    <a:pt x="328" y="140"/>
                  </a:lnTo>
                  <a:lnTo>
                    <a:pt x="324" y="137"/>
                  </a:lnTo>
                  <a:lnTo>
                    <a:pt x="318" y="133"/>
                  </a:lnTo>
                  <a:lnTo>
                    <a:pt x="309" y="132"/>
                  </a:lnTo>
                  <a:lnTo>
                    <a:pt x="300" y="132"/>
                  </a:lnTo>
                  <a:lnTo>
                    <a:pt x="290" y="133"/>
                  </a:lnTo>
                  <a:lnTo>
                    <a:pt x="280" y="137"/>
                  </a:lnTo>
                  <a:lnTo>
                    <a:pt x="273" y="142"/>
                  </a:lnTo>
                  <a:lnTo>
                    <a:pt x="268" y="150"/>
                  </a:lnTo>
                  <a:lnTo>
                    <a:pt x="214" y="283"/>
                  </a:lnTo>
                  <a:lnTo>
                    <a:pt x="140" y="472"/>
                  </a:lnTo>
                  <a:lnTo>
                    <a:pt x="272" y="829"/>
                  </a:lnTo>
                  <a:lnTo>
                    <a:pt x="273" y="833"/>
                  </a:lnTo>
                  <a:close/>
                  <a:moveTo>
                    <a:pt x="1080" y="3613"/>
                  </a:moveTo>
                  <a:lnTo>
                    <a:pt x="568" y="3348"/>
                  </a:lnTo>
                  <a:lnTo>
                    <a:pt x="560" y="3343"/>
                  </a:lnTo>
                  <a:lnTo>
                    <a:pt x="550" y="3336"/>
                  </a:lnTo>
                  <a:lnTo>
                    <a:pt x="543" y="3329"/>
                  </a:lnTo>
                  <a:lnTo>
                    <a:pt x="537" y="3321"/>
                  </a:lnTo>
                  <a:lnTo>
                    <a:pt x="530" y="3313"/>
                  </a:lnTo>
                  <a:lnTo>
                    <a:pt x="527" y="3303"/>
                  </a:lnTo>
                  <a:lnTo>
                    <a:pt x="525" y="3293"/>
                  </a:lnTo>
                  <a:lnTo>
                    <a:pt x="523" y="3282"/>
                  </a:lnTo>
                  <a:lnTo>
                    <a:pt x="145" y="866"/>
                  </a:lnTo>
                  <a:lnTo>
                    <a:pt x="0" y="476"/>
                  </a:lnTo>
                  <a:lnTo>
                    <a:pt x="15" y="430"/>
                  </a:lnTo>
                  <a:lnTo>
                    <a:pt x="31" y="382"/>
                  </a:lnTo>
                  <a:lnTo>
                    <a:pt x="49" y="334"/>
                  </a:lnTo>
                  <a:lnTo>
                    <a:pt x="69" y="286"/>
                  </a:lnTo>
                  <a:lnTo>
                    <a:pt x="109" y="191"/>
                  </a:lnTo>
                  <a:lnTo>
                    <a:pt x="146" y="100"/>
                  </a:lnTo>
                  <a:lnTo>
                    <a:pt x="156" y="79"/>
                  </a:lnTo>
                  <a:lnTo>
                    <a:pt x="170" y="59"/>
                  </a:lnTo>
                  <a:lnTo>
                    <a:pt x="186" y="43"/>
                  </a:lnTo>
                  <a:lnTo>
                    <a:pt x="204" y="30"/>
                  </a:lnTo>
                  <a:lnTo>
                    <a:pt x="224" y="18"/>
                  </a:lnTo>
                  <a:lnTo>
                    <a:pt x="245" y="10"/>
                  </a:lnTo>
                  <a:lnTo>
                    <a:pt x="267" y="3"/>
                  </a:lnTo>
                  <a:lnTo>
                    <a:pt x="290" y="0"/>
                  </a:lnTo>
                  <a:lnTo>
                    <a:pt x="313" y="0"/>
                  </a:lnTo>
                  <a:lnTo>
                    <a:pt x="334" y="3"/>
                  </a:lnTo>
                  <a:lnTo>
                    <a:pt x="357" y="8"/>
                  </a:lnTo>
                  <a:lnTo>
                    <a:pt x="377" y="16"/>
                  </a:lnTo>
                  <a:lnTo>
                    <a:pt x="397" y="26"/>
                  </a:lnTo>
                  <a:lnTo>
                    <a:pt x="415" y="39"/>
                  </a:lnTo>
                  <a:lnTo>
                    <a:pt x="430" y="56"/>
                  </a:lnTo>
                  <a:lnTo>
                    <a:pt x="443" y="76"/>
                  </a:lnTo>
                  <a:lnTo>
                    <a:pt x="497" y="171"/>
                  </a:lnTo>
                  <a:lnTo>
                    <a:pt x="2726" y="960"/>
                  </a:lnTo>
                  <a:lnTo>
                    <a:pt x="2847" y="981"/>
                  </a:lnTo>
                  <a:lnTo>
                    <a:pt x="2892" y="989"/>
                  </a:lnTo>
                  <a:lnTo>
                    <a:pt x="2935" y="1001"/>
                  </a:lnTo>
                  <a:lnTo>
                    <a:pt x="2976" y="1012"/>
                  </a:lnTo>
                  <a:lnTo>
                    <a:pt x="3015" y="1025"/>
                  </a:lnTo>
                  <a:lnTo>
                    <a:pt x="3055" y="1042"/>
                  </a:lnTo>
                  <a:lnTo>
                    <a:pt x="3093" y="1058"/>
                  </a:lnTo>
                  <a:lnTo>
                    <a:pt x="3129" y="1076"/>
                  </a:lnTo>
                  <a:lnTo>
                    <a:pt x="3163" y="1094"/>
                  </a:lnTo>
                  <a:lnTo>
                    <a:pt x="3198" y="1116"/>
                  </a:lnTo>
                  <a:lnTo>
                    <a:pt x="3231" y="1137"/>
                  </a:lnTo>
                  <a:lnTo>
                    <a:pt x="3264" y="1159"/>
                  </a:lnTo>
                  <a:lnTo>
                    <a:pt x="3297" y="1183"/>
                  </a:lnTo>
                  <a:lnTo>
                    <a:pt x="3328" y="1208"/>
                  </a:lnTo>
                  <a:lnTo>
                    <a:pt x="3359" y="1233"/>
                  </a:lnTo>
                  <a:lnTo>
                    <a:pt x="3420" y="1285"/>
                  </a:lnTo>
                  <a:lnTo>
                    <a:pt x="3213" y="1285"/>
                  </a:lnTo>
                  <a:lnTo>
                    <a:pt x="3172" y="1256"/>
                  </a:lnTo>
                  <a:lnTo>
                    <a:pt x="3130" y="1228"/>
                  </a:lnTo>
                  <a:lnTo>
                    <a:pt x="3086" y="1201"/>
                  </a:lnTo>
                  <a:lnTo>
                    <a:pt x="3040" y="1177"/>
                  </a:lnTo>
                  <a:lnTo>
                    <a:pt x="2991" y="1157"/>
                  </a:lnTo>
                  <a:lnTo>
                    <a:pt x="2938" y="1137"/>
                  </a:lnTo>
                  <a:lnTo>
                    <a:pt x="2884" y="1122"/>
                  </a:lnTo>
                  <a:lnTo>
                    <a:pt x="2824" y="1109"/>
                  </a:lnTo>
                  <a:lnTo>
                    <a:pt x="2696" y="1088"/>
                  </a:lnTo>
                  <a:lnTo>
                    <a:pt x="2693" y="1086"/>
                  </a:lnTo>
                  <a:lnTo>
                    <a:pt x="783" y="746"/>
                  </a:lnTo>
                  <a:lnTo>
                    <a:pt x="816" y="871"/>
                  </a:lnTo>
                  <a:lnTo>
                    <a:pt x="983" y="917"/>
                  </a:lnTo>
                  <a:lnTo>
                    <a:pt x="1211" y="981"/>
                  </a:lnTo>
                  <a:lnTo>
                    <a:pt x="1345" y="1020"/>
                  </a:lnTo>
                  <a:lnTo>
                    <a:pt x="1486" y="1063"/>
                  </a:lnTo>
                  <a:lnTo>
                    <a:pt x="1634" y="1109"/>
                  </a:lnTo>
                  <a:lnTo>
                    <a:pt x="1787" y="1159"/>
                  </a:lnTo>
                  <a:lnTo>
                    <a:pt x="1942" y="1211"/>
                  </a:lnTo>
                  <a:lnTo>
                    <a:pt x="2097" y="1266"/>
                  </a:lnTo>
                  <a:lnTo>
                    <a:pt x="2250" y="1322"/>
                  </a:lnTo>
                  <a:lnTo>
                    <a:pt x="2398" y="1381"/>
                  </a:lnTo>
                  <a:lnTo>
                    <a:pt x="2469" y="1410"/>
                  </a:lnTo>
                  <a:lnTo>
                    <a:pt x="2538" y="1440"/>
                  </a:lnTo>
                  <a:lnTo>
                    <a:pt x="2605" y="1470"/>
                  </a:lnTo>
                  <a:lnTo>
                    <a:pt x="2670" y="1501"/>
                  </a:lnTo>
                  <a:lnTo>
                    <a:pt x="2732" y="1531"/>
                  </a:lnTo>
                  <a:lnTo>
                    <a:pt x="2790" y="1562"/>
                  </a:lnTo>
                  <a:lnTo>
                    <a:pt x="2844" y="1592"/>
                  </a:lnTo>
                  <a:lnTo>
                    <a:pt x="2895" y="1623"/>
                  </a:lnTo>
                  <a:lnTo>
                    <a:pt x="2872" y="1685"/>
                  </a:lnTo>
                  <a:lnTo>
                    <a:pt x="2849" y="1750"/>
                  </a:lnTo>
                  <a:lnTo>
                    <a:pt x="2806" y="1718"/>
                  </a:lnTo>
                  <a:lnTo>
                    <a:pt x="2762" y="1690"/>
                  </a:lnTo>
                  <a:lnTo>
                    <a:pt x="2716" y="1662"/>
                  </a:lnTo>
                  <a:lnTo>
                    <a:pt x="2666" y="1636"/>
                  </a:lnTo>
                  <a:lnTo>
                    <a:pt x="2614" y="1611"/>
                  </a:lnTo>
                  <a:lnTo>
                    <a:pt x="2558" y="1587"/>
                  </a:lnTo>
                  <a:lnTo>
                    <a:pt x="2497" y="1564"/>
                  </a:lnTo>
                  <a:lnTo>
                    <a:pt x="2431" y="1542"/>
                  </a:lnTo>
                  <a:lnTo>
                    <a:pt x="859" y="1027"/>
                  </a:lnTo>
                  <a:lnTo>
                    <a:pt x="1435" y="3152"/>
                  </a:lnTo>
                  <a:lnTo>
                    <a:pt x="1962" y="3185"/>
                  </a:lnTo>
                  <a:lnTo>
                    <a:pt x="2426" y="2902"/>
                  </a:lnTo>
                  <a:lnTo>
                    <a:pt x="2635" y="2969"/>
                  </a:lnTo>
                  <a:lnTo>
                    <a:pt x="1973" y="4039"/>
                  </a:lnTo>
                  <a:lnTo>
                    <a:pt x="1962" y="4059"/>
                  </a:lnTo>
                  <a:lnTo>
                    <a:pt x="1949" y="4077"/>
                  </a:lnTo>
                  <a:lnTo>
                    <a:pt x="1934" y="4095"/>
                  </a:lnTo>
                  <a:lnTo>
                    <a:pt x="1921" y="4111"/>
                  </a:lnTo>
                  <a:lnTo>
                    <a:pt x="1891" y="4141"/>
                  </a:lnTo>
                  <a:lnTo>
                    <a:pt x="1860" y="4169"/>
                  </a:lnTo>
                  <a:lnTo>
                    <a:pt x="1827" y="4190"/>
                  </a:lnTo>
                  <a:lnTo>
                    <a:pt x="1792" y="4210"/>
                  </a:lnTo>
                  <a:lnTo>
                    <a:pt x="1758" y="4226"/>
                  </a:lnTo>
                  <a:lnTo>
                    <a:pt x="1722" y="4240"/>
                  </a:lnTo>
                  <a:lnTo>
                    <a:pt x="1685" y="4250"/>
                  </a:lnTo>
                  <a:lnTo>
                    <a:pt x="1649" y="4256"/>
                  </a:lnTo>
                  <a:lnTo>
                    <a:pt x="1611" y="4259"/>
                  </a:lnTo>
                  <a:lnTo>
                    <a:pt x="1575" y="4259"/>
                  </a:lnTo>
                  <a:lnTo>
                    <a:pt x="1537" y="4258"/>
                  </a:lnTo>
                  <a:lnTo>
                    <a:pt x="1499" y="4254"/>
                  </a:lnTo>
                  <a:lnTo>
                    <a:pt x="1463" y="4248"/>
                  </a:lnTo>
                  <a:lnTo>
                    <a:pt x="1427" y="4238"/>
                  </a:lnTo>
                  <a:lnTo>
                    <a:pt x="1392" y="4228"/>
                  </a:lnTo>
                  <a:lnTo>
                    <a:pt x="1358" y="4215"/>
                  </a:lnTo>
                  <a:lnTo>
                    <a:pt x="1325" y="4198"/>
                  </a:lnTo>
                  <a:lnTo>
                    <a:pt x="1292" y="4182"/>
                  </a:lnTo>
                  <a:lnTo>
                    <a:pt x="1262" y="4164"/>
                  </a:lnTo>
                  <a:lnTo>
                    <a:pt x="1233" y="4144"/>
                  </a:lnTo>
                  <a:lnTo>
                    <a:pt x="1206" y="4123"/>
                  </a:lnTo>
                  <a:lnTo>
                    <a:pt x="1182" y="4100"/>
                  </a:lnTo>
                  <a:lnTo>
                    <a:pt x="1159" y="4075"/>
                  </a:lnTo>
                  <a:lnTo>
                    <a:pt x="1139" y="4050"/>
                  </a:lnTo>
                  <a:lnTo>
                    <a:pt x="1121" y="4024"/>
                  </a:lnTo>
                  <a:lnTo>
                    <a:pt x="1106" y="3998"/>
                  </a:lnTo>
                  <a:lnTo>
                    <a:pt x="1095" y="3970"/>
                  </a:lnTo>
                  <a:lnTo>
                    <a:pt x="1086" y="3942"/>
                  </a:lnTo>
                  <a:lnTo>
                    <a:pt x="1081" y="3914"/>
                  </a:lnTo>
                  <a:lnTo>
                    <a:pt x="1080" y="3884"/>
                  </a:lnTo>
                  <a:lnTo>
                    <a:pt x="1080" y="3613"/>
                  </a:lnTo>
                  <a:close/>
                  <a:moveTo>
                    <a:pt x="699" y="3267"/>
                  </a:moveTo>
                  <a:lnTo>
                    <a:pt x="902" y="3374"/>
                  </a:lnTo>
                  <a:lnTo>
                    <a:pt x="1040" y="3288"/>
                  </a:lnTo>
                  <a:lnTo>
                    <a:pt x="940" y="3018"/>
                  </a:lnTo>
                  <a:lnTo>
                    <a:pt x="699" y="3267"/>
                  </a:lnTo>
                  <a:close/>
                  <a:moveTo>
                    <a:pt x="272" y="829"/>
                  </a:moveTo>
                  <a:lnTo>
                    <a:pt x="273" y="833"/>
                  </a:lnTo>
                  <a:lnTo>
                    <a:pt x="272" y="829"/>
                  </a:lnTo>
                  <a:close/>
                </a:path>
              </a:pathLst>
            </a:custGeom>
            <a:solidFill>
              <a:schemeClr val="tx2"/>
            </a:solidFill>
            <a:ln>
              <a:noFill/>
            </a:ln>
          </p:spPr>
          <p:txBody>
            <a:bodyPr vert="horz" wrap="square" lIns="91296" tIns="45648" rIns="91296" bIns="45648" numCol="1" anchor="t" anchorCtr="0" compatLnSpc="1">
              <a:prstTxWarp prst="textNoShape">
                <a:avLst/>
              </a:prstTxWarp>
            </a:bodyPr>
            <a:lstStyle/>
            <a:p>
              <a:endParaRPr lang="de-DE" sz="1797" dirty="0">
                <a:solidFill>
                  <a:srgbClr val="646464"/>
                </a:solidFill>
                <a:latin typeface="EYInterstate" panose="02000503020000020004" pitchFamily="2" charset="0"/>
              </a:endParaRPr>
            </a:p>
          </p:txBody>
        </p:sp>
      </p:grpSp>
      <p:grpSp>
        <p:nvGrpSpPr>
          <p:cNvPr id="30" name="Group 29"/>
          <p:cNvGrpSpPr/>
          <p:nvPr/>
        </p:nvGrpSpPr>
        <p:grpSpPr>
          <a:xfrm>
            <a:off x="3761754" y="1447268"/>
            <a:ext cx="747027" cy="1124842"/>
            <a:chOff x="3215214" y="1800836"/>
            <a:chExt cx="1098884" cy="1126601"/>
          </a:xfrm>
        </p:grpSpPr>
        <p:cxnSp>
          <p:nvCxnSpPr>
            <p:cNvPr id="23" name="Elbow Connector 22"/>
            <p:cNvCxnSpPr/>
            <p:nvPr/>
          </p:nvCxnSpPr>
          <p:spPr>
            <a:xfrm rot="10800000">
              <a:off x="3215215" y="2243000"/>
              <a:ext cx="1098883" cy="684437"/>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215214" y="1800836"/>
              <a:ext cx="0" cy="880779"/>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sp>
        <p:nvSpPr>
          <p:cNvPr id="100" name="Rounded Rectangle 99"/>
          <p:cNvSpPr/>
          <p:nvPr/>
        </p:nvSpPr>
        <p:spPr>
          <a:xfrm>
            <a:off x="9676788" y="2430432"/>
            <a:ext cx="1961667" cy="839269"/>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IN" sz="2397" b="1" dirty="0">
                <a:solidFill>
                  <a:schemeClr val="tx1"/>
                </a:solidFill>
                <a:latin typeface="EYInterstate" panose="02000503020000020004" pitchFamily="2" charset="0"/>
              </a:rPr>
              <a:t>US$72b</a:t>
            </a:r>
            <a:endParaRPr lang="en-IN" sz="1047" dirty="0">
              <a:solidFill>
                <a:schemeClr val="tx1"/>
              </a:solidFill>
              <a:latin typeface="EYInterstate" panose="02000503020000020004" pitchFamily="2" charset="0"/>
            </a:endParaRPr>
          </a:p>
          <a:p>
            <a:pPr fontAlgn="base">
              <a:spcBef>
                <a:spcPts val="200"/>
              </a:spcBef>
              <a:spcAft>
                <a:spcPts val="200"/>
              </a:spcAft>
              <a:buClr>
                <a:srgbClr val="FFD200"/>
              </a:buClr>
              <a:buSzPct val="70000"/>
              <a:defRPr/>
            </a:pPr>
            <a:r>
              <a:rPr lang="en-IN" sz="1199" dirty="0"/>
              <a:t>Global market for Industrial robots by 2023.</a:t>
            </a:r>
          </a:p>
        </p:txBody>
      </p:sp>
      <p:sp>
        <p:nvSpPr>
          <p:cNvPr id="103" name="Rounded Rectangle 102"/>
          <p:cNvSpPr/>
          <p:nvPr/>
        </p:nvSpPr>
        <p:spPr>
          <a:xfrm>
            <a:off x="8721275" y="1304956"/>
            <a:ext cx="3597513" cy="1321383"/>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397" b="1" dirty="0">
                <a:solidFill>
                  <a:schemeClr val="tx1"/>
                </a:solidFill>
                <a:latin typeface="EYInterstate" panose="02000503020000020004" pitchFamily="2" charset="0"/>
              </a:rPr>
              <a:t>US$67b</a:t>
            </a:r>
          </a:p>
          <a:p>
            <a:r>
              <a:rPr lang="en-US" sz="1197" dirty="0">
                <a:solidFill>
                  <a:schemeClr val="tx1"/>
                </a:solidFill>
                <a:latin typeface="EYInterstate Light" panose="02000506000000020004" pitchFamily="2" charset="0"/>
              </a:rPr>
              <a:t>Global Big data market by 2021</a:t>
            </a:r>
            <a:endParaRPr lang="en-IN" sz="1197" dirty="0">
              <a:solidFill>
                <a:schemeClr val="tx1"/>
              </a:solidFill>
              <a:latin typeface="EYInterstate Light" panose="02000506000000020004" pitchFamily="2" charset="0"/>
            </a:endParaRPr>
          </a:p>
        </p:txBody>
      </p:sp>
      <p:grpSp>
        <p:nvGrpSpPr>
          <p:cNvPr id="42" name="Group 41"/>
          <p:cNvGrpSpPr/>
          <p:nvPr/>
        </p:nvGrpSpPr>
        <p:grpSpPr>
          <a:xfrm>
            <a:off x="6654919" y="1222536"/>
            <a:ext cx="2011564" cy="879404"/>
            <a:chOff x="6655501" y="1220237"/>
            <a:chExt cx="2013660" cy="880320"/>
          </a:xfrm>
        </p:grpSpPr>
        <p:cxnSp>
          <p:nvCxnSpPr>
            <p:cNvPr id="107" name="Elbow Connector 106"/>
            <p:cNvCxnSpPr/>
            <p:nvPr/>
          </p:nvCxnSpPr>
          <p:spPr>
            <a:xfrm flipV="1">
              <a:off x="6655501" y="1660398"/>
              <a:ext cx="2013660" cy="155197"/>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8669161" y="1220237"/>
              <a:ext cx="0" cy="880320"/>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a:off x="9060473" y="3606513"/>
            <a:ext cx="2360556" cy="1018886"/>
            <a:chOff x="8603918" y="2525952"/>
            <a:chExt cx="2364246" cy="1020479"/>
          </a:xfrm>
        </p:grpSpPr>
        <p:sp>
          <p:nvSpPr>
            <p:cNvPr id="111" name="Rounded Rectangle 110"/>
            <p:cNvSpPr/>
            <p:nvPr/>
          </p:nvSpPr>
          <p:spPr>
            <a:xfrm>
              <a:off x="8603918" y="2598093"/>
              <a:ext cx="2364246" cy="948338"/>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397" b="1" dirty="0">
                  <a:solidFill>
                    <a:schemeClr val="tx1"/>
                  </a:solidFill>
                  <a:latin typeface="EYInterstate" panose="02000503020000020004" pitchFamily="2" charset="0"/>
                </a:rPr>
                <a:t>US$13b</a:t>
              </a:r>
            </a:p>
            <a:p>
              <a:r>
                <a:rPr lang="en-IN" sz="1197" dirty="0">
                  <a:solidFill>
                    <a:schemeClr val="tx1"/>
                  </a:solidFill>
                  <a:latin typeface="EYInterstate Light" panose="02000506000000020004" pitchFamily="2" charset="0"/>
                </a:rPr>
                <a:t>Global market for </a:t>
              </a:r>
              <a:r>
                <a:rPr lang="en-IN" sz="1197" dirty="0" smtClean="0">
                  <a:solidFill>
                    <a:schemeClr val="tx1"/>
                  </a:solidFill>
                  <a:latin typeface="EYInterstate Light" panose="02000506000000020004" pitchFamily="2" charset="0"/>
                </a:rPr>
                <a:t>robots </a:t>
              </a:r>
              <a:r>
                <a:rPr lang="en-IN" sz="1197" dirty="0">
                  <a:solidFill>
                    <a:schemeClr val="tx1"/>
                  </a:solidFill>
                  <a:latin typeface="EYInterstate Light" panose="02000506000000020004" pitchFamily="2" charset="0"/>
                </a:rPr>
                <a:t>by 2022</a:t>
              </a:r>
            </a:p>
          </p:txBody>
        </p:sp>
        <p:sp>
          <p:nvSpPr>
            <p:cNvPr id="113" name="Freeform 46"/>
            <p:cNvSpPr>
              <a:spLocks noEditPoints="1"/>
            </p:cNvSpPr>
            <p:nvPr/>
          </p:nvSpPr>
          <p:spPr bwMode="auto">
            <a:xfrm flipH="1">
              <a:off x="10229180" y="2525952"/>
              <a:ext cx="658609" cy="464900"/>
            </a:xfrm>
            <a:custGeom>
              <a:avLst/>
              <a:gdLst>
                <a:gd name="T0" fmla="*/ 89 w 407"/>
                <a:gd name="T1" fmla="*/ 235 h 287"/>
                <a:gd name="T2" fmla="*/ 89 w 407"/>
                <a:gd name="T3" fmla="*/ 163 h 287"/>
                <a:gd name="T4" fmla="*/ 37 w 407"/>
                <a:gd name="T5" fmla="*/ 199 h 287"/>
                <a:gd name="T6" fmla="*/ 140 w 407"/>
                <a:gd name="T7" fmla="*/ 199 h 287"/>
                <a:gd name="T8" fmla="*/ 37 w 407"/>
                <a:gd name="T9" fmla="*/ 199 h 287"/>
                <a:gd name="T10" fmla="*/ 89 w 407"/>
                <a:gd name="T11" fmla="*/ 287 h 287"/>
                <a:gd name="T12" fmla="*/ 89 w 407"/>
                <a:gd name="T13" fmla="*/ 111 h 287"/>
                <a:gd name="T14" fmla="*/ 333 w 407"/>
                <a:gd name="T15" fmla="*/ 134 h 287"/>
                <a:gd name="T16" fmla="*/ 312 w 407"/>
                <a:gd name="T17" fmla="*/ 113 h 287"/>
                <a:gd name="T18" fmla="*/ 333 w 407"/>
                <a:gd name="T19" fmla="*/ 134 h 287"/>
                <a:gd name="T20" fmla="*/ 315 w 407"/>
                <a:gd name="T21" fmla="*/ 134 h 287"/>
                <a:gd name="T22" fmla="*/ 294 w 407"/>
                <a:gd name="T23" fmla="*/ 113 h 287"/>
                <a:gd name="T24" fmla="*/ 219 w 407"/>
                <a:gd name="T25" fmla="*/ 154 h 287"/>
                <a:gd name="T26" fmla="*/ 141 w 407"/>
                <a:gd name="T27" fmla="*/ 97 h 287"/>
                <a:gd name="T28" fmla="*/ 142 w 407"/>
                <a:gd name="T29" fmla="*/ 22 h 287"/>
                <a:gd name="T30" fmla="*/ 219 w 407"/>
                <a:gd name="T31" fmla="*/ 90 h 287"/>
                <a:gd name="T32" fmla="*/ 128 w 407"/>
                <a:gd name="T33" fmla="*/ 91 h 287"/>
                <a:gd name="T34" fmla="*/ 62 w 407"/>
                <a:gd name="T35" fmla="*/ 87 h 287"/>
                <a:gd name="T36" fmla="*/ 128 w 407"/>
                <a:gd name="T37" fmla="*/ 22 h 287"/>
                <a:gd name="T38" fmla="*/ 343 w 407"/>
                <a:gd name="T39" fmla="*/ 148 h 287"/>
                <a:gd name="T40" fmla="*/ 370 w 407"/>
                <a:gd name="T41" fmla="*/ 118 h 287"/>
                <a:gd name="T42" fmla="*/ 254 w 407"/>
                <a:gd name="T43" fmla="*/ 91 h 287"/>
                <a:gd name="T44" fmla="*/ 267 w 407"/>
                <a:gd name="T45" fmla="*/ 13 h 287"/>
                <a:gd name="T46" fmla="*/ 238 w 407"/>
                <a:gd name="T47" fmla="*/ 15 h 287"/>
                <a:gd name="T48" fmla="*/ 233 w 407"/>
                <a:gd name="T49" fmla="*/ 90 h 287"/>
                <a:gd name="T50" fmla="*/ 46 w 407"/>
                <a:gd name="T51" fmla="*/ 4 h 287"/>
                <a:gd name="T52" fmla="*/ 55 w 407"/>
                <a:gd name="T53" fmla="*/ 22 h 287"/>
                <a:gd name="T54" fmla="*/ 54 w 407"/>
                <a:gd name="T55" fmla="*/ 30 h 287"/>
                <a:gd name="T56" fmla="*/ 15 w 407"/>
                <a:gd name="T57" fmla="*/ 111 h 287"/>
                <a:gd name="T58" fmla="*/ 89 w 407"/>
                <a:gd name="T59" fmla="*/ 99 h 287"/>
                <a:gd name="T60" fmla="*/ 183 w 407"/>
                <a:gd name="T61" fmla="*/ 231 h 287"/>
                <a:gd name="T62" fmla="*/ 267 w 407"/>
                <a:gd name="T63" fmla="*/ 224 h 287"/>
                <a:gd name="T64" fmla="*/ 234 w 407"/>
                <a:gd name="T65" fmla="*/ 141 h 287"/>
                <a:gd name="T66" fmla="*/ 300 w 407"/>
                <a:gd name="T67" fmla="*/ 162 h 287"/>
                <a:gd name="T68" fmla="*/ 377 w 407"/>
                <a:gd name="T69" fmla="*/ 224 h 287"/>
                <a:gd name="T70" fmla="*/ 310 w 407"/>
                <a:gd name="T71" fmla="*/ 224 h 287"/>
                <a:gd name="T72" fmla="*/ 377 w 407"/>
                <a:gd name="T73" fmla="*/ 224 h 287"/>
                <a:gd name="T74" fmla="*/ 343 w 407"/>
                <a:gd name="T75" fmla="*/ 161 h 287"/>
                <a:gd name="T76" fmla="*/ 343 w 407"/>
                <a:gd name="T77" fmla="*/ 28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7" h="287">
                  <a:moveTo>
                    <a:pt x="53" y="199"/>
                  </a:moveTo>
                  <a:cubicBezTo>
                    <a:pt x="53" y="219"/>
                    <a:pt x="69" y="235"/>
                    <a:pt x="89" y="235"/>
                  </a:cubicBezTo>
                  <a:cubicBezTo>
                    <a:pt x="108" y="235"/>
                    <a:pt x="124" y="219"/>
                    <a:pt x="124" y="199"/>
                  </a:cubicBezTo>
                  <a:cubicBezTo>
                    <a:pt x="124" y="179"/>
                    <a:pt x="108" y="163"/>
                    <a:pt x="89" y="163"/>
                  </a:cubicBezTo>
                  <a:cubicBezTo>
                    <a:pt x="69" y="163"/>
                    <a:pt x="53" y="179"/>
                    <a:pt x="53" y="199"/>
                  </a:cubicBezTo>
                  <a:moveTo>
                    <a:pt x="37" y="199"/>
                  </a:moveTo>
                  <a:cubicBezTo>
                    <a:pt x="37" y="171"/>
                    <a:pt x="60" y="147"/>
                    <a:pt x="89" y="147"/>
                  </a:cubicBezTo>
                  <a:cubicBezTo>
                    <a:pt x="117" y="147"/>
                    <a:pt x="140" y="171"/>
                    <a:pt x="140" y="199"/>
                  </a:cubicBezTo>
                  <a:cubicBezTo>
                    <a:pt x="140" y="227"/>
                    <a:pt x="117" y="251"/>
                    <a:pt x="89" y="251"/>
                  </a:cubicBezTo>
                  <a:cubicBezTo>
                    <a:pt x="60" y="251"/>
                    <a:pt x="37" y="227"/>
                    <a:pt x="37" y="199"/>
                  </a:cubicBezTo>
                  <a:moveTo>
                    <a:pt x="0" y="199"/>
                  </a:moveTo>
                  <a:cubicBezTo>
                    <a:pt x="0" y="248"/>
                    <a:pt x="40" y="287"/>
                    <a:pt x="89" y="287"/>
                  </a:cubicBezTo>
                  <a:cubicBezTo>
                    <a:pt x="137" y="287"/>
                    <a:pt x="177" y="248"/>
                    <a:pt x="177" y="199"/>
                  </a:cubicBezTo>
                  <a:cubicBezTo>
                    <a:pt x="177" y="150"/>
                    <a:pt x="137" y="111"/>
                    <a:pt x="89" y="111"/>
                  </a:cubicBezTo>
                  <a:cubicBezTo>
                    <a:pt x="40" y="111"/>
                    <a:pt x="0" y="150"/>
                    <a:pt x="0" y="199"/>
                  </a:cubicBezTo>
                  <a:moveTo>
                    <a:pt x="333" y="134"/>
                  </a:moveTo>
                  <a:cubicBezTo>
                    <a:pt x="326" y="138"/>
                    <a:pt x="326" y="138"/>
                    <a:pt x="326" y="138"/>
                  </a:cubicBezTo>
                  <a:cubicBezTo>
                    <a:pt x="312" y="113"/>
                    <a:pt x="312" y="113"/>
                    <a:pt x="312" y="113"/>
                  </a:cubicBezTo>
                  <a:cubicBezTo>
                    <a:pt x="318" y="109"/>
                    <a:pt x="318" y="109"/>
                    <a:pt x="318" y="109"/>
                  </a:cubicBezTo>
                  <a:lnTo>
                    <a:pt x="333" y="134"/>
                  </a:lnTo>
                  <a:close/>
                  <a:moveTo>
                    <a:pt x="301" y="109"/>
                  </a:moveTo>
                  <a:cubicBezTo>
                    <a:pt x="315" y="134"/>
                    <a:pt x="315" y="134"/>
                    <a:pt x="315" y="134"/>
                  </a:cubicBezTo>
                  <a:cubicBezTo>
                    <a:pt x="309" y="138"/>
                    <a:pt x="309" y="138"/>
                    <a:pt x="309" y="138"/>
                  </a:cubicBezTo>
                  <a:cubicBezTo>
                    <a:pt x="294" y="113"/>
                    <a:pt x="294" y="113"/>
                    <a:pt x="294" y="113"/>
                  </a:cubicBezTo>
                  <a:lnTo>
                    <a:pt x="301" y="109"/>
                  </a:lnTo>
                  <a:close/>
                  <a:moveTo>
                    <a:pt x="219" y="154"/>
                  </a:moveTo>
                  <a:cubicBezTo>
                    <a:pt x="194" y="154"/>
                    <a:pt x="194" y="154"/>
                    <a:pt x="194" y="154"/>
                  </a:cubicBezTo>
                  <a:cubicBezTo>
                    <a:pt x="184" y="129"/>
                    <a:pt x="165" y="109"/>
                    <a:pt x="141" y="97"/>
                  </a:cubicBezTo>
                  <a:cubicBezTo>
                    <a:pt x="141" y="22"/>
                    <a:pt x="141" y="22"/>
                    <a:pt x="141" y="22"/>
                  </a:cubicBezTo>
                  <a:cubicBezTo>
                    <a:pt x="142" y="22"/>
                    <a:pt x="142" y="22"/>
                    <a:pt x="142" y="22"/>
                  </a:cubicBezTo>
                  <a:cubicBezTo>
                    <a:pt x="199" y="22"/>
                    <a:pt x="199" y="22"/>
                    <a:pt x="199" y="22"/>
                  </a:cubicBezTo>
                  <a:cubicBezTo>
                    <a:pt x="219" y="90"/>
                    <a:pt x="219" y="90"/>
                    <a:pt x="219" y="90"/>
                  </a:cubicBezTo>
                  <a:lnTo>
                    <a:pt x="219" y="154"/>
                  </a:lnTo>
                  <a:close/>
                  <a:moveTo>
                    <a:pt x="128" y="91"/>
                  </a:moveTo>
                  <a:cubicBezTo>
                    <a:pt x="115" y="87"/>
                    <a:pt x="102" y="84"/>
                    <a:pt x="89" y="84"/>
                  </a:cubicBezTo>
                  <a:cubicBezTo>
                    <a:pt x="79" y="84"/>
                    <a:pt x="70" y="85"/>
                    <a:pt x="62" y="87"/>
                  </a:cubicBezTo>
                  <a:cubicBezTo>
                    <a:pt x="71" y="22"/>
                    <a:pt x="71" y="22"/>
                    <a:pt x="71" y="22"/>
                  </a:cubicBezTo>
                  <a:cubicBezTo>
                    <a:pt x="128" y="22"/>
                    <a:pt x="128" y="22"/>
                    <a:pt x="128" y="22"/>
                  </a:cubicBezTo>
                  <a:lnTo>
                    <a:pt x="128" y="91"/>
                  </a:lnTo>
                  <a:close/>
                  <a:moveTo>
                    <a:pt x="343" y="148"/>
                  </a:moveTo>
                  <a:cubicBezTo>
                    <a:pt x="353" y="148"/>
                    <a:pt x="362" y="150"/>
                    <a:pt x="370" y="153"/>
                  </a:cubicBezTo>
                  <a:cubicBezTo>
                    <a:pt x="370" y="118"/>
                    <a:pt x="370" y="118"/>
                    <a:pt x="370" y="118"/>
                  </a:cubicBezTo>
                  <a:cubicBezTo>
                    <a:pt x="355" y="106"/>
                    <a:pt x="339" y="101"/>
                    <a:pt x="318" y="97"/>
                  </a:cubicBezTo>
                  <a:cubicBezTo>
                    <a:pt x="304" y="94"/>
                    <a:pt x="274" y="92"/>
                    <a:pt x="254" y="91"/>
                  </a:cubicBezTo>
                  <a:cubicBezTo>
                    <a:pt x="254" y="23"/>
                    <a:pt x="254" y="23"/>
                    <a:pt x="254" y="23"/>
                  </a:cubicBezTo>
                  <a:cubicBezTo>
                    <a:pt x="267" y="13"/>
                    <a:pt x="267" y="13"/>
                    <a:pt x="267" y="13"/>
                  </a:cubicBezTo>
                  <a:cubicBezTo>
                    <a:pt x="258" y="0"/>
                    <a:pt x="258" y="0"/>
                    <a:pt x="258" y="0"/>
                  </a:cubicBezTo>
                  <a:cubicBezTo>
                    <a:pt x="238" y="15"/>
                    <a:pt x="238" y="15"/>
                    <a:pt x="238" y="15"/>
                  </a:cubicBezTo>
                  <a:cubicBezTo>
                    <a:pt x="238" y="90"/>
                    <a:pt x="238" y="90"/>
                    <a:pt x="238" y="90"/>
                  </a:cubicBezTo>
                  <a:cubicBezTo>
                    <a:pt x="235" y="90"/>
                    <a:pt x="233" y="90"/>
                    <a:pt x="233" y="90"/>
                  </a:cubicBezTo>
                  <a:cubicBezTo>
                    <a:pt x="208" y="4"/>
                    <a:pt x="208" y="4"/>
                    <a:pt x="208" y="4"/>
                  </a:cubicBezTo>
                  <a:cubicBezTo>
                    <a:pt x="46" y="4"/>
                    <a:pt x="46" y="4"/>
                    <a:pt x="46" y="4"/>
                  </a:cubicBezTo>
                  <a:cubicBezTo>
                    <a:pt x="46" y="22"/>
                    <a:pt x="46" y="22"/>
                    <a:pt x="46" y="22"/>
                  </a:cubicBezTo>
                  <a:cubicBezTo>
                    <a:pt x="55" y="22"/>
                    <a:pt x="55" y="22"/>
                    <a:pt x="55" y="22"/>
                  </a:cubicBezTo>
                  <a:cubicBezTo>
                    <a:pt x="54" y="30"/>
                    <a:pt x="54" y="30"/>
                    <a:pt x="54" y="30"/>
                  </a:cubicBezTo>
                  <a:cubicBezTo>
                    <a:pt x="54" y="30"/>
                    <a:pt x="54" y="30"/>
                    <a:pt x="54" y="30"/>
                  </a:cubicBezTo>
                  <a:cubicBezTo>
                    <a:pt x="45" y="93"/>
                    <a:pt x="45" y="93"/>
                    <a:pt x="45" y="93"/>
                  </a:cubicBezTo>
                  <a:cubicBezTo>
                    <a:pt x="34" y="97"/>
                    <a:pt x="24" y="104"/>
                    <a:pt x="15" y="111"/>
                  </a:cubicBezTo>
                  <a:cubicBezTo>
                    <a:pt x="15" y="132"/>
                    <a:pt x="15" y="132"/>
                    <a:pt x="15" y="132"/>
                  </a:cubicBezTo>
                  <a:cubicBezTo>
                    <a:pt x="33" y="112"/>
                    <a:pt x="59" y="99"/>
                    <a:pt x="89" y="99"/>
                  </a:cubicBezTo>
                  <a:cubicBezTo>
                    <a:pt x="144" y="99"/>
                    <a:pt x="189" y="144"/>
                    <a:pt x="189" y="199"/>
                  </a:cubicBezTo>
                  <a:cubicBezTo>
                    <a:pt x="189" y="210"/>
                    <a:pt x="187" y="221"/>
                    <a:pt x="183" y="231"/>
                  </a:cubicBezTo>
                  <a:cubicBezTo>
                    <a:pt x="267" y="231"/>
                    <a:pt x="267" y="231"/>
                    <a:pt x="267" y="231"/>
                  </a:cubicBezTo>
                  <a:cubicBezTo>
                    <a:pt x="267" y="229"/>
                    <a:pt x="267" y="226"/>
                    <a:pt x="267" y="224"/>
                  </a:cubicBezTo>
                  <a:cubicBezTo>
                    <a:pt x="267" y="202"/>
                    <a:pt x="276" y="183"/>
                    <a:pt x="291" y="169"/>
                  </a:cubicBezTo>
                  <a:cubicBezTo>
                    <a:pt x="274" y="157"/>
                    <a:pt x="255" y="147"/>
                    <a:pt x="234" y="141"/>
                  </a:cubicBezTo>
                  <a:cubicBezTo>
                    <a:pt x="237" y="130"/>
                    <a:pt x="237" y="130"/>
                    <a:pt x="237" y="130"/>
                  </a:cubicBezTo>
                  <a:cubicBezTo>
                    <a:pt x="260" y="137"/>
                    <a:pt x="281" y="148"/>
                    <a:pt x="300" y="162"/>
                  </a:cubicBezTo>
                  <a:cubicBezTo>
                    <a:pt x="312" y="153"/>
                    <a:pt x="327" y="148"/>
                    <a:pt x="343" y="148"/>
                  </a:cubicBezTo>
                  <a:moveTo>
                    <a:pt x="377" y="224"/>
                  </a:moveTo>
                  <a:cubicBezTo>
                    <a:pt x="377" y="242"/>
                    <a:pt x="362" y="257"/>
                    <a:pt x="343" y="257"/>
                  </a:cubicBezTo>
                  <a:cubicBezTo>
                    <a:pt x="325" y="257"/>
                    <a:pt x="310" y="242"/>
                    <a:pt x="310" y="224"/>
                  </a:cubicBezTo>
                  <a:cubicBezTo>
                    <a:pt x="310" y="206"/>
                    <a:pt x="325" y="191"/>
                    <a:pt x="343" y="191"/>
                  </a:cubicBezTo>
                  <a:cubicBezTo>
                    <a:pt x="362" y="191"/>
                    <a:pt x="377" y="206"/>
                    <a:pt x="377" y="224"/>
                  </a:cubicBezTo>
                  <a:moveTo>
                    <a:pt x="407" y="224"/>
                  </a:moveTo>
                  <a:cubicBezTo>
                    <a:pt x="407" y="189"/>
                    <a:pt x="378" y="161"/>
                    <a:pt x="343" y="161"/>
                  </a:cubicBezTo>
                  <a:cubicBezTo>
                    <a:pt x="308" y="161"/>
                    <a:pt x="280" y="189"/>
                    <a:pt x="280" y="224"/>
                  </a:cubicBezTo>
                  <a:cubicBezTo>
                    <a:pt x="280" y="259"/>
                    <a:pt x="308" y="287"/>
                    <a:pt x="343" y="287"/>
                  </a:cubicBezTo>
                  <a:cubicBezTo>
                    <a:pt x="378" y="287"/>
                    <a:pt x="407" y="259"/>
                    <a:pt x="407" y="224"/>
                  </a:cubicBezTo>
                </a:path>
              </a:pathLst>
            </a:custGeom>
            <a:solidFill>
              <a:schemeClr val="accent4"/>
            </a:solidFill>
            <a:ln>
              <a:noFill/>
            </a:ln>
          </p:spPr>
          <p:txBody>
            <a:bodyPr vert="horz" wrap="square" lIns="91296" tIns="45648" rIns="91296" bIns="45648" numCol="1" anchor="t" anchorCtr="0" compatLnSpc="1">
              <a:prstTxWarp prst="textNoShape">
                <a:avLst/>
              </a:prstTxWarp>
            </a:bodyPr>
            <a:lstStyle/>
            <a:p>
              <a:endParaRPr lang="de-DE" sz="1797">
                <a:solidFill>
                  <a:srgbClr val="646464"/>
                </a:solidFill>
                <a:latin typeface="EYInterstate" panose="02000503020000020004" pitchFamily="2" charset="0"/>
              </a:endParaRPr>
            </a:p>
          </p:txBody>
        </p:sp>
      </p:grpSp>
      <p:grpSp>
        <p:nvGrpSpPr>
          <p:cNvPr id="122" name="Group 121"/>
          <p:cNvGrpSpPr/>
          <p:nvPr/>
        </p:nvGrpSpPr>
        <p:grpSpPr>
          <a:xfrm flipH="1">
            <a:off x="7136198" y="4943725"/>
            <a:ext cx="1368684" cy="991352"/>
            <a:chOff x="3600701" y="1179634"/>
            <a:chExt cx="1770362" cy="992901"/>
          </a:xfrm>
        </p:grpSpPr>
        <p:cxnSp>
          <p:nvCxnSpPr>
            <p:cNvPr id="123" name="Elbow Connector 122"/>
            <p:cNvCxnSpPr/>
            <p:nvPr/>
          </p:nvCxnSpPr>
          <p:spPr>
            <a:xfrm flipH="1">
              <a:off x="3600701" y="1179634"/>
              <a:ext cx="1770362" cy="583291"/>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3600701" y="1291756"/>
              <a:ext cx="0" cy="880779"/>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grpSp>
        <p:nvGrpSpPr>
          <p:cNvPr id="125" name="Group 124"/>
          <p:cNvGrpSpPr/>
          <p:nvPr/>
        </p:nvGrpSpPr>
        <p:grpSpPr>
          <a:xfrm>
            <a:off x="3216630" y="5113806"/>
            <a:ext cx="2033603" cy="1007409"/>
            <a:chOff x="3600701" y="1153503"/>
            <a:chExt cx="3280446" cy="1008984"/>
          </a:xfrm>
        </p:grpSpPr>
        <p:cxnSp>
          <p:nvCxnSpPr>
            <p:cNvPr id="126" name="Elbow Connector 125"/>
            <p:cNvCxnSpPr/>
            <p:nvPr/>
          </p:nvCxnSpPr>
          <p:spPr>
            <a:xfrm rot="10800000" flipV="1">
              <a:off x="3600716" y="1153503"/>
              <a:ext cx="3280431" cy="563669"/>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3600701" y="1281708"/>
              <a:ext cx="0" cy="880779"/>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grpSp>
        <p:nvGrpSpPr>
          <p:cNvPr id="129" name="Group 128"/>
          <p:cNvGrpSpPr/>
          <p:nvPr/>
        </p:nvGrpSpPr>
        <p:grpSpPr>
          <a:xfrm>
            <a:off x="3551478" y="3864619"/>
            <a:ext cx="989213" cy="879404"/>
            <a:chOff x="3215214" y="1800836"/>
            <a:chExt cx="990759" cy="880779"/>
          </a:xfrm>
        </p:grpSpPr>
        <p:cxnSp>
          <p:nvCxnSpPr>
            <p:cNvPr id="130" name="Elbow Connector 129"/>
            <p:cNvCxnSpPr/>
            <p:nvPr/>
          </p:nvCxnSpPr>
          <p:spPr>
            <a:xfrm rot="10800000">
              <a:off x="3215219" y="2243003"/>
              <a:ext cx="990754" cy="370222"/>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3215214" y="1800836"/>
              <a:ext cx="0" cy="880779"/>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3192256" y="2613985"/>
            <a:ext cx="1165581" cy="879404"/>
            <a:chOff x="3215214" y="1800836"/>
            <a:chExt cx="1167403" cy="880779"/>
          </a:xfrm>
        </p:grpSpPr>
        <p:cxnSp>
          <p:nvCxnSpPr>
            <p:cNvPr id="133" name="Elbow Connector 132"/>
            <p:cNvCxnSpPr/>
            <p:nvPr/>
          </p:nvCxnSpPr>
          <p:spPr>
            <a:xfrm rot="10800000">
              <a:off x="3215220" y="2243003"/>
              <a:ext cx="1167397" cy="322015"/>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3215214" y="1800836"/>
              <a:ext cx="0" cy="880779"/>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grpSp>
        <p:nvGrpSpPr>
          <p:cNvPr id="150" name="Group 149"/>
          <p:cNvGrpSpPr/>
          <p:nvPr/>
        </p:nvGrpSpPr>
        <p:grpSpPr>
          <a:xfrm flipH="1">
            <a:off x="7596087" y="2468109"/>
            <a:ext cx="1896503" cy="885235"/>
            <a:chOff x="3215214" y="1970389"/>
            <a:chExt cx="1016418" cy="577879"/>
          </a:xfrm>
        </p:grpSpPr>
        <p:cxnSp>
          <p:nvCxnSpPr>
            <p:cNvPr id="151" name="Elbow Connector 150"/>
            <p:cNvCxnSpPr/>
            <p:nvPr/>
          </p:nvCxnSpPr>
          <p:spPr>
            <a:xfrm flipH="1">
              <a:off x="3215219" y="1970389"/>
              <a:ext cx="1016413" cy="272616"/>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3215214" y="1973101"/>
              <a:ext cx="0" cy="575167"/>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grpSp>
        <p:nvGrpSpPr>
          <p:cNvPr id="156" name="Group 155"/>
          <p:cNvGrpSpPr/>
          <p:nvPr/>
        </p:nvGrpSpPr>
        <p:grpSpPr>
          <a:xfrm flipH="1">
            <a:off x="7770659" y="3606009"/>
            <a:ext cx="1197609" cy="879404"/>
            <a:chOff x="3215214" y="1800836"/>
            <a:chExt cx="1199482" cy="880779"/>
          </a:xfrm>
        </p:grpSpPr>
        <p:cxnSp>
          <p:nvCxnSpPr>
            <p:cNvPr id="157" name="Elbow Connector 156"/>
            <p:cNvCxnSpPr/>
            <p:nvPr/>
          </p:nvCxnSpPr>
          <p:spPr>
            <a:xfrm flipH="1">
              <a:off x="3215219" y="2047346"/>
              <a:ext cx="1199477" cy="195658"/>
            </a:xfrm>
            <a:prstGeom prst="bentConnector3">
              <a:avLst>
                <a:gd name="adj1" fmla="val 50000"/>
              </a:avLst>
            </a:prstGeom>
            <a:ln w="9525">
              <a:solidFill>
                <a:srgbClr val="FFDC33"/>
              </a:solidFill>
              <a:tailEnd type="oval"/>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nvCxnSpPr>
          <p:spPr>
            <a:xfrm>
              <a:off x="3215214" y="1800836"/>
              <a:ext cx="0" cy="880779"/>
            </a:xfrm>
            <a:prstGeom prst="line">
              <a:avLst/>
            </a:prstGeom>
            <a:ln w="12700">
              <a:solidFill>
                <a:srgbClr val="FFDC33"/>
              </a:solidFill>
              <a:tailEnd type="none"/>
            </a:ln>
          </p:spPr>
          <p:style>
            <a:lnRef idx="1">
              <a:schemeClr val="accent1"/>
            </a:lnRef>
            <a:fillRef idx="0">
              <a:schemeClr val="accent1"/>
            </a:fillRef>
            <a:effectRef idx="0">
              <a:schemeClr val="accent1"/>
            </a:effectRef>
            <a:fontRef idx="minor">
              <a:schemeClr val="tx1"/>
            </a:fontRef>
          </p:style>
        </p:cxnSp>
      </p:grpSp>
      <p:sp>
        <p:nvSpPr>
          <p:cNvPr id="162" name="Rounded Rectangle 161"/>
          <p:cNvSpPr/>
          <p:nvPr/>
        </p:nvSpPr>
        <p:spPr>
          <a:xfrm>
            <a:off x="1473896" y="3835288"/>
            <a:ext cx="2228687" cy="839268"/>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IN" sz="2397" b="1" dirty="0">
                <a:solidFill>
                  <a:schemeClr val="tx1"/>
                </a:solidFill>
                <a:latin typeface="EYInterstate" panose="02000503020000020004" pitchFamily="2" charset="0"/>
              </a:rPr>
              <a:t>US$29b</a:t>
            </a:r>
            <a:endParaRPr lang="en-IN" sz="1047" dirty="0">
              <a:solidFill>
                <a:schemeClr val="tx1"/>
              </a:solidFill>
              <a:latin typeface="EYInterstate" panose="02000503020000020004" pitchFamily="2" charset="0"/>
            </a:endParaRPr>
          </a:p>
          <a:p>
            <a:r>
              <a:rPr lang="en-IN" sz="1197" dirty="0">
                <a:solidFill>
                  <a:schemeClr val="tx1"/>
                </a:solidFill>
                <a:latin typeface="EYInterstate Light" panose="02000506000000020004" pitchFamily="2" charset="0"/>
              </a:rPr>
              <a:t>Worldwide spending on 3D printing by 2020</a:t>
            </a:r>
          </a:p>
        </p:txBody>
      </p:sp>
      <p:sp>
        <p:nvSpPr>
          <p:cNvPr id="114" name="Rounded Rectangle 113"/>
          <p:cNvSpPr/>
          <p:nvPr/>
        </p:nvSpPr>
        <p:spPr>
          <a:xfrm>
            <a:off x="1437126" y="5264632"/>
            <a:ext cx="1830053" cy="839705"/>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397" b="1" dirty="0">
                <a:solidFill>
                  <a:schemeClr val="tx1"/>
                </a:solidFill>
                <a:latin typeface="EYInterstate" panose="02000503020000020004" pitchFamily="2" charset="0"/>
              </a:rPr>
              <a:t>US$9bn</a:t>
            </a:r>
            <a:endParaRPr lang="en-IN" sz="2397" b="1" dirty="0">
              <a:solidFill>
                <a:schemeClr val="tx1"/>
              </a:solidFill>
              <a:latin typeface="EYInterstate" panose="02000503020000020004" pitchFamily="2" charset="0"/>
            </a:endParaRPr>
          </a:p>
          <a:p>
            <a:r>
              <a:rPr lang="en-IN" sz="1197" dirty="0">
                <a:solidFill>
                  <a:schemeClr val="tx1"/>
                </a:solidFill>
                <a:latin typeface="EYInterstate Light" panose="02000506000000020004" pitchFamily="2" charset="0"/>
              </a:rPr>
              <a:t>Worldwide Blockchain spending by 2021</a:t>
            </a:r>
            <a:endParaRPr lang="en-US" sz="1197" dirty="0">
              <a:solidFill>
                <a:schemeClr val="tx1"/>
              </a:solidFill>
              <a:latin typeface="EYInterstate Light" panose="02000506000000020004" pitchFamily="2" charset="0"/>
            </a:endParaRPr>
          </a:p>
        </p:txBody>
      </p:sp>
      <p:sp>
        <p:nvSpPr>
          <p:cNvPr id="118" name="Rounded Rectangle 117"/>
          <p:cNvSpPr/>
          <p:nvPr/>
        </p:nvSpPr>
        <p:spPr>
          <a:xfrm>
            <a:off x="1327311" y="2520877"/>
            <a:ext cx="2123959" cy="1031347"/>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397" b="1" dirty="0">
                <a:solidFill>
                  <a:schemeClr val="tx1"/>
                </a:solidFill>
                <a:latin typeface="EYInterstate" panose="02000503020000020004" pitchFamily="2" charset="0"/>
              </a:rPr>
              <a:t>US$58b</a:t>
            </a:r>
            <a:endParaRPr lang="en-IN" sz="2397" b="1" dirty="0">
              <a:solidFill>
                <a:schemeClr val="tx1"/>
              </a:solidFill>
              <a:latin typeface="EYInterstate" panose="02000503020000020004" pitchFamily="2" charset="0"/>
            </a:endParaRPr>
          </a:p>
          <a:p>
            <a:r>
              <a:rPr lang="en-IN" sz="1197" dirty="0">
                <a:solidFill>
                  <a:schemeClr val="tx1"/>
                </a:solidFill>
                <a:latin typeface="EYInterstate Light" panose="02000506000000020004" pitchFamily="2" charset="0"/>
              </a:rPr>
              <a:t>Worldwide spending on </a:t>
            </a:r>
          </a:p>
          <a:p>
            <a:r>
              <a:rPr lang="en-IN" sz="1197" dirty="0">
                <a:solidFill>
                  <a:schemeClr val="tx1"/>
                </a:solidFill>
                <a:latin typeface="EYInterstate Light" panose="02000506000000020004" pitchFamily="2" charset="0"/>
              </a:rPr>
              <a:t>cognitive and artificial intelligence in 2021</a:t>
            </a:r>
            <a:endParaRPr lang="en-US" sz="1197" dirty="0">
              <a:solidFill>
                <a:schemeClr val="tx1"/>
              </a:solidFill>
              <a:latin typeface="EYInterstate Light" panose="02000506000000020004" pitchFamily="2" charset="0"/>
            </a:endParaRPr>
          </a:p>
        </p:txBody>
      </p:sp>
      <p:sp>
        <p:nvSpPr>
          <p:cNvPr id="128" name="Rounded Rectangle 127"/>
          <p:cNvSpPr/>
          <p:nvPr/>
        </p:nvSpPr>
        <p:spPr>
          <a:xfrm>
            <a:off x="1919188" y="1374999"/>
            <a:ext cx="2153495" cy="839268"/>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2397" b="1" dirty="0" smtClean="0">
                <a:solidFill>
                  <a:schemeClr val="tx1"/>
                </a:solidFill>
                <a:latin typeface="EYInterstate" panose="02000503020000020004" pitchFamily="2" charset="0"/>
              </a:rPr>
              <a:t>&gt;US$225b</a:t>
            </a:r>
            <a:endParaRPr lang="en-IN" sz="1047" b="1" dirty="0">
              <a:solidFill>
                <a:schemeClr val="tx1"/>
              </a:solidFill>
              <a:latin typeface="EYInterstate" panose="02000503020000020004" pitchFamily="2" charset="0"/>
            </a:endParaRPr>
          </a:p>
          <a:p>
            <a:r>
              <a:rPr lang="en-IN" sz="1197" dirty="0">
                <a:solidFill>
                  <a:schemeClr val="tx1"/>
                </a:solidFill>
                <a:latin typeface="EYInterstate Light" panose="02000506000000020004" pitchFamily="2" charset="0"/>
              </a:rPr>
              <a:t>Potential </a:t>
            </a:r>
            <a:r>
              <a:rPr lang="en-IN" sz="1197" dirty="0" err="1" smtClean="0">
                <a:solidFill>
                  <a:schemeClr val="tx1"/>
                </a:solidFill>
                <a:latin typeface="EYInterstate Light" panose="02000506000000020004" pitchFamily="2" charset="0"/>
              </a:rPr>
              <a:t>IoT</a:t>
            </a:r>
            <a:r>
              <a:rPr lang="en-IN" sz="1197" dirty="0" smtClean="0">
                <a:solidFill>
                  <a:schemeClr val="tx1"/>
                </a:solidFill>
                <a:latin typeface="EYInterstate Light" panose="02000506000000020004" pitchFamily="2" charset="0"/>
              </a:rPr>
              <a:t> </a:t>
            </a:r>
            <a:r>
              <a:rPr lang="en-IN" sz="1197" dirty="0">
                <a:solidFill>
                  <a:schemeClr val="tx1"/>
                </a:solidFill>
                <a:latin typeface="EYInterstate Light" panose="02000506000000020004" pitchFamily="2" charset="0"/>
              </a:rPr>
              <a:t>market by 2020</a:t>
            </a:r>
            <a:endParaRPr lang="en-US" sz="1197" dirty="0">
              <a:solidFill>
                <a:schemeClr val="tx1"/>
              </a:solidFill>
              <a:latin typeface="EYInterstate Light" panose="02000506000000020004" pitchFamily="2" charset="0"/>
            </a:endParaRPr>
          </a:p>
        </p:txBody>
      </p:sp>
      <p:grpSp>
        <p:nvGrpSpPr>
          <p:cNvPr id="121" name="Group 120"/>
          <p:cNvGrpSpPr/>
          <p:nvPr/>
        </p:nvGrpSpPr>
        <p:grpSpPr>
          <a:xfrm>
            <a:off x="8618976" y="4917534"/>
            <a:ext cx="2443159" cy="955331"/>
            <a:chOff x="8582102" y="5210854"/>
            <a:chExt cx="2445704" cy="956327"/>
          </a:xfrm>
        </p:grpSpPr>
        <p:sp>
          <p:nvSpPr>
            <p:cNvPr id="135" name="Rounded Rectangle 134"/>
            <p:cNvSpPr/>
            <p:nvPr/>
          </p:nvSpPr>
          <p:spPr>
            <a:xfrm>
              <a:off x="8582102" y="5326601"/>
              <a:ext cx="2341839" cy="840580"/>
            </a:xfrm>
            <a:prstGeom prst="roundRect">
              <a:avLst>
                <a:gd name="adj"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IN" sz="2397" b="1" dirty="0">
                  <a:solidFill>
                    <a:schemeClr val="tx1"/>
                  </a:solidFill>
                  <a:latin typeface="EYInterstate" panose="02000503020000020004" pitchFamily="2" charset="0"/>
                </a:rPr>
                <a:t>US$30.6b</a:t>
              </a:r>
            </a:p>
            <a:p>
              <a:r>
                <a:rPr lang="en-IN" sz="1197" dirty="0">
                  <a:solidFill>
                    <a:schemeClr val="tx1"/>
                  </a:solidFill>
                  <a:latin typeface="EYInterstate Light" panose="02000506000000020004" pitchFamily="2" charset="0"/>
                </a:rPr>
                <a:t>Global market for the Internet of Things (IoT) in oil and gas</a:t>
              </a:r>
            </a:p>
          </p:txBody>
        </p:sp>
        <p:sp>
          <p:nvSpPr>
            <p:cNvPr id="136" name="Freeform 26"/>
            <p:cNvSpPr>
              <a:spLocks noEditPoints="1"/>
            </p:cNvSpPr>
            <p:nvPr/>
          </p:nvSpPr>
          <p:spPr bwMode="auto">
            <a:xfrm>
              <a:off x="10387394" y="5210854"/>
              <a:ext cx="640412" cy="466931"/>
            </a:xfrm>
            <a:custGeom>
              <a:avLst/>
              <a:gdLst>
                <a:gd name="T0" fmla="*/ 499 w 1355"/>
                <a:gd name="T1" fmla="*/ 962 h 969"/>
                <a:gd name="T2" fmla="*/ 499 w 1355"/>
                <a:gd name="T3" fmla="*/ 840 h 969"/>
                <a:gd name="T4" fmla="*/ 494 w 1355"/>
                <a:gd name="T5" fmla="*/ 816 h 969"/>
                <a:gd name="T6" fmla="*/ 736 w 1355"/>
                <a:gd name="T7" fmla="*/ 494 h 969"/>
                <a:gd name="T8" fmla="*/ 738 w 1355"/>
                <a:gd name="T9" fmla="*/ 493 h 969"/>
                <a:gd name="T10" fmla="*/ 738 w 1355"/>
                <a:gd name="T11" fmla="*/ 969 h 969"/>
                <a:gd name="T12" fmla="*/ 793 w 1355"/>
                <a:gd name="T13" fmla="*/ 969 h 969"/>
                <a:gd name="T14" fmla="*/ 793 w 1355"/>
                <a:gd name="T15" fmla="*/ 468 h 969"/>
                <a:gd name="T16" fmla="*/ 1135 w 1355"/>
                <a:gd name="T17" fmla="*/ 316 h 969"/>
                <a:gd name="T18" fmla="*/ 1286 w 1355"/>
                <a:gd name="T19" fmla="*/ 525 h 969"/>
                <a:gd name="T20" fmla="*/ 1310 w 1355"/>
                <a:gd name="T21" fmla="*/ 213 h 969"/>
                <a:gd name="T22" fmla="*/ 1031 w 1355"/>
                <a:gd name="T23" fmla="*/ 2 h 969"/>
                <a:gd name="T24" fmla="*/ 1080 w 1355"/>
                <a:gd name="T25" fmla="*/ 217 h 969"/>
                <a:gd name="T26" fmla="*/ 203 w 1355"/>
                <a:gd name="T27" fmla="*/ 609 h 969"/>
                <a:gd name="T28" fmla="*/ 155 w 1355"/>
                <a:gd name="T29" fmla="*/ 597 h 969"/>
                <a:gd name="T30" fmla="*/ 50 w 1355"/>
                <a:gd name="T31" fmla="*/ 702 h 969"/>
                <a:gd name="T32" fmla="*/ 99 w 1355"/>
                <a:gd name="T33" fmla="*/ 792 h 969"/>
                <a:gd name="T34" fmla="*/ 39 w 1355"/>
                <a:gd name="T35" fmla="*/ 792 h 969"/>
                <a:gd name="T36" fmla="*/ 0 w 1355"/>
                <a:gd name="T37" fmla="*/ 840 h 969"/>
                <a:gd name="T38" fmla="*/ 0 w 1355"/>
                <a:gd name="T39" fmla="*/ 962 h 969"/>
                <a:gd name="T40" fmla="*/ 1 w 1355"/>
                <a:gd name="T41" fmla="*/ 969 h 969"/>
                <a:gd name="T42" fmla="*/ 499 w 1355"/>
                <a:gd name="T43" fmla="*/ 969 h 969"/>
                <a:gd name="T44" fmla="*/ 499 w 1355"/>
                <a:gd name="T45" fmla="*/ 962 h 969"/>
                <a:gd name="T46" fmla="*/ 1264 w 1355"/>
                <a:gd name="T47" fmla="*/ 430 h 969"/>
                <a:gd name="T48" fmla="*/ 1180 w 1355"/>
                <a:gd name="T49" fmla="*/ 316 h 969"/>
                <a:gd name="T50" fmla="*/ 1289 w 1355"/>
                <a:gd name="T51" fmla="*/ 331 h 969"/>
                <a:gd name="T52" fmla="*/ 1264 w 1355"/>
                <a:gd name="T53" fmla="*/ 430 h 969"/>
                <a:gd name="T54" fmla="*/ 1285 w 1355"/>
                <a:gd name="T55" fmla="*/ 296 h 969"/>
                <a:gd name="T56" fmla="*/ 1167 w 1355"/>
                <a:gd name="T57" fmla="*/ 280 h 969"/>
                <a:gd name="T58" fmla="*/ 1266 w 1355"/>
                <a:gd name="T59" fmla="*/ 231 h 969"/>
                <a:gd name="T60" fmla="*/ 1285 w 1355"/>
                <a:gd name="T61" fmla="*/ 296 h 969"/>
                <a:gd name="T62" fmla="*/ 1245 w 1355"/>
                <a:gd name="T63" fmla="*/ 185 h 969"/>
                <a:gd name="T64" fmla="*/ 1149 w 1355"/>
                <a:gd name="T65" fmla="*/ 231 h 969"/>
                <a:gd name="T66" fmla="*/ 1201 w 1355"/>
                <a:gd name="T67" fmla="*/ 124 h 969"/>
                <a:gd name="T68" fmla="*/ 1245 w 1355"/>
                <a:gd name="T69" fmla="*/ 185 h 969"/>
                <a:gd name="T70" fmla="*/ 1173 w 1355"/>
                <a:gd name="T71" fmla="*/ 101 h 969"/>
                <a:gd name="T72" fmla="*/ 1126 w 1355"/>
                <a:gd name="T73" fmla="*/ 201 h 969"/>
                <a:gd name="T74" fmla="*/ 1097 w 1355"/>
                <a:gd name="T75" fmla="*/ 80 h 969"/>
                <a:gd name="T76" fmla="*/ 1173 w 1355"/>
                <a:gd name="T77" fmla="*/ 101 h 969"/>
                <a:gd name="T78" fmla="*/ 460 w 1355"/>
                <a:gd name="T79" fmla="*/ 792 h 969"/>
                <a:gd name="T80" fmla="*/ 211 w 1355"/>
                <a:gd name="T81" fmla="*/ 792 h 969"/>
                <a:gd name="T82" fmla="*/ 260 w 1355"/>
                <a:gd name="T83" fmla="*/ 706 h 969"/>
                <a:gd name="T84" fmla="*/ 667 w 1355"/>
                <a:gd name="T85" fmla="*/ 525 h 969"/>
                <a:gd name="T86" fmla="*/ 466 w 1355"/>
                <a:gd name="T87" fmla="*/ 792 h 969"/>
                <a:gd name="T88" fmla="*/ 460 w 1355"/>
                <a:gd name="T89" fmla="*/ 792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55" h="969">
                  <a:moveTo>
                    <a:pt x="499" y="962"/>
                  </a:moveTo>
                  <a:cubicBezTo>
                    <a:pt x="499" y="840"/>
                    <a:pt x="499" y="840"/>
                    <a:pt x="499" y="840"/>
                  </a:cubicBezTo>
                  <a:cubicBezTo>
                    <a:pt x="499" y="831"/>
                    <a:pt x="497" y="823"/>
                    <a:pt x="494" y="816"/>
                  </a:cubicBezTo>
                  <a:cubicBezTo>
                    <a:pt x="736" y="494"/>
                    <a:pt x="736" y="494"/>
                    <a:pt x="736" y="494"/>
                  </a:cubicBezTo>
                  <a:cubicBezTo>
                    <a:pt x="738" y="493"/>
                    <a:pt x="738" y="493"/>
                    <a:pt x="738" y="493"/>
                  </a:cubicBezTo>
                  <a:cubicBezTo>
                    <a:pt x="738" y="969"/>
                    <a:pt x="738" y="969"/>
                    <a:pt x="738" y="969"/>
                  </a:cubicBezTo>
                  <a:cubicBezTo>
                    <a:pt x="793" y="969"/>
                    <a:pt x="793" y="969"/>
                    <a:pt x="793" y="969"/>
                  </a:cubicBezTo>
                  <a:cubicBezTo>
                    <a:pt x="793" y="468"/>
                    <a:pt x="793" y="468"/>
                    <a:pt x="793" y="468"/>
                  </a:cubicBezTo>
                  <a:cubicBezTo>
                    <a:pt x="1135" y="316"/>
                    <a:pt x="1135" y="316"/>
                    <a:pt x="1135" y="316"/>
                  </a:cubicBezTo>
                  <a:cubicBezTo>
                    <a:pt x="1286" y="525"/>
                    <a:pt x="1286" y="525"/>
                    <a:pt x="1286" y="525"/>
                  </a:cubicBezTo>
                  <a:cubicBezTo>
                    <a:pt x="1343" y="445"/>
                    <a:pt x="1355" y="326"/>
                    <a:pt x="1310" y="213"/>
                  </a:cubicBezTo>
                  <a:cubicBezTo>
                    <a:pt x="1257" y="82"/>
                    <a:pt x="1142" y="0"/>
                    <a:pt x="1031" y="2"/>
                  </a:cubicBezTo>
                  <a:cubicBezTo>
                    <a:pt x="1080" y="217"/>
                    <a:pt x="1080" y="217"/>
                    <a:pt x="1080" y="217"/>
                  </a:cubicBezTo>
                  <a:cubicBezTo>
                    <a:pt x="203" y="609"/>
                    <a:pt x="203" y="609"/>
                    <a:pt x="203" y="609"/>
                  </a:cubicBezTo>
                  <a:cubicBezTo>
                    <a:pt x="189" y="601"/>
                    <a:pt x="172" y="597"/>
                    <a:pt x="155" y="597"/>
                  </a:cubicBezTo>
                  <a:cubicBezTo>
                    <a:pt x="97" y="597"/>
                    <a:pt x="50" y="644"/>
                    <a:pt x="50" y="702"/>
                  </a:cubicBezTo>
                  <a:cubicBezTo>
                    <a:pt x="50" y="740"/>
                    <a:pt x="69" y="773"/>
                    <a:pt x="99" y="792"/>
                  </a:cubicBezTo>
                  <a:cubicBezTo>
                    <a:pt x="39" y="792"/>
                    <a:pt x="39" y="792"/>
                    <a:pt x="39" y="792"/>
                  </a:cubicBezTo>
                  <a:cubicBezTo>
                    <a:pt x="18" y="792"/>
                    <a:pt x="0" y="813"/>
                    <a:pt x="0" y="840"/>
                  </a:cubicBezTo>
                  <a:cubicBezTo>
                    <a:pt x="0" y="962"/>
                    <a:pt x="0" y="962"/>
                    <a:pt x="0" y="962"/>
                  </a:cubicBezTo>
                  <a:cubicBezTo>
                    <a:pt x="0" y="965"/>
                    <a:pt x="1" y="967"/>
                    <a:pt x="1" y="969"/>
                  </a:cubicBezTo>
                  <a:cubicBezTo>
                    <a:pt x="499" y="969"/>
                    <a:pt x="499" y="969"/>
                    <a:pt x="499" y="969"/>
                  </a:cubicBezTo>
                  <a:cubicBezTo>
                    <a:pt x="499" y="967"/>
                    <a:pt x="499" y="965"/>
                    <a:pt x="499" y="962"/>
                  </a:cubicBezTo>
                  <a:close/>
                  <a:moveTo>
                    <a:pt x="1264" y="430"/>
                  </a:moveTo>
                  <a:cubicBezTo>
                    <a:pt x="1180" y="316"/>
                    <a:pt x="1180" y="316"/>
                    <a:pt x="1180" y="316"/>
                  </a:cubicBezTo>
                  <a:cubicBezTo>
                    <a:pt x="1289" y="331"/>
                    <a:pt x="1289" y="331"/>
                    <a:pt x="1289" y="331"/>
                  </a:cubicBezTo>
                  <a:cubicBezTo>
                    <a:pt x="1291" y="367"/>
                    <a:pt x="1283" y="399"/>
                    <a:pt x="1264" y="430"/>
                  </a:cubicBezTo>
                  <a:close/>
                  <a:moveTo>
                    <a:pt x="1285" y="296"/>
                  </a:moveTo>
                  <a:cubicBezTo>
                    <a:pt x="1167" y="280"/>
                    <a:pt x="1167" y="280"/>
                    <a:pt x="1167" y="280"/>
                  </a:cubicBezTo>
                  <a:cubicBezTo>
                    <a:pt x="1266" y="231"/>
                    <a:pt x="1266" y="231"/>
                    <a:pt x="1266" y="231"/>
                  </a:cubicBezTo>
                  <a:cubicBezTo>
                    <a:pt x="1274" y="254"/>
                    <a:pt x="1281" y="276"/>
                    <a:pt x="1285" y="296"/>
                  </a:cubicBezTo>
                  <a:close/>
                  <a:moveTo>
                    <a:pt x="1245" y="185"/>
                  </a:moveTo>
                  <a:cubicBezTo>
                    <a:pt x="1149" y="231"/>
                    <a:pt x="1149" y="231"/>
                    <a:pt x="1149" y="231"/>
                  </a:cubicBezTo>
                  <a:cubicBezTo>
                    <a:pt x="1201" y="124"/>
                    <a:pt x="1201" y="124"/>
                    <a:pt x="1201" y="124"/>
                  </a:cubicBezTo>
                  <a:cubicBezTo>
                    <a:pt x="1218" y="140"/>
                    <a:pt x="1232" y="161"/>
                    <a:pt x="1245" y="185"/>
                  </a:cubicBezTo>
                  <a:close/>
                  <a:moveTo>
                    <a:pt x="1173" y="101"/>
                  </a:moveTo>
                  <a:cubicBezTo>
                    <a:pt x="1126" y="201"/>
                    <a:pt x="1126" y="201"/>
                    <a:pt x="1126" y="201"/>
                  </a:cubicBezTo>
                  <a:cubicBezTo>
                    <a:pt x="1097" y="80"/>
                    <a:pt x="1097" y="80"/>
                    <a:pt x="1097" y="80"/>
                  </a:cubicBezTo>
                  <a:cubicBezTo>
                    <a:pt x="1124" y="79"/>
                    <a:pt x="1150" y="87"/>
                    <a:pt x="1173" y="101"/>
                  </a:cubicBezTo>
                  <a:close/>
                  <a:moveTo>
                    <a:pt x="460" y="792"/>
                  </a:moveTo>
                  <a:cubicBezTo>
                    <a:pt x="211" y="792"/>
                    <a:pt x="211" y="792"/>
                    <a:pt x="211" y="792"/>
                  </a:cubicBezTo>
                  <a:cubicBezTo>
                    <a:pt x="239" y="774"/>
                    <a:pt x="259" y="742"/>
                    <a:pt x="260" y="706"/>
                  </a:cubicBezTo>
                  <a:cubicBezTo>
                    <a:pt x="667" y="525"/>
                    <a:pt x="667" y="525"/>
                    <a:pt x="667" y="525"/>
                  </a:cubicBezTo>
                  <a:cubicBezTo>
                    <a:pt x="466" y="792"/>
                    <a:pt x="466" y="792"/>
                    <a:pt x="466" y="792"/>
                  </a:cubicBezTo>
                  <a:cubicBezTo>
                    <a:pt x="464" y="792"/>
                    <a:pt x="462" y="792"/>
                    <a:pt x="460" y="792"/>
                  </a:cubicBezTo>
                  <a:close/>
                </a:path>
              </a:pathLst>
            </a:custGeom>
            <a:solidFill>
              <a:schemeClr val="accent4"/>
            </a:solidFill>
            <a:ln>
              <a:noFill/>
            </a:ln>
          </p:spPr>
          <p:txBody>
            <a:bodyPr vert="horz" wrap="square" lIns="91344" tIns="45672" rIns="91344" bIns="45672" numCol="1" anchor="t" anchorCtr="0" compatLnSpc="1">
              <a:prstTxWarp prst="textNoShape">
                <a:avLst/>
              </a:prstTxWarp>
            </a:bodyPr>
            <a:lstStyle/>
            <a:p>
              <a:endParaRPr lang="en-US" sz="1798" dirty="0">
                <a:solidFill>
                  <a:srgbClr val="000000"/>
                </a:solidFill>
              </a:endParaRPr>
            </a:p>
          </p:txBody>
        </p:sp>
      </p:grpSp>
      <p:grpSp>
        <p:nvGrpSpPr>
          <p:cNvPr id="116" name="Gruppieren 227"/>
          <p:cNvGrpSpPr>
            <a:grpSpLocks noChangeAspect="1"/>
          </p:cNvGrpSpPr>
          <p:nvPr/>
        </p:nvGrpSpPr>
        <p:grpSpPr>
          <a:xfrm>
            <a:off x="11211361" y="2387542"/>
            <a:ext cx="605736" cy="496408"/>
            <a:chOff x="5408613" y="2928938"/>
            <a:chExt cx="2695575" cy="2695575"/>
          </a:xfrm>
          <a:solidFill>
            <a:schemeClr val="tx1"/>
          </a:solidFill>
        </p:grpSpPr>
        <p:sp>
          <p:nvSpPr>
            <p:cNvPr id="137" name="Freeform 136"/>
            <p:cNvSpPr>
              <a:spLocks/>
            </p:cNvSpPr>
            <p:nvPr/>
          </p:nvSpPr>
          <p:spPr bwMode="auto">
            <a:xfrm>
              <a:off x="6811963" y="3582988"/>
              <a:ext cx="423863" cy="155575"/>
            </a:xfrm>
            <a:custGeom>
              <a:avLst/>
              <a:gdLst>
                <a:gd name="T0" fmla="*/ 0 w 534"/>
                <a:gd name="T1" fmla="*/ 80 h 195"/>
                <a:gd name="T2" fmla="*/ 77 w 534"/>
                <a:gd name="T3" fmla="*/ 195 h 195"/>
                <a:gd name="T4" fmla="*/ 77 w 534"/>
                <a:gd name="T5" fmla="*/ 195 h 195"/>
                <a:gd name="T6" fmla="*/ 98 w 534"/>
                <a:gd name="T7" fmla="*/ 181 h 195"/>
                <a:gd name="T8" fmla="*/ 120 w 534"/>
                <a:gd name="T9" fmla="*/ 169 h 195"/>
                <a:gd name="T10" fmla="*/ 144 w 534"/>
                <a:gd name="T11" fmla="*/ 159 h 195"/>
                <a:gd name="T12" fmla="*/ 168 w 534"/>
                <a:gd name="T13" fmla="*/ 152 h 195"/>
                <a:gd name="T14" fmla="*/ 192 w 534"/>
                <a:gd name="T15" fmla="*/ 145 h 195"/>
                <a:gd name="T16" fmla="*/ 216 w 534"/>
                <a:gd name="T17" fmla="*/ 140 h 195"/>
                <a:gd name="T18" fmla="*/ 241 w 534"/>
                <a:gd name="T19" fmla="*/ 138 h 195"/>
                <a:gd name="T20" fmla="*/ 267 w 534"/>
                <a:gd name="T21" fmla="*/ 136 h 195"/>
                <a:gd name="T22" fmla="*/ 267 w 534"/>
                <a:gd name="T23" fmla="*/ 136 h 195"/>
                <a:gd name="T24" fmla="*/ 293 w 534"/>
                <a:gd name="T25" fmla="*/ 138 h 195"/>
                <a:gd name="T26" fmla="*/ 318 w 534"/>
                <a:gd name="T27" fmla="*/ 140 h 195"/>
                <a:gd name="T28" fmla="*/ 342 w 534"/>
                <a:gd name="T29" fmla="*/ 145 h 195"/>
                <a:gd name="T30" fmla="*/ 366 w 534"/>
                <a:gd name="T31" fmla="*/ 152 h 195"/>
                <a:gd name="T32" fmla="*/ 390 w 534"/>
                <a:gd name="T33" fmla="*/ 159 h 195"/>
                <a:gd name="T34" fmla="*/ 414 w 534"/>
                <a:gd name="T35" fmla="*/ 169 h 195"/>
                <a:gd name="T36" fmla="*/ 436 w 534"/>
                <a:gd name="T37" fmla="*/ 181 h 195"/>
                <a:gd name="T38" fmla="*/ 459 w 534"/>
                <a:gd name="T39" fmla="*/ 195 h 195"/>
                <a:gd name="T40" fmla="*/ 534 w 534"/>
                <a:gd name="T41" fmla="*/ 80 h 195"/>
                <a:gd name="T42" fmla="*/ 534 w 534"/>
                <a:gd name="T43" fmla="*/ 80 h 195"/>
                <a:gd name="T44" fmla="*/ 503 w 534"/>
                <a:gd name="T45" fmla="*/ 61 h 195"/>
                <a:gd name="T46" fmla="*/ 472 w 534"/>
                <a:gd name="T47" fmla="*/ 46 h 195"/>
                <a:gd name="T48" fmla="*/ 440 w 534"/>
                <a:gd name="T49" fmla="*/ 32 h 195"/>
                <a:gd name="T50" fmla="*/ 407 w 534"/>
                <a:gd name="T51" fmla="*/ 20 h 195"/>
                <a:gd name="T52" fmla="*/ 373 w 534"/>
                <a:gd name="T53" fmla="*/ 12 h 195"/>
                <a:gd name="T54" fmla="*/ 337 w 534"/>
                <a:gd name="T55" fmla="*/ 5 h 195"/>
                <a:gd name="T56" fmla="*/ 303 w 534"/>
                <a:gd name="T57" fmla="*/ 1 h 195"/>
                <a:gd name="T58" fmla="*/ 267 w 534"/>
                <a:gd name="T59" fmla="*/ 0 h 195"/>
                <a:gd name="T60" fmla="*/ 267 w 534"/>
                <a:gd name="T61" fmla="*/ 0 h 195"/>
                <a:gd name="T62" fmla="*/ 231 w 534"/>
                <a:gd name="T63" fmla="*/ 1 h 195"/>
                <a:gd name="T64" fmla="*/ 197 w 534"/>
                <a:gd name="T65" fmla="*/ 5 h 195"/>
                <a:gd name="T66" fmla="*/ 161 w 534"/>
                <a:gd name="T67" fmla="*/ 12 h 195"/>
                <a:gd name="T68" fmla="*/ 128 w 534"/>
                <a:gd name="T69" fmla="*/ 20 h 195"/>
                <a:gd name="T70" fmla="*/ 94 w 534"/>
                <a:gd name="T71" fmla="*/ 32 h 195"/>
                <a:gd name="T72" fmla="*/ 62 w 534"/>
                <a:gd name="T73" fmla="*/ 46 h 195"/>
                <a:gd name="T74" fmla="*/ 31 w 534"/>
                <a:gd name="T75" fmla="*/ 61 h 195"/>
                <a:gd name="T76" fmla="*/ 0 w 534"/>
                <a:gd name="T77" fmla="*/ 80 h 195"/>
                <a:gd name="T78" fmla="*/ 0 w 534"/>
                <a:gd name="T79" fmla="*/ 8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34" h="195">
                  <a:moveTo>
                    <a:pt x="0" y="80"/>
                  </a:moveTo>
                  <a:lnTo>
                    <a:pt x="77" y="195"/>
                  </a:lnTo>
                  <a:lnTo>
                    <a:pt x="77" y="195"/>
                  </a:lnTo>
                  <a:lnTo>
                    <a:pt x="98" y="181"/>
                  </a:lnTo>
                  <a:lnTo>
                    <a:pt x="120" y="169"/>
                  </a:lnTo>
                  <a:lnTo>
                    <a:pt x="144" y="159"/>
                  </a:lnTo>
                  <a:lnTo>
                    <a:pt x="168" y="152"/>
                  </a:lnTo>
                  <a:lnTo>
                    <a:pt x="192" y="145"/>
                  </a:lnTo>
                  <a:lnTo>
                    <a:pt x="216" y="140"/>
                  </a:lnTo>
                  <a:lnTo>
                    <a:pt x="241" y="138"/>
                  </a:lnTo>
                  <a:lnTo>
                    <a:pt x="267" y="136"/>
                  </a:lnTo>
                  <a:lnTo>
                    <a:pt x="267" y="136"/>
                  </a:lnTo>
                  <a:lnTo>
                    <a:pt x="293" y="138"/>
                  </a:lnTo>
                  <a:lnTo>
                    <a:pt x="318" y="140"/>
                  </a:lnTo>
                  <a:lnTo>
                    <a:pt x="342" y="145"/>
                  </a:lnTo>
                  <a:lnTo>
                    <a:pt x="366" y="152"/>
                  </a:lnTo>
                  <a:lnTo>
                    <a:pt x="390" y="159"/>
                  </a:lnTo>
                  <a:lnTo>
                    <a:pt x="414" y="169"/>
                  </a:lnTo>
                  <a:lnTo>
                    <a:pt x="436" y="181"/>
                  </a:lnTo>
                  <a:lnTo>
                    <a:pt x="459" y="195"/>
                  </a:lnTo>
                  <a:lnTo>
                    <a:pt x="534" y="80"/>
                  </a:lnTo>
                  <a:lnTo>
                    <a:pt x="534" y="80"/>
                  </a:lnTo>
                  <a:lnTo>
                    <a:pt x="503" y="61"/>
                  </a:lnTo>
                  <a:lnTo>
                    <a:pt x="472" y="46"/>
                  </a:lnTo>
                  <a:lnTo>
                    <a:pt x="440" y="32"/>
                  </a:lnTo>
                  <a:lnTo>
                    <a:pt x="407" y="20"/>
                  </a:lnTo>
                  <a:lnTo>
                    <a:pt x="373" y="12"/>
                  </a:lnTo>
                  <a:lnTo>
                    <a:pt x="337" y="5"/>
                  </a:lnTo>
                  <a:lnTo>
                    <a:pt x="303" y="1"/>
                  </a:lnTo>
                  <a:lnTo>
                    <a:pt x="267" y="0"/>
                  </a:lnTo>
                  <a:lnTo>
                    <a:pt x="267" y="0"/>
                  </a:lnTo>
                  <a:lnTo>
                    <a:pt x="231" y="1"/>
                  </a:lnTo>
                  <a:lnTo>
                    <a:pt x="197" y="5"/>
                  </a:lnTo>
                  <a:lnTo>
                    <a:pt x="161" y="12"/>
                  </a:lnTo>
                  <a:lnTo>
                    <a:pt x="128" y="20"/>
                  </a:lnTo>
                  <a:lnTo>
                    <a:pt x="94" y="32"/>
                  </a:lnTo>
                  <a:lnTo>
                    <a:pt x="62" y="46"/>
                  </a:lnTo>
                  <a:lnTo>
                    <a:pt x="31" y="61"/>
                  </a:lnTo>
                  <a:lnTo>
                    <a:pt x="0" y="80"/>
                  </a:lnTo>
                  <a:lnTo>
                    <a:pt x="0"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sp>
          <p:nvSpPr>
            <p:cNvPr id="138" name="Freeform 137"/>
            <p:cNvSpPr>
              <a:spLocks/>
            </p:cNvSpPr>
            <p:nvPr/>
          </p:nvSpPr>
          <p:spPr bwMode="auto">
            <a:xfrm>
              <a:off x="6581776" y="3255963"/>
              <a:ext cx="885825" cy="241300"/>
            </a:xfrm>
            <a:custGeom>
              <a:avLst/>
              <a:gdLst>
                <a:gd name="T0" fmla="*/ 1116 w 1116"/>
                <a:gd name="T1" fmla="*/ 195 h 303"/>
                <a:gd name="T2" fmla="*/ 1056 w 1116"/>
                <a:gd name="T3" fmla="*/ 151 h 303"/>
                <a:gd name="T4" fmla="*/ 991 w 1116"/>
                <a:gd name="T5" fmla="*/ 112 h 303"/>
                <a:gd name="T6" fmla="*/ 924 w 1116"/>
                <a:gd name="T7" fmla="*/ 79 h 303"/>
                <a:gd name="T8" fmla="*/ 854 w 1116"/>
                <a:gd name="T9" fmla="*/ 50 h 303"/>
                <a:gd name="T10" fmla="*/ 782 w 1116"/>
                <a:gd name="T11" fmla="*/ 29 h 303"/>
                <a:gd name="T12" fmla="*/ 708 w 1116"/>
                <a:gd name="T13" fmla="*/ 12 h 303"/>
                <a:gd name="T14" fmla="*/ 633 w 1116"/>
                <a:gd name="T15" fmla="*/ 4 h 303"/>
                <a:gd name="T16" fmla="*/ 558 w 1116"/>
                <a:gd name="T17" fmla="*/ 0 h 303"/>
                <a:gd name="T18" fmla="*/ 520 w 1116"/>
                <a:gd name="T19" fmla="*/ 0 h 303"/>
                <a:gd name="T20" fmla="*/ 445 w 1116"/>
                <a:gd name="T21" fmla="*/ 7 h 303"/>
                <a:gd name="T22" fmla="*/ 371 w 1116"/>
                <a:gd name="T23" fmla="*/ 19 h 303"/>
                <a:gd name="T24" fmla="*/ 298 w 1116"/>
                <a:gd name="T25" fmla="*/ 38 h 303"/>
                <a:gd name="T26" fmla="*/ 228 w 1116"/>
                <a:gd name="T27" fmla="*/ 64 h 303"/>
                <a:gd name="T28" fmla="*/ 159 w 1116"/>
                <a:gd name="T29" fmla="*/ 94 h 303"/>
                <a:gd name="T30" fmla="*/ 93 w 1116"/>
                <a:gd name="T31" fmla="*/ 130 h 303"/>
                <a:gd name="T32" fmla="*/ 29 w 1116"/>
                <a:gd name="T33" fmla="*/ 173 h 303"/>
                <a:gd name="T34" fmla="*/ 86 w 1116"/>
                <a:gd name="T35" fmla="*/ 303 h 303"/>
                <a:gd name="T36" fmla="*/ 111 w 1116"/>
                <a:gd name="T37" fmla="*/ 283 h 303"/>
                <a:gd name="T38" fmla="*/ 164 w 1116"/>
                <a:gd name="T39" fmla="*/ 247 h 303"/>
                <a:gd name="T40" fmla="*/ 221 w 1116"/>
                <a:gd name="T41" fmla="*/ 216 h 303"/>
                <a:gd name="T42" fmla="*/ 277 w 1116"/>
                <a:gd name="T43" fmla="*/ 190 h 303"/>
                <a:gd name="T44" fmla="*/ 337 w 1116"/>
                <a:gd name="T45" fmla="*/ 170 h 303"/>
                <a:gd name="T46" fmla="*/ 399 w 1116"/>
                <a:gd name="T47" fmla="*/ 154 h 303"/>
                <a:gd name="T48" fmla="*/ 462 w 1116"/>
                <a:gd name="T49" fmla="*/ 142 h 303"/>
                <a:gd name="T50" fmla="*/ 525 w 1116"/>
                <a:gd name="T51" fmla="*/ 137 h 303"/>
                <a:gd name="T52" fmla="*/ 558 w 1116"/>
                <a:gd name="T53" fmla="*/ 137 h 303"/>
                <a:gd name="T54" fmla="*/ 623 w 1116"/>
                <a:gd name="T55" fmla="*/ 139 h 303"/>
                <a:gd name="T56" fmla="*/ 686 w 1116"/>
                <a:gd name="T57" fmla="*/ 147 h 303"/>
                <a:gd name="T58" fmla="*/ 748 w 1116"/>
                <a:gd name="T59" fmla="*/ 161 h 303"/>
                <a:gd name="T60" fmla="*/ 809 w 1116"/>
                <a:gd name="T61" fmla="*/ 178 h 303"/>
                <a:gd name="T62" fmla="*/ 868 w 1116"/>
                <a:gd name="T63" fmla="*/ 202 h 303"/>
                <a:gd name="T64" fmla="*/ 924 w 1116"/>
                <a:gd name="T65" fmla="*/ 231 h 303"/>
                <a:gd name="T66" fmla="*/ 979 w 1116"/>
                <a:gd name="T67" fmla="*/ 264 h 303"/>
                <a:gd name="T68" fmla="*/ 1030 w 1116"/>
                <a:gd name="T69"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16" h="303">
                  <a:moveTo>
                    <a:pt x="1116" y="195"/>
                  </a:moveTo>
                  <a:lnTo>
                    <a:pt x="1116" y="195"/>
                  </a:lnTo>
                  <a:lnTo>
                    <a:pt x="1087" y="173"/>
                  </a:lnTo>
                  <a:lnTo>
                    <a:pt x="1056" y="151"/>
                  </a:lnTo>
                  <a:lnTo>
                    <a:pt x="1023" y="130"/>
                  </a:lnTo>
                  <a:lnTo>
                    <a:pt x="991" y="112"/>
                  </a:lnTo>
                  <a:lnTo>
                    <a:pt x="958" y="94"/>
                  </a:lnTo>
                  <a:lnTo>
                    <a:pt x="924" y="79"/>
                  </a:lnTo>
                  <a:lnTo>
                    <a:pt x="890" y="64"/>
                  </a:lnTo>
                  <a:lnTo>
                    <a:pt x="854" y="50"/>
                  </a:lnTo>
                  <a:lnTo>
                    <a:pt x="818" y="38"/>
                  </a:lnTo>
                  <a:lnTo>
                    <a:pt x="782" y="29"/>
                  </a:lnTo>
                  <a:lnTo>
                    <a:pt x="746" y="19"/>
                  </a:lnTo>
                  <a:lnTo>
                    <a:pt x="708" y="12"/>
                  </a:lnTo>
                  <a:lnTo>
                    <a:pt x="671" y="7"/>
                  </a:lnTo>
                  <a:lnTo>
                    <a:pt x="633" y="4"/>
                  </a:lnTo>
                  <a:lnTo>
                    <a:pt x="596" y="0"/>
                  </a:lnTo>
                  <a:lnTo>
                    <a:pt x="558" y="0"/>
                  </a:lnTo>
                  <a:lnTo>
                    <a:pt x="558" y="0"/>
                  </a:lnTo>
                  <a:lnTo>
                    <a:pt x="520" y="0"/>
                  </a:lnTo>
                  <a:lnTo>
                    <a:pt x="483" y="4"/>
                  </a:lnTo>
                  <a:lnTo>
                    <a:pt x="445" y="7"/>
                  </a:lnTo>
                  <a:lnTo>
                    <a:pt x="407" y="12"/>
                  </a:lnTo>
                  <a:lnTo>
                    <a:pt x="371" y="19"/>
                  </a:lnTo>
                  <a:lnTo>
                    <a:pt x="334" y="29"/>
                  </a:lnTo>
                  <a:lnTo>
                    <a:pt x="298" y="38"/>
                  </a:lnTo>
                  <a:lnTo>
                    <a:pt x="262" y="50"/>
                  </a:lnTo>
                  <a:lnTo>
                    <a:pt x="228" y="64"/>
                  </a:lnTo>
                  <a:lnTo>
                    <a:pt x="192" y="79"/>
                  </a:lnTo>
                  <a:lnTo>
                    <a:pt x="159" y="94"/>
                  </a:lnTo>
                  <a:lnTo>
                    <a:pt x="125" y="112"/>
                  </a:lnTo>
                  <a:lnTo>
                    <a:pt x="93" y="130"/>
                  </a:lnTo>
                  <a:lnTo>
                    <a:pt x="62" y="151"/>
                  </a:lnTo>
                  <a:lnTo>
                    <a:pt x="29" y="173"/>
                  </a:lnTo>
                  <a:lnTo>
                    <a:pt x="0" y="195"/>
                  </a:lnTo>
                  <a:lnTo>
                    <a:pt x="86" y="303"/>
                  </a:lnTo>
                  <a:lnTo>
                    <a:pt x="86" y="303"/>
                  </a:lnTo>
                  <a:lnTo>
                    <a:pt x="111" y="283"/>
                  </a:lnTo>
                  <a:lnTo>
                    <a:pt x="137" y="264"/>
                  </a:lnTo>
                  <a:lnTo>
                    <a:pt x="164" y="247"/>
                  </a:lnTo>
                  <a:lnTo>
                    <a:pt x="192" y="231"/>
                  </a:lnTo>
                  <a:lnTo>
                    <a:pt x="221" y="216"/>
                  </a:lnTo>
                  <a:lnTo>
                    <a:pt x="248" y="202"/>
                  </a:lnTo>
                  <a:lnTo>
                    <a:pt x="277" y="190"/>
                  </a:lnTo>
                  <a:lnTo>
                    <a:pt x="308" y="178"/>
                  </a:lnTo>
                  <a:lnTo>
                    <a:pt x="337" y="170"/>
                  </a:lnTo>
                  <a:lnTo>
                    <a:pt x="368" y="161"/>
                  </a:lnTo>
                  <a:lnTo>
                    <a:pt x="399" y="154"/>
                  </a:lnTo>
                  <a:lnTo>
                    <a:pt x="430" y="147"/>
                  </a:lnTo>
                  <a:lnTo>
                    <a:pt x="462" y="142"/>
                  </a:lnTo>
                  <a:lnTo>
                    <a:pt x="493" y="139"/>
                  </a:lnTo>
                  <a:lnTo>
                    <a:pt x="525" y="137"/>
                  </a:lnTo>
                  <a:lnTo>
                    <a:pt x="558" y="137"/>
                  </a:lnTo>
                  <a:lnTo>
                    <a:pt x="558" y="137"/>
                  </a:lnTo>
                  <a:lnTo>
                    <a:pt x="590" y="137"/>
                  </a:lnTo>
                  <a:lnTo>
                    <a:pt x="623" y="139"/>
                  </a:lnTo>
                  <a:lnTo>
                    <a:pt x="655" y="142"/>
                  </a:lnTo>
                  <a:lnTo>
                    <a:pt x="686" y="147"/>
                  </a:lnTo>
                  <a:lnTo>
                    <a:pt x="717" y="154"/>
                  </a:lnTo>
                  <a:lnTo>
                    <a:pt x="748" y="161"/>
                  </a:lnTo>
                  <a:lnTo>
                    <a:pt x="779" y="170"/>
                  </a:lnTo>
                  <a:lnTo>
                    <a:pt x="809" y="178"/>
                  </a:lnTo>
                  <a:lnTo>
                    <a:pt x="838" y="190"/>
                  </a:lnTo>
                  <a:lnTo>
                    <a:pt x="868" y="202"/>
                  </a:lnTo>
                  <a:lnTo>
                    <a:pt x="897" y="216"/>
                  </a:lnTo>
                  <a:lnTo>
                    <a:pt x="924" y="231"/>
                  </a:lnTo>
                  <a:lnTo>
                    <a:pt x="951" y="247"/>
                  </a:lnTo>
                  <a:lnTo>
                    <a:pt x="979" y="264"/>
                  </a:lnTo>
                  <a:lnTo>
                    <a:pt x="1004" y="283"/>
                  </a:lnTo>
                  <a:lnTo>
                    <a:pt x="1030" y="303"/>
                  </a:lnTo>
                  <a:lnTo>
                    <a:pt x="1116" y="19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sp>
          <p:nvSpPr>
            <p:cNvPr id="139" name="Freeform 138"/>
            <p:cNvSpPr>
              <a:spLocks/>
            </p:cNvSpPr>
            <p:nvPr/>
          </p:nvSpPr>
          <p:spPr bwMode="auto">
            <a:xfrm>
              <a:off x="6351588" y="2928938"/>
              <a:ext cx="1347788" cy="331788"/>
            </a:xfrm>
            <a:custGeom>
              <a:avLst/>
              <a:gdLst>
                <a:gd name="T0" fmla="*/ 849 w 1699"/>
                <a:gd name="T1" fmla="*/ 137 h 417"/>
                <a:gd name="T2" fmla="*/ 953 w 1699"/>
                <a:gd name="T3" fmla="*/ 140 h 417"/>
                <a:gd name="T4" fmla="*/ 1056 w 1699"/>
                <a:gd name="T5" fmla="*/ 154 h 417"/>
                <a:gd name="T6" fmla="*/ 1157 w 1699"/>
                <a:gd name="T7" fmla="*/ 178 h 417"/>
                <a:gd name="T8" fmla="*/ 1254 w 1699"/>
                <a:gd name="T9" fmla="*/ 209 h 417"/>
                <a:gd name="T10" fmla="*/ 1350 w 1699"/>
                <a:gd name="T11" fmla="*/ 248 h 417"/>
                <a:gd name="T12" fmla="*/ 1441 w 1699"/>
                <a:gd name="T13" fmla="*/ 296 h 417"/>
                <a:gd name="T14" fmla="*/ 1528 w 1699"/>
                <a:gd name="T15" fmla="*/ 352 h 417"/>
                <a:gd name="T16" fmla="*/ 1610 w 1699"/>
                <a:gd name="T17" fmla="*/ 417 h 417"/>
                <a:gd name="T18" fmla="*/ 1699 w 1699"/>
                <a:gd name="T19" fmla="*/ 313 h 417"/>
                <a:gd name="T20" fmla="*/ 1607 w 1699"/>
                <a:gd name="T21" fmla="*/ 241 h 417"/>
                <a:gd name="T22" fmla="*/ 1509 w 1699"/>
                <a:gd name="T23" fmla="*/ 178 h 417"/>
                <a:gd name="T24" fmla="*/ 1408 w 1699"/>
                <a:gd name="T25" fmla="*/ 125 h 417"/>
                <a:gd name="T26" fmla="*/ 1302 w 1699"/>
                <a:gd name="T27" fmla="*/ 80 h 417"/>
                <a:gd name="T28" fmla="*/ 1193 w 1699"/>
                <a:gd name="T29" fmla="*/ 44 h 417"/>
                <a:gd name="T30" fmla="*/ 1080 w 1699"/>
                <a:gd name="T31" fmla="*/ 21 h 417"/>
                <a:gd name="T32" fmla="*/ 965 w 1699"/>
                <a:gd name="T33" fmla="*/ 5 h 417"/>
                <a:gd name="T34" fmla="*/ 849 w 1699"/>
                <a:gd name="T35" fmla="*/ 0 h 417"/>
                <a:gd name="T36" fmla="*/ 791 w 1699"/>
                <a:gd name="T37" fmla="*/ 0 h 417"/>
                <a:gd name="T38" fmla="*/ 674 w 1699"/>
                <a:gd name="T39" fmla="*/ 10 h 417"/>
                <a:gd name="T40" fmla="*/ 561 w 1699"/>
                <a:gd name="T41" fmla="*/ 31 h 417"/>
                <a:gd name="T42" fmla="*/ 450 w 1699"/>
                <a:gd name="T43" fmla="*/ 62 h 417"/>
                <a:gd name="T44" fmla="*/ 342 w 1699"/>
                <a:gd name="T45" fmla="*/ 101 h 417"/>
                <a:gd name="T46" fmla="*/ 238 w 1699"/>
                <a:gd name="T47" fmla="*/ 151 h 417"/>
                <a:gd name="T48" fmla="*/ 139 w 1699"/>
                <a:gd name="T49" fmla="*/ 209 h 417"/>
                <a:gd name="T50" fmla="*/ 45 w 1699"/>
                <a:gd name="T51" fmla="*/ 275 h 417"/>
                <a:gd name="T52" fmla="*/ 89 w 1699"/>
                <a:gd name="T53" fmla="*/ 417 h 417"/>
                <a:gd name="T54" fmla="*/ 129 w 1699"/>
                <a:gd name="T55" fmla="*/ 383 h 417"/>
                <a:gd name="T56" fmla="*/ 214 w 1699"/>
                <a:gd name="T57" fmla="*/ 323 h 417"/>
                <a:gd name="T58" fmla="*/ 303 w 1699"/>
                <a:gd name="T59" fmla="*/ 272 h 417"/>
                <a:gd name="T60" fmla="*/ 396 w 1699"/>
                <a:gd name="T61" fmla="*/ 228 h 417"/>
                <a:gd name="T62" fmla="*/ 493 w 1699"/>
                <a:gd name="T63" fmla="*/ 192 h 417"/>
                <a:gd name="T64" fmla="*/ 592 w 1699"/>
                <a:gd name="T65" fmla="*/ 164 h 417"/>
                <a:gd name="T66" fmla="*/ 693 w 1699"/>
                <a:gd name="T67" fmla="*/ 147 h 417"/>
                <a:gd name="T68" fmla="*/ 798 w 1699"/>
                <a:gd name="T69" fmla="*/ 137 h 417"/>
                <a:gd name="T70" fmla="*/ 849 w 1699"/>
                <a:gd name="T71" fmla="*/ 13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99" h="417">
                  <a:moveTo>
                    <a:pt x="849" y="137"/>
                  </a:moveTo>
                  <a:lnTo>
                    <a:pt x="849" y="137"/>
                  </a:lnTo>
                  <a:lnTo>
                    <a:pt x="902" y="137"/>
                  </a:lnTo>
                  <a:lnTo>
                    <a:pt x="953" y="140"/>
                  </a:lnTo>
                  <a:lnTo>
                    <a:pt x="1005" y="147"/>
                  </a:lnTo>
                  <a:lnTo>
                    <a:pt x="1056" y="154"/>
                  </a:lnTo>
                  <a:lnTo>
                    <a:pt x="1106" y="164"/>
                  </a:lnTo>
                  <a:lnTo>
                    <a:pt x="1157" y="178"/>
                  </a:lnTo>
                  <a:lnTo>
                    <a:pt x="1206" y="192"/>
                  </a:lnTo>
                  <a:lnTo>
                    <a:pt x="1254" y="209"/>
                  </a:lnTo>
                  <a:lnTo>
                    <a:pt x="1302" y="228"/>
                  </a:lnTo>
                  <a:lnTo>
                    <a:pt x="1350" y="248"/>
                  </a:lnTo>
                  <a:lnTo>
                    <a:pt x="1396" y="272"/>
                  </a:lnTo>
                  <a:lnTo>
                    <a:pt x="1441" y="296"/>
                  </a:lnTo>
                  <a:lnTo>
                    <a:pt x="1485" y="323"/>
                  </a:lnTo>
                  <a:lnTo>
                    <a:pt x="1528" y="352"/>
                  </a:lnTo>
                  <a:lnTo>
                    <a:pt x="1569" y="383"/>
                  </a:lnTo>
                  <a:lnTo>
                    <a:pt x="1610" y="417"/>
                  </a:lnTo>
                  <a:lnTo>
                    <a:pt x="1699" y="313"/>
                  </a:lnTo>
                  <a:lnTo>
                    <a:pt x="1699" y="313"/>
                  </a:lnTo>
                  <a:lnTo>
                    <a:pt x="1653" y="275"/>
                  </a:lnTo>
                  <a:lnTo>
                    <a:pt x="1607" y="241"/>
                  </a:lnTo>
                  <a:lnTo>
                    <a:pt x="1559" y="209"/>
                  </a:lnTo>
                  <a:lnTo>
                    <a:pt x="1509" y="178"/>
                  </a:lnTo>
                  <a:lnTo>
                    <a:pt x="1460" y="151"/>
                  </a:lnTo>
                  <a:lnTo>
                    <a:pt x="1408" y="125"/>
                  </a:lnTo>
                  <a:lnTo>
                    <a:pt x="1355" y="101"/>
                  </a:lnTo>
                  <a:lnTo>
                    <a:pt x="1302" y="80"/>
                  </a:lnTo>
                  <a:lnTo>
                    <a:pt x="1248" y="62"/>
                  </a:lnTo>
                  <a:lnTo>
                    <a:pt x="1193" y="44"/>
                  </a:lnTo>
                  <a:lnTo>
                    <a:pt x="1136" y="31"/>
                  </a:lnTo>
                  <a:lnTo>
                    <a:pt x="1080" y="21"/>
                  </a:lnTo>
                  <a:lnTo>
                    <a:pt x="1023" y="10"/>
                  </a:lnTo>
                  <a:lnTo>
                    <a:pt x="965" y="5"/>
                  </a:lnTo>
                  <a:lnTo>
                    <a:pt x="907" y="0"/>
                  </a:lnTo>
                  <a:lnTo>
                    <a:pt x="849" y="0"/>
                  </a:lnTo>
                  <a:lnTo>
                    <a:pt x="849" y="0"/>
                  </a:lnTo>
                  <a:lnTo>
                    <a:pt x="791" y="0"/>
                  </a:lnTo>
                  <a:lnTo>
                    <a:pt x="733" y="5"/>
                  </a:lnTo>
                  <a:lnTo>
                    <a:pt x="674" y="10"/>
                  </a:lnTo>
                  <a:lnTo>
                    <a:pt x="618" y="21"/>
                  </a:lnTo>
                  <a:lnTo>
                    <a:pt x="561" y="31"/>
                  </a:lnTo>
                  <a:lnTo>
                    <a:pt x="505" y="44"/>
                  </a:lnTo>
                  <a:lnTo>
                    <a:pt x="450" y="62"/>
                  </a:lnTo>
                  <a:lnTo>
                    <a:pt x="396" y="80"/>
                  </a:lnTo>
                  <a:lnTo>
                    <a:pt x="342" y="101"/>
                  </a:lnTo>
                  <a:lnTo>
                    <a:pt x="289" y="125"/>
                  </a:lnTo>
                  <a:lnTo>
                    <a:pt x="238" y="151"/>
                  </a:lnTo>
                  <a:lnTo>
                    <a:pt x="189" y="178"/>
                  </a:lnTo>
                  <a:lnTo>
                    <a:pt x="139" y="209"/>
                  </a:lnTo>
                  <a:lnTo>
                    <a:pt x="91" y="241"/>
                  </a:lnTo>
                  <a:lnTo>
                    <a:pt x="45" y="275"/>
                  </a:lnTo>
                  <a:lnTo>
                    <a:pt x="0" y="313"/>
                  </a:lnTo>
                  <a:lnTo>
                    <a:pt x="89" y="417"/>
                  </a:lnTo>
                  <a:lnTo>
                    <a:pt x="89" y="417"/>
                  </a:lnTo>
                  <a:lnTo>
                    <a:pt x="129" y="383"/>
                  </a:lnTo>
                  <a:lnTo>
                    <a:pt x="171" y="352"/>
                  </a:lnTo>
                  <a:lnTo>
                    <a:pt x="214" y="323"/>
                  </a:lnTo>
                  <a:lnTo>
                    <a:pt x="257" y="296"/>
                  </a:lnTo>
                  <a:lnTo>
                    <a:pt x="303" y="272"/>
                  </a:lnTo>
                  <a:lnTo>
                    <a:pt x="349" y="248"/>
                  </a:lnTo>
                  <a:lnTo>
                    <a:pt x="396" y="228"/>
                  </a:lnTo>
                  <a:lnTo>
                    <a:pt x="443" y="209"/>
                  </a:lnTo>
                  <a:lnTo>
                    <a:pt x="493" y="192"/>
                  </a:lnTo>
                  <a:lnTo>
                    <a:pt x="541" y="178"/>
                  </a:lnTo>
                  <a:lnTo>
                    <a:pt x="592" y="164"/>
                  </a:lnTo>
                  <a:lnTo>
                    <a:pt x="642" y="154"/>
                  </a:lnTo>
                  <a:lnTo>
                    <a:pt x="693" y="147"/>
                  </a:lnTo>
                  <a:lnTo>
                    <a:pt x="745" y="140"/>
                  </a:lnTo>
                  <a:lnTo>
                    <a:pt x="798" y="137"/>
                  </a:lnTo>
                  <a:lnTo>
                    <a:pt x="849" y="137"/>
                  </a:lnTo>
                  <a:lnTo>
                    <a:pt x="849" y="13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sp>
          <p:nvSpPr>
            <p:cNvPr id="140" name="Freeform 139"/>
            <p:cNvSpPr>
              <a:spLocks/>
            </p:cNvSpPr>
            <p:nvPr/>
          </p:nvSpPr>
          <p:spPr bwMode="auto">
            <a:xfrm>
              <a:off x="6992938" y="4540251"/>
              <a:ext cx="63500" cy="61913"/>
            </a:xfrm>
            <a:custGeom>
              <a:avLst/>
              <a:gdLst>
                <a:gd name="T0" fmla="*/ 0 w 78"/>
                <a:gd name="T1" fmla="*/ 39 h 79"/>
                <a:gd name="T2" fmla="*/ 0 w 78"/>
                <a:gd name="T3" fmla="*/ 39 h 79"/>
                <a:gd name="T4" fmla="*/ 1 w 78"/>
                <a:gd name="T5" fmla="*/ 46 h 79"/>
                <a:gd name="T6" fmla="*/ 3 w 78"/>
                <a:gd name="T7" fmla="*/ 55 h 79"/>
                <a:gd name="T8" fmla="*/ 6 w 78"/>
                <a:gd name="T9" fmla="*/ 62 h 79"/>
                <a:gd name="T10" fmla="*/ 12 w 78"/>
                <a:gd name="T11" fmla="*/ 67 h 79"/>
                <a:gd name="T12" fmla="*/ 18 w 78"/>
                <a:gd name="T13" fmla="*/ 72 h 79"/>
                <a:gd name="T14" fmla="*/ 23 w 78"/>
                <a:gd name="T15" fmla="*/ 75 h 79"/>
                <a:gd name="T16" fmla="*/ 32 w 78"/>
                <a:gd name="T17" fmla="*/ 77 h 79"/>
                <a:gd name="T18" fmla="*/ 39 w 78"/>
                <a:gd name="T19" fmla="*/ 79 h 79"/>
                <a:gd name="T20" fmla="*/ 39 w 78"/>
                <a:gd name="T21" fmla="*/ 79 h 79"/>
                <a:gd name="T22" fmla="*/ 47 w 78"/>
                <a:gd name="T23" fmla="*/ 77 h 79"/>
                <a:gd name="T24" fmla="*/ 54 w 78"/>
                <a:gd name="T25" fmla="*/ 75 h 79"/>
                <a:gd name="T26" fmla="*/ 61 w 78"/>
                <a:gd name="T27" fmla="*/ 72 h 79"/>
                <a:gd name="T28" fmla="*/ 68 w 78"/>
                <a:gd name="T29" fmla="*/ 67 h 79"/>
                <a:gd name="T30" fmla="*/ 71 w 78"/>
                <a:gd name="T31" fmla="*/ 62 h 79"/>
                <a:gd name="T32" fmla="*/ 77 w 78"/>
                <a:gd name="T33" fmla="*/ 55 h 79"/>
                <a:gd name="T34" fmla="*/ 78 w 78"/>
                <a:gd name="T35" fmla="*/ 46 h 79"/>
                <a:gd name="T36" fmla="*/ 78 w 78"/>
                <a:gd name="T37" fmla="*/ 39 h 79"/>
                <a:gd name="T38" fmla="*/ 78 w 78"/>
                <a:gd name="T39" fmla="*/ 39 h 79"/>
                <a:gd name="T40" fmla="*/ 78 w 78"/>
                <a:gd name="T41" fmla="*/ 31 h 79"/>
                <a:gd name="T42" fmla="*/ 77 w 78"/>
                <a:gd name="T43" fmla="*/ 24 h 79"/>
                <a:gd name="T44" fmla="*/ 71 w 78"/>
                <a:gd name="T45" fmla="*/ 17 h 79"/>
                <a:gd name="T46" fmla="*/ 68 w 78"/>
                <a:gd name="T47" fmla="*/ 10 h 79"/>
                <a:gd name="T48" fmla="*/ 61 w 78"/>
                <a:gd name="T49" fmla="*/ 7 h 79"/>
                <a:gd name="T50" fmla="*/ 54 w 78"/>
                <a:gd name="T51" fmla="*/ 3 h 79"/>
                <a:gd name="T52" fmla="*/ 47 w 78"/>
                <a:gd name="T53" fmla="*/ 0 h 79"/>
                <a:gd name="T54" fmla="*/ 39 w 78"/>
                <a:gd name="T55" fmla="*/ 0 h 79"/>
                <a:gd name="T56" fmla="*/ 39 w 78"/>
                <a:gd name="T57" fmla="*/ 0 h 79"/>
                <a:gd name="T58" fmla="*/ 32 w 78"/>
                <a:gd name="T59" fmla="*/ 0 h 79"/>
                <a:gd name="T60" fmla="*/ 23 w 78"/>
                <a:gd name="T61" fmla="*/ 3 h 79"/>
                <a:gd name="T62" fmla="*/ 18 w 78"/>
                <a:gd name="T63" fmla="*/ 7 h 79"/>
                <a:gd name="T64" fmla="*/ 12 w 78"/>
                <a:gd name="T65" fmla="*/ 10 h 79"/>
                <a:gd name="T66" fmla="*/ 6 w 78"/>
                <a:gd name="T67" fmla="*/ 17 h 79"/>
                <a:gd name="T68" fmla="*/ 3 w 78"/>
                <a:gd name="T69" fmla="*/ 24 h 79"/>
                <a:gd name="T70" fmla="*/ 1 w 78"/>
                <a:gd name="T71" fmla="*/ 31 h 79"/>
                <a:gd name="T72" fmla="*/ 0 w 78"/>
                <a:gd name="T73" fmla="*/ 39 h 79"/>
                <a:gd name="T74" fmla="*/ 0 w 78"/>
                <a:gd name="T75" fmla="*/ 3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9">
                  <a:moveTo>
                    <a:pt x="0" y="39"/>
                  </a:moveTo>
                  <a:lnTo>
                    <a:pt x="0" y="39"/>
                  </a:lnTo>
                  <a:lnTo>
                    <a:pt x="1" y="46"/>
                  </a:lnTo>
                  <a:lnTo>
                    <a:pt x="3" y="55"/>
                  </a:lnTo>
                  <a:lnTo>
                    <a:pt x="6" y="62"/>
                  </a:lnTo>
                  <a:lnTo>
                    <a:pt x="12" y="67"/>
                  </a:lnTo>
                  <a:lnTo>
                    <a:pt x="18" y="72"/>
                  </a:lnTo>
                  <a:lnTo>
                    <a:pt x="23" y="75"/>
                  </a:lnTo>
                  <a:lnTo>
                    <a:pt x="32" y="77"/>
                  </a:lnTo>
                  <a:lnTo>
                    <a:pt x="39" y="79"/>
                  </a:lnTo>
                  <a:lnTo>
                    <a:pt x="39" y="79"/>
                  </a:lnTo>
                  <a:lnTo>
                    <a:pt x="47" y="77"/>
                  </a:lnTo>
                  <a:lnTo>
                    <a:pt x="54" y="75"/>
                  </a:lnTo>
                  <a:lnTo>
                    <a:pt x="61" y="72"/>
                  </a:lnTo>
                  <a:lnTo>
                    <a:pt x="68" y="67"/>
                  </a:lnTo>
                  <a:lnTo>
                    <a:pt x="71" y="62"/>
                  </a:lnTo>
                  <a:lnTo>
                    <a:pt x="77" y="55"/>
                  </a:lnTo>
                  <a:lnTo>
                    <a:pt x="78" y="46"/>
                  </a:lnTo>
                  <a:lnTo>
                    <a:pt x="78" y="39"/>
                  </a:lnTo>
                  <a:lnTo>
                    <a:pt x="78" y="39"/>
                  </a:lnTo>
                  <a:lnTo>
                    <a:pt x="78" y="31"/>
                  </a:lnTo>
                  <a:lnTo>
                    <a:pt x="77" y="24"/>
                  </a:lnTo>
                  <a:lnTo>
                    <a:pt x="71" y="17"/>
                  </a:lnTo>
                  <a:lnTo>
                    <a:pt x="68" y="10"/>
                  </a:lnTo>
                  <a:lnTo>
                    <a:pt x="61" y="7"/>
                  </a:lnTo>
                  <a:lnTo>
                    <a:pt x="54" y="3"/>
                  </a:lnTo>
                  <a:lnTo>
                    <a:pt x="47" y="0"/>
                  </a:lnTo>
                  <a:lnTo>
                    <a:pt x="39" y="0"/>
                  </a:lnTo>
                  <a:lnTo>
                    <a:pt x="39" y="0"/>
                  </a:lnTo>
                  <a:lnTo>
                    <a:pt x="32" y="0"/>
                  </a:lnTo>
                  <a:lnTo>
                    <a:pt x="23" y="3"/>
                  </a:lnTo>
                  <a:lnTo>
                    <a:pt x="18" y="7"/>
                  </a:lnTo>
                  <a:lnTo>
                    <a:pt x="12" y="10"/>
                  </a:lnTo>
                  <a:lnTo>
                    <a:pt x="6" y="17"/>
                  </a:lnTo>
                  <a:lnTo>
                    <a:pt x="3" y="24"/>
                  </a:lnTo>
                  <a:lnTo>
                    <a:pt x="1" y="31"/>
                  </a:lnTo>
                  <a:lnTo>
                    <a:pt x="0" y="39"/>
                  </a:lnTo>
                  <a:lnTo>
                    <a:pt x="0" y="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sp>
          <p:nvSpPr>
            <p:cNvPr id="141" name="Freeform 140"/>
            <p:cNvSpPr>
              <a:spLocks/>
            </p:cNvSpPr>
            <p:nvPr/>
          </p:nvSpPr>
          <p:spPr bwMode="auto">
            <a:xfrm>
              <a:off x="6943726" y="3919538"/>
              <a:ext cx="161925" cy="161925"/>
            </a:xfrm>
            <a:custGeom>
              <a:avLst/>
              <a:gdLst>
                <a:gd name="T0" fmla="*/ 101 w 204"/>
                <a:gd name="T1" fmla="*/ 203 h 203"/>
                <a:gd name="T2" fmla="*/ 101 w 204"/>
                <a:gd name="T3" fmla="*/ 203 h 203"/>
                <a:gd name="T4" fmla="*/ 111 w 204"/>
                <a:gd name="T5" fmla="*/ 202 h 203"/>
                <a:gd name="T6" fmla="*/ 121 w 204"/>
                <a:gd name="T7" fmla="*/ 202 h 203"/>
                <a:gd name="T8" fmla="*/ 140 w 204"/>
                <a:gd name="T9" fmla="*/ 195 h 203"/>
                <a:gd name="T10" fmla="*/ 157 w 204"/>
                <a:gd name="T11" fmla="*/ 186 h 203"/>
                <a:gd name="T12" fmla="*/ 173 w 204"/>
                <a:gd name="T13" fmla="*/ 173 h 203"/>
                <a:gd name="T14" fmla="*/ 185 w 204"/>
                <a:gd name="T15" fmla="*/ 159 h 203"/>
                <a:gd name="T16" fmla="*/ 195 w 204"/>
                <a:gd name="T17" fmla="*/ 142 h 203"/>
                <a:gd name="T18" fmla="*/ 200 w 204"/>
                <a:gd name="T19" fmla="*/ 121 h 203"/>
                <a:gd name="T20" fmla="*/ 202 w 204"/>
                <a:gd name="T21" fmla="*/ 113 h 203"/>
                <a:gd name="T22" fmla="*/ 204 w 204"/>
                <a:gd name="T23" fmla="*/ 103 h 203"/>
                <a:gd name="T24" fmla="*/ 204 w 204"/>
                <a:gd name="T25" fmla="*/ 103 h 203"/>
                <a:gd name="T26" fmla="*/ 202 w 204"/>
                <a:gd name="T27" fmla="*/ 91 h 203"/>
                <a:gd name="T28" fmla="*/ 200 w 204"/>
                <a:gd name="T29" fmla="*/ 82 h 203"/>
                <a:gd name="T30" fmla="*/ 195 w 204"/>
                <a:gd name="T31" fmla="*/ 61 h 203"/>
                <a:gd name="T32" fmla="*/ 185 w 204"/>
                <a:gd name="T33" fmla="*/ 44 h 203"/>
                <a:gd name="T34" fmla="*/ 173 w 204"/>
                <a:gd name="T35" fmla="*/ 31 h 203"/>
                <a:gd name="T36" fmla="*/ 157 w 204"/>
                <a:gd name="T37" fmla="*/ 17 h 203"/>
                <a:gd name="T38" fmla="*/ 140 w 204"/>
                <a:gd name="T39" fmla="*/ 8 h 203"/>
                <a:gd name="T40" fmla="*/ 121 w 204"/>
                <a:gd name="T41" fmla="*/ 2 h 203"/>
                <a:gd name="T42" fmla="*/ 111 w 204"/>
                <a:gd name="T43" fmla="*/ 2 h 203"/>
                <a:gd name="T44" fmla="*/ 101 w 204"/>
                <a:gd name="T45" fmla="*/ 0 h 203"/>
                <a:gd name="T46" fmla="*/ 101 w 204"/>
                <a:gd name="T47" fmla="*/ 0 h 203"/>
                <a:gd name="T48" fmla="*/ 91 w 204"/>
                <a:gd name="T49" fmla="*/ 2 h 203"/>
                <a:gd name="T50" fmla="*/ 80 w 204"/>
                <a:gd name="T51" fmla="*/ 2 h 203"/>
                <a:gd name="T52" fmla="*/ 62 w 204"/>
                <a:gd name="T53" fmla="*/ 8 h 203"/>
                <a:gd name="T54" fmla="*/ 44 w 204"/>
                <a:gd name="T55" fmla="*/ 17 h 203"/>
                <a:gd name="T56" fmla="*/ 29 w 204"/>
                <a:gd name="T57" fmla="*/ 31 h 203"/>
                <a:gd name="T58" fmla="*/ 17 w 204"/>
                <a:gd name="T59" fmla="*/ 44 h 203"/>
                <a:gd name="T60" fmla="*/ 9 w 204"/>
                <a:gd name="T61" fmla="*/ 61 h 203"/>
                <a:gd name="T62" fmla="*/ 2 w 204"/>
                <a:gd name="T63" fmla="*/ 82 h 203"/>
                <a:gd name="T64" fmla="*/ 0 w 204"/>
                <a:gd name="T65" fmla="*/ 91 h 203"/>
                <a:gd name="T66" fmla="*/ 0 w 204"/>
                <a:gd name="T67" fmla="*/ 103 h 203"/>
                <a:gd name="T68" fmla="*/ 0 w 204"/>
                <a:gd name="T69" fmla="*/ 103 h 203"/>
                <a:gd name="T70" fmla="*/ 0 w 204"/>
                <a:gd name="T71" fmla="*/ 113 h 203"/>
                <a:gd name="T72" fmla="*/ 2 w 204"/>
                <a:gd name="T73" fmla="*/ 121 h 203"/>
                <a:gd name="T74" fmla="*/ 9 w 204"/>
                <a:gd name="T75" fmla="*/ 142 h 203"/>
                <a:gd name="T76" fmla="*/ 17 w 204"/>
                <a:gd name="T77" fmla="*/ 159 h 203"/>
                <a:gd name="T78" fmla="*/ 29 w 204"/>
                <a:gd name="T79" fmla="*/ 173 h 203"/>
                <a:gd name="T80" fmla="*/ 44 w 204"/>
                <a:gd name="T81" fmla="*/ 186 h 203"/>
                <a:gd name="T82" fmla="*/ 62 w 204"/>
                <a:gd name="T83" fmla="*/ 195 h 203"/>
                <a:gd name="T84" fmla="*/ 80 w 204"/>
                <a:gd name="T85" fmla="*/ 202 h 203"/>
                <a:gd name="T86" fmla="*/ 91 w 204"/>
                <a:gd name="T87" fmla="*/ 202 h 203"/>
                <a:gd name="T88" fmla="*/ 101 w 204"/>
                <a:gd name="T89" fmla="*/ 203 h 203"/>
                <a:gd name="T90" fmla="*/ 101 w 204"/>
                <a:gd name="T91"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4" h="203">
                  <a:moveTo>
                    <a:pt x="101" y="203"/>
                  </a:moveTo>
                  <a:lnTo>
                    <a:pt x="101" y="203"/>
                  </a:lnTo>
                  <a:lnTo>
                    <a:pt x="111" y="202"/>
                  </a:lnTo>
                  <a:lnTo>
                    <a:pt x="121" y="202"/>
                  </a:lnTo>
                  <a:lnTo>
                    <a:pt x="140" y="195"/>
                  </a:lnTo>
                  <a:lnTo>
                    <a:pt x="157" y="186"/>
                  </a:lnTo>
                  <a:lnTo>
                    <a:pt x="173" y="173"/>
                  </a:lnTo>
                  <a:lnTo>
                    <a:pt x="185" y="159"/>
                  </a:lnTo>
                  <a:lnTo>
                    <a:pt x="195" y="142"/>
                  </a:lnTo>
                  <a:lnTo>
                    <a:pt x="200" y="121"/>
                  </a:lnTo>
                  <a:lnTo>
                    <a:pt x="202" y="113"/>
                  </a:lnTo>
                  <a:lnTo>
                    <a:pt x="204" y="103"/>
                  </a:lnTo>
                  <a:lnTo>
                    <a:pt x="204" y="103"/>
                  </a:lnTo>
                  <a:lnTo>
                    <a:pt x="202" y="91"/>
                  </a:lnTo>
                  <a:lnTo>
                    <a:pt x="200" y="82"/>
                  </a:lnTo>
                  <a:lnTo>
                    <a:pt x="195" y="61"/>
                  </a:lnTo>
                  <a:lnTo>
                    <a:pt x="185" y="44"/>
                  </a:lnTo>
                  <a:lnTo>
                    <a:pt x="173" y="31"/>
                  </a:lnTo>
                  <a:lnTo>
                    <a:pt x="157" y="17"/>
                  </a:lnTo>
                  <a:lnTo>
                    <a:pt x="140" y="8"/>
                  </a:lnTo>
                  <a:lnTo>
                    <a:pt x="121" y="2"/>
                  </a:lnTo>
                  <a:lnTo>
                    <a:pt x="111" y="2"/>
                  </a:lnTo>
                  <a:lnTo>
                    <a:pt x="101" y="0"/>
                  </a:lnTo>
                  <a:lnTo>
                    <a:pt x="101" y="0"/>
                  </a:lnTo>
                  <a:lnTo>
                    <a:pt x="91" y="2"/>
                  </a:lnTo>
                  <a:lnTo>
                    <a:pt x="80" y="2"/>
                  </a:lnTo>
                  <a:lnTo>
                    <a:pt x="62" y="8"/>
                  </a:lnTo>
                  <a:lnTo>
                    <a:pt x="44" y="17"/>
                  </a:lnTo>
                  <a:lnTo>
                    <a:pt x="29" y="31"/>
                  </a:lnTo>
                  <a:lnTo>
                    <a:pt x="17" y="44"/>
                  </a:lnTo>
                  <a:lnTo>
                    <a:pt x="9" y="61"/>
                  </a:lnTo>
                  <a:lnTo>
                    <a:pt x="2" y="82"/>
                  </a:lnTo>
                  <a:lnTo>
                    <a:pt x="0" y="91"/>
                  </a:lnTo>
                  <a:lnTo>
                    <a:pt x="0" y="103"/>
                  </a:lnTo>
                  <a:lnTo>
                    <a:pt x="0" y="103"/>
                  </a:lnTo>
                  <a:lnTo>
                    <a:pt x="0" y="113"/>
                  </a:lnTo>
                  <a:lnTo>
                    <a:pt x="2" y="121"/>
                  </a:lnTo>
                  <a:lnTo>
                    <a:pt x="9" y="142"/>
                  </a:lnTo>
                  <a:lnTo>
                    <a:pt x="17" y="159"/>
                  </a:lnTo>
                  <a:lnTo>
                    <a:pt x="29" y="173"/>
                  </a:lnTo>
                  <a:lnTo>
                    <a:pt x="44" y="186"/>
                  </a:lnTo>
                  <a:lnTo>
                    <a:pt x="62" y="195"/>
                  </a:lnTo>
                  <a:lnTo>
                    <a:pt x="80" y="202"/>
                  </a:lnTo>
                  <a:lnTo>
                    <a:pt x="91" y="202"/>
                  </a:lnTo>
                  <a:lnTo>
                    <a:pt x="101" y="203"/>
                  </a:lnTo>
                  <a:lnTo>
                    <a:pt x="101" y="2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sp>
          <p:nvSpPr>
            <p:cNvPr id="142" name="Freeform 141"/>
            <p:cNvSpPr>
              <a:spLocks/>
            </p:cNvSpPr>
            <p:nvPr/>
          </p:nvSpPr>
          <p:spPr bwMode="auto">
            <a:xfrm>
              <a:off x="5930901" y="4284663"/>
              <a:ext cx="271463" cy="271463"/>
            </a:xfrm>
            <a:custGeom>
              <a:avLst/>
              <a:gdLst>
                <a:gd name="T0" fmla="*/ 171 w 342"/>
                <a:gd name="T1" fmla="*/ 0 h 343"/>
                <a:gd name="T2" fmla="*/ 135 w 342"/>
                <a:gd name="T3" fmla="*/ 4 h 343"/>
                <a:gd name="T4" fmla="*/ 104 w 342"/>
                <a:gd name="T5" fmla="*/ 14 h 343"/>
                <a:gd name="T6" fmla="*/ 75 w 342"/>
                <a:gd name="T7" fmla="*/ 31 h 343"/>
                <a:gd name="T8" fmla="*/ 49 w 342"/>
                <a:gd name="T9" fmla="*/ 52 h 343"/>
                <a:gd name="T10" fmla="*/ 29 w 342"/>
                <a:gd name="T11" fmla="*/ 77 h 343"/>
                <a:gd name="T12" fmla="*/ 12 w 342"/>
                <a:gd name="T13" fmla="*/ 106 h 343"/>
                <a:gd name="T14" fmla="*/ 3 w 342"/>
                <a:gd name="T15" fmla="*/ 137 h 343"/>
                <a:gd name="T16" fmla="*/ 0 w 342"/>
                <a:gd name="T17" fmla="*/ 171 h 343"/>
                <a:gd name="T18" fmla="*/ 0 w 342"/>
                <a:gd name="T19" fmla="*/ 190 h 343"/>
                <a:gd name="T20" fmla="*/ 7 w 342"/>
                <a:gd name="T21" fmla="*/ 223 h 343"/>
                <a:gd name="T22" fmla="*/ 20 w 342"/>
                <a:gd name="T23" fmla="*/ 254 h 343"/>
                <a:gd name="T24" fmla="*/ 37 w 342"/>
                <a:gd name="T25" fmla="*/ 281 h 343"/>
                <a:gd name="T26" fmla="*/ 61 w 342"/>
                <a:gd name="T27" fmla="*/ 305 h 343"/>
                <a:gd name="T28" fmla="*/ 89 w 342"/>
                <a:gd name="T29" fmla="*/ 322 h 343"/>
                <a:gd name="T30" fmla="*/ 119 w 342"/>
                <a:gd name="T31" fmla="*/ 336 h 343"/>
                <a:gd name="T32" fmla="*/ 152 w 342"/>
                <a:gd name="T33" fmla="*/ 343 h 343"/>
                <a:gd name="T34" fmla="*/ 171 w 342"/>
                <a:gd name="T35" fmla="*/ 343 h 343"/>
                <a:gd name="T36" fmla="*/ 205 w 342"/>
                <a:gd name="T37" fmla="*/ 339 h 343"/>
                <a:gd name="T38" fmla="*/ 236 w 342"/>
                <a:gd name="T39" fmla="*/ 331 h 343"/>
                <a:gd name="T40" fmla="*/ 265 w 342"/>
                <a:gd name="T41" fmla="*/ 313 h 343"/>
                <a:gd name="T42" fmla="*/ 291 w 342"/>
                <a:gd name="T43" fmla="*/ 293 h 343"/>
                <a:gd name="T44" fmla="*/ 311 w 342"/>
                <a:gd name="T45" fmla="*/ 267 h 343"/>
                <a:gd name="T46" fmla="*/ 328 w 342"/>
                <a:gd name="T47" fmla="*/ 238 h 343"/>
                <a:gd name="T48" fmla="*/ 338 w 342"/>
                <a:gd name="T49" fmla="*/ 207 h 343"/>
                <a:gd name="T50" fmla="*/ 342 w 342"/>
                <a:gd name="T51" fmla="*/ 171 h 343"/>
                <a:gd name="T52" fmla="*/ 340 w 342"/>
                <a:gd name="T53" fmla="*/ 154 h 343"/>
                <a:gd name="T54" fmla="*/ 333 w 342"/>
                <a:gd name="T55" fmla="*/ 122 h 343"/>
                <a:gd name="T56" fmla="*/ 320 w 342"/>
                <a:gd name="T57" fmla="*/ 91 h 343"/>
                <a:gd name="T58" fmla="*/ 302 w 342"/>
                <a:gd name="T59" fmla="*/ 64 h 343"/>
                <a:gd name="T60" fmla="*/ 279 w 342"/>
                <a:gd name="T61" fmla="*/ 40 h 343"/>
                <a:gd name="T62" fmla="*/ 251 w 342"/>
                <a:gd name="T63" fmla="*/ 23 h 343"/>
                <a:gd name="T64" fmla="*/ 220 w 342"/>
                <a:gd name="T65" fmla="*/ 9 h 343"/>
                <a:gd name="T66" fmla="*/ 188 w 342"/>
                <a:gd name="T67" fmla="*/ 2 h 343"/>
                <a:gd name="T68" fmla="*/ 171 w 342"/>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2" h="343">
                  <a:moveTo>
                    <a:pt x="171" y="0"/>
                  </a:moveTo>
                  <a:lnTo>
                    <a:pt x="171" y="0"/>
                  </a:lnTo>
                  <a:lnTo>
                    <a:pt x="152" y="2"/>
                  </a:lnTo>
                  <a:lnTo>
                    <a:pt x="135" y="4"/>
                  </a:lnTo>
                  <a:lnTo>
                    <a:pt x="119" y="9"/>
                  </a:lnTo>
                  <a:lnTo>
                    <a:pt x="104" y="14"/>
                  </a:lnTo>
                  <a:lnTo>
                    <a:pt x="89" y="23"/>
                  </a:lnTo>
                  <a:lnTo>
                    <a:pt x="75" y="31"/>
                  </a:lnTo>
                  <a:lnTo>
                    <a:pt x="61" y="40"/>
                  </a:lnTo>
                  <a:lnTo>
                    <a:pt x="49" y="52"/>
                  </a:lnTo>
                  <a:lnTo>
                    <a:pt x="37" y="64"/>
                  </a:lnTo>
                  <a:lnTo>
                    <a:pt x="29" y="77"/>
                  </a:lnTo>
                  <a:lnTo>
                    <a:pt x="20" y="91"/>
                  </a:lnTo>
                  <a:lnTo>
                    <a:pt x="12" y="106"/>
                  </a:lnTo>
                  <a:lnTo>
                    <a:pt x="7" y="122"/>
                  </a:lnTo>
                  <a:lnTo>
                    <a:pt x="3" y="137"/>
                  </a:lnTo>
                  <a:lnTo>
                    <a:pt x="0" y="154"/>
                  </a:lnTo>
                  <a:lnTo>
                    <a:pt x="0" y="171"/>
                  </a:lnTo>
                  <a:lnTo>
                    <a:pt x="0" y="171"/>
                  </a:lnTo>
                  <a:lnTo>
                    <a:pt x="0" y="190"/>
                  </a:lnTo>
                  <a:lnTo>
                    <a:pt x="3" y="207"/>
                  </a:lnTo>
                  <a:lnTo>
                    <a:pt x="7" y="223"/>
                  </a:lnTo>
                  <a:lnTo>
                    <a:pt x="12" y="238"/>
                  </a:lnTo>
                  <a:lnTo>
                    <a:pt x="20" y="254"/>
                  </a:lnTo>
                  <a:lnTo>
                    <a:pt x="29" y="267"/>
                  </a:lnTo>
                  <a:lnTo>
                    <a:pt x="37" y="281"/>
                  </a:lnTo>
                  <a:lnTo>
                    <a:pt x="49" y="293"/>
                  </a:lnTo>
                  <a:lnTo>
                    <a:pt x="61" y="305"/>
                  </a:lnTo>
                  <a:lnTo>
                    <a:pt x="75" y="313"/>
                  </a:lnTo>
                  <a:lnTo>
                    <a:pt x="89" y="322"/>
                  </a:lnTo>
                  <a:lnTo>
                    <a:pt x="104" y="331"/>
                  </a:lnTo>
                  <a:lnTo>
                    <a:pt x="119" y="336"/>
                  </a:lnTo>
                  <a:lnTo>
                    <a:pt x="135" y="339"/>
                  </a:lnTo>
                  <a:lnTo>
                    <a:pt x="152" y="343"/>
                  </a:lnTo>
                  <a:lnTo>
                    <a:pt x="171" y="343"/>
                  </a:lnTo>
                  <a:lnTo>
                    <a:pt x="171" y="343"/>
                  </a:lnTo>
                  <a:lnTo>
                    <a:pt x="188" y="343"/>
                  </a:lnTo>
                  <a:lnTo>
                    <a:pt x="205" y="339"/>
                  </a:lnTo>
                  <a:lnTo>
                    <a:pt x="220" y="336"/>
                  </a:lnTo>
                  <a:lnTo>
                    <a:pt x="236" y="331"/>
                  </a:lnTo>
                  <a:lnTo>
                    <a:pt x="251" y="322"/>
                  </a:lnTo>
                  <a:lnTo>
                    <a:pt x="265" y="313"/>
                  </a:lnTo>
                  <a:lnTo>
                    <a:pt x="279" y="305"/>
                  </a:lnTo>
                  <a:lnTo>
                    <a:pt x="291" y="293"/>
                  </a:lnTo>
                  <a:lnTo>
                    <a:pt x="302" y="281"/>
                  </a:lnTo>
                  <a:lnTo>
                    <a:pt x="311" y="267"/>
                  </a:lnTo>
                  <a:lnTo>
                    <a:pt x="320" y="254"/>
                  </a:lnTo>
                  <a:lnTo>
                    <a:pt x="328" y="238"/>
                  </a:lnTo>
                  <a:lnTo>
                    <a:pt x="333" y="223"/>
                  </a:lnTo>
                  <a:lnTo>
                    <a:pt x="338" y="207"/>
                  </a:lnTo>
                  <a:lnTo>
                    <a:pt x="340" y="190"/>
                  </a:lnTo>
                  <a:lnTo>
                    <a:pt x="342" y="171"/>
                  </a:lnTo>
                  <a:lnTo>
                    <a:pt x="342" y="171"/>
                  </a:lnTo>
                  <a:lnTo>
                    <a:pt x="340" y="154"/>
                  </a:lnTo>
                  <a:lnTo>
                    <a:pt x="338" y="137"/>
                  </a:lnTo>
                  <a:lnTo>
                    <a:pt x="333" y="122"/>
                  </a:lnTo>
                  <a:lnTo>
                    <a:pt x="328" y="106"/>
                  </a:lnTo>
                  <a:lnTo>
                    <a:pt x="320" y="91"/>
                  </a:lnTo>
                  <a:lnTo>
                    <a:pt x="311" y="77"/>
                  </a:lnTo>
                  <a:lnTo>
                    <a:pt x="302" y="64"/>
                  </a:lnTo>
                  <a:lnTo>
                    <a:pt x="291" y="52"/>
                  </a:lnTo>
                  <a:lnTo>
                    <a:pt x="279" y="40"/>
                  </a:lnTo>
                  <a:lnTo>
                    <a:pt x="265" y="31"/>
                  </a:lnTo>
                  <a:lnTo>
                    <a:pt x="251" y="23"/>
                  </a:lnTo>
                  <a:lnTo>
                    <a:pt x="236" y="14"/>
                  </a:lnTo>
                  <a:lnTo>
                    <a:pt x="220" y="9"/>
                  </a:lnTo>
                  <a:lnTo>
                    <a:pt x="205" y="4"/>
                  </a:lnTo>
                  <a:lnTo>
                    <a:pt x="188" y="2"/>
                  </a:lnTo>
                  <a:lnTo>
                    <a:pt x="171" y="0"/>
                  </a:lnTo>
                  <a:lnTo>
                    <a:pt x="17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sp>
          <p:nvSpPr>
            <p:cNvPr id="143" name="Freeform 142"/>
            <p:cNvSpPr>
              <a:spLocks/>
            </p:cNvSpPr>
            <p:nvPr/>
          </p:nvSpPr>
          <p:spPr bwMode="auto">
            <a:xfrm>
              <a:off x="5703888" y="4719638"/>
              <a:ext cx="254000" cy="741363"/>
            </a:xfrm>
            <a:custGeom>
              <a:avLst/>
              <a:gdLst>
                <a:gd name="T0" fmla="*/ 322 w 322"/>
                <a:gd name="T1" fmla="*/ 934 h 934"/>
                <a:gd name="T2" fmla="*/ 322 w 322"/>
                <a:gd name="T3" fmla="*/ 0 h 934"/>
                <a:gd name="T4" fmla="*/ 0 w 322"/>
                <a:gd name="T5" fmla="*/ 934 h 934"/>
                <a:gd name="T6" fmla="*/ 322 w 322"/>
                <a:gd name="T7" fmla="*/ 934 h 934"/>
              </a:gdLst>
              <a:ahLst/>
              <a:cxnLst>
                <a:cxn ang="0">
                  <a:pos x="T0" y="T1"/>
                </a:cxn>
                <a:cxn ang="0">
                  <a:pos x="T2" y="T3"/>
                </a:cxn>
                <a:cxn ang="0">
                  <a:pos x="T4" y="T5"/>
                </a:cxn>
                <a:cxn ang="0">
                  <a:pos x="T6" y="T7"/>
                </a:cxn>
              </a:cxnLst>
              <a:rect l="0" t="0" r="r" b="b"/>
              <a:pathLst>
                <a:path w="322" h="934">
                  <a:moveTo>
                    <a:pt x="322" y="934"/>
                  </a:moveTo>
                  <a:lnTo>
                    <a:pt x="322" y="0"/>
                  </a:lnTo>
                  <a:lnTo>
                    <a:pt x="0" y="934"/>
                  </a:lnTo>
                  <a:lnTo>
                    <a:pt x="322" y="9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sp>
          <p:nvSpPr>
            <p:cNvPr id="144" name="Freeform 143"/>
            <p:cNvSpPr>
              <a:spLocks noEditPoints="1"/>
            </p:cNvSpPr>
            <p:nvPr/>
          </p:nvSpPr>
          <p:spPr bwMode="auto">
            <a:xfrm>
              <a:off x="5408613" y="3811588"/>
              <a:ext cx="2695575" cy="1812925"/>
            </a:xfrm>
            <a:custGeom>
              <a:avLst/>
              <a:gdLst>
                <a:gd name="T0" fmla="*/ 1112 w 3396"/>
                <a:gd name="T1" fmla="*/ 888 h 2284"/>
                <a:gd name="T2" fmla="*/ 1642 w 3396"/>
                <a:gd name="T3" fmla="*/ 1167 h 2284"/>
                <a:gd name="T4" fmla="*/ 1938 w 3396"/>
                <a:gd name="T5" fmla="*/ 1382 h 2284"/>
                <a:gd name="T6" fmla="*/ 2036 w 3396"/>
                <a:gd name="T7" fmla="*/ 1283 h 2284"/>
                <a:gd name="T8" fmla="*/ 2132 w 3396"/>
                <a:gd name="T9" fmla="*/ 1362 h 2284"/>
                <a:gd name="T10" fmla="*/ 2429 w 3396"/>
                <a:gd name="T11" fmla="*/ 1167 h 2284"/>
                <a:gd name="T12" fmla="*/ 2250 w 3396"/>
                <a:gd name="T13" fmla="*/ 344 h 2284"/>
                <a:gd name="T14" fmla="*/ 2269 w 3396"/>
                <a:gd name="T15" fmla="*/ 192 h 2284"/>
                <a:gd name="T16" fmla="*/ 2169 w 3396"/>
                <a:gd name="T17" fmla="*/ 41 h 2284"/>
                <a:gd name="T18" fmla="*/ 2015 w 3396"/>
                <a:gd name="T19" fmla="*/ 2 h 2284"/>
                <a:gd name="T20" fmla="*/ 1878 w 3396"/>
                <a:gd name="T21" fmla="*/ 62 h 2284"/>
                <a:gd name="T22" fmla="*/ 1018 w 3396"/>
                <a:gd name="T23" fmla="*/ 524 h 2284"/>
                <a:gd name="T24" fmla="*/ 855 w 3396"/>
                <a:gd name="T25" fmla="*/ 460 h 2284"/>
                <a:gd name="T26" fmla="*/ 657 w 3396"/>
                <a:gd name="T27" fmla="*/ 512 h 2284"/>
                <a:gd name="T28" fmla="*/ 527 w 3396"/>
                <a:gd name="T29" fmla="*/ 705 h 2284"/>
                <a:gd name="T30" fmla="*/ 556 w 3396"/>
                <a:gd name="T31" fmla="*/ 908 h 2284"/>
                <a:gd name="T32" fmla="*/ 3396 w 3396"/>
                <a:gd name="T33" fmla="*/ 2147 h 2284"/>
                <a:gd name="T34" fmla="*/ 2200 w 3396"/>
                <a:gd name="T35" fmla="*/ 1348 h 2284"/>
                <a:gd name="T36" fmla="*/ 2130 w 3396"/>
                <a:gd name="T37" fmla="*/ 1244 h 2284"/>
                <a:gd name="T38" fmla="*/ 2019 w 3396"/>
                <a:gd name="T39" fmla="*/ 1216 h 2284"/>
                <a:gd name="T40" fmla="*/ 1908 w 3396"/>
                <a:gd name="T41" fmla="*/ 1276 h 2284"/>
                <a:gd name="T42" fmla="*/ 1870 w 3396"/>
                <a:gd name="T43" fmla="*/ 1608 h 2284"/>
                <a:gd name="T44" fmla="*/ 1949 w 3396"/>
                <a:gd name="T45" fmla="*/ 1109 h 2284"/>
                <a:gd name="T46" fmla="*/ 2074 w 3396"/>
                <a:gd name="T47" fmla="*/ 1127 h 2284"/>
                <a:gd name="T48" fmla="*/ 2363 w 3396"/>
                <a:gd name="T49" fmla="*/ 1157 h 2284"/>
                <a:gd name="T50" fmla="*/ 1950 w 3396"/>
                <a:gd name="T51" fmla="*/ 802 h 2284"/>
                <a:gd name="T52" fmla="*/ 2009 w 3396"/>
                <a:gd name="T53" fmla="*/ 476 h 2284"/>
                <a:gd name="T54" fmla="*/ 2145 w 3396"/>
                <a:gd name="T55" fmla="*/ 820 h 2284"/>
                <a:gd name="T56" fmla="*/ 2036 w 3396"/>
                <a:gd name="T57" fmla="*/ 780 h 2284"/>
                <a:gd name="T58" fmla="*/ 2125 w 3396"/>
                <a:gd name="T59" fmla="*/ 1016 h 2284"/>
                <a:gd name="T60" fmla="*/ 2036 w 3396"/>
                <a:gd name="T61" fmla="*/ 1062 h 2284"/>
                <a:gd name="T62" fmla="*/ 1937 w 3396"/>
                <a:gd name="T63" fmla="*/ 997 h 2284"/>
                <a:gd name="T64" fmla="*/ 1933 w 3396"/>
                <a:gd name="T65" fmla="*/ 924 h 2284"/>
                <a:gd name="T66" fmla="*/ 2026 w 3396"/>
                <a:gd name="T67" fmla="*/ 849 h 2284"/>
                <a:gd name="T68" fmla="*/ 2111 w 3396"/>
                <a:gd name="T69" fmla="*/ 879 h 2284"/>
                <a:gd name="T70" fmla="*/ 2036 w 3396"/>
                <a:gd name="T71" fmla="*/ 68 h 2284"/>
                <a:gd name="T72" fmla="*/ 2144 w 3396"/>
                <a:gd name="T73" fmla="*/ 108 h 2284"/>
                <a:gd name="T74" fmla="*/ 2205 w 3396"/>
                <a:gd name="T75" fmla="*/ 221 h 2284"/>
                <a:gd name="T76" fmla="*/ 2176 w 3396"/>
                <a:gd name="T77" fmla="*/ 334 h 2284"/>
                <a:gd name="T78" fmla="*/ 2070 w 3396"/>
                <a:gd name="T79" fmla="*/ 406 h 2284"/>
                <a:gd name="T80" fmla="*/ 1955 w 3396"/>
                <a:gd name="T81" fmla="*/ 388 h 2284"/>
                <a:gd name="T82" fmla="*/ 1875 w 3396"/>
                <a:gd name="T83" fmla="*/ 289 h 2284"/>
                <a:gd name="T84" fmla="*/ 1880 w 3396"/>
                <a:gd name="T85" fmla="*/ 173 h 2284"/>
                <a:gd name="T86" fmla="*/ 1971 w 3396"/>
                <a:gd name="T87" fmla="*/ 82 h 2284"/>
                <a:gd name="T88" fmla="*/ 1800 w 3396"/>
                <a:gd name="T89" fmla="*/ 270 h 2284"/>
                <a:gd name="T90" fmla="*/ 1858 w 3396"/>
                <a:gd name="T91" fmla="*/ 412 h 2284"/>
                <a:gd name="T92" fmla="*/ 1095 w 3396"/>
                <a:gd name="T93" fmla="*/ 611 h 2284"/>
                <a:gd name="T94" fmla="*/ 679 w 3396"/>
                <a:gd name="T95" fmla="*/ 1037 h 2284"/>
                <a:gd name="T96" fmla="*/ 830 w 3396"/>
                <a:gd name="T97" fmla="*/ 1074 h 2284"/>
                <a:gd name="T98" fmla="*/ 970 w 3396"/>
                <a:gd name="T99" fmla="*/ 1042 h 2284"/>
                <a:gd name="T100" fmla="*/ 715 w 3396"/>
                <a:gd name="T101" fmla="*/ 979 h 2284"/>
                <a:gd name="T102" fmla="*/ 601 w 3396"/>
                <a:gd name="T103" fmla="*/ 838 h 2284"/>
                <a:gd name="T104" fmla="*/ 609 w 3396"/>
                <a:gd name="T105" fmla="*/ 674 h 2284"/>
                <a:gd name="T106" fmla="*/ 736 w 3396"/>
                <a:gd name="T107" fmla="*/ 546 h 2284"/>
                <a:gd name="T108" fmla="*/ 900 w 3396"/>
                <a:gd name="T109" fmla="*/ 539 h 2284"/>
                <a:gd name="T110" fmla="*/ 1040 w 3396"/>
                <a:gd name="T111" fmla="*/ 654 h 2284"/>
                <a:gd name="T112" fmla="*/ 1064 w 3396"/>
                <a:gd name="T113" fmla="*/ 816 h 2284"/>
                <a:gd name="T114" fmla="*/ 963 w 3396"/>
                <a:gd name="T115" fmla="*/ 967 h 2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96" h="2284">
                  <a:moveTo>
                    <a:pt x="1038" y="2147"/>
                  </a:moveTo>
                  <a:lnTo>
                    <a:pt x="1038" y="994"/>
                  </a:lnTo>
                  <a:lnTo>
                    <a:pt x="1038" y="994"/>
                  </a:lnTo>
                  <a:lnTo>
                    <a:pt x="1056" y="975"/>
                  </a:lnTo>
                  <a:lnTo>
                    <a:pt x="1073" y="955"/>
                  </a:lnTo>
                  <a:lnTo>
                    <a:pt x="1088" y="934"/>
                  </a:lnTo>
                  <a:lnTo>
                    <a:pt x="1100" y="912"/>
                  </a:lnTo>
                  <a:lnTo>
                    <a:pt x="1112" y="888"/>
                  </a:lnTo>
                  <a:lnTo>
                    <a:pt x="1121" y="864"/>
                  </a:lnTo>
                  <a:lnTo>
                    <a:pt x="1129" y="838"/>
                  </a:lnTo>
                  <a:lnTo>
                    <a:pt x="1134" y="813"/>
                  </a:lnTo>
                  <a:lnTo>
                    <a:pt x="1858" y="488"/>
                  </a:lnTo>
                  <a:lnTo>
                    <a:pt x="1858" y="1021"/>
                  </a:lnTo>
                  <a:lnTo>
                    <a:pt x="1683" y="1093"/>
                  </a:lnTo>
                  <a:lnTo>
                    <a:pt x="1634" y="1114"/>
                  </a:lnTo>
                  <a:lnTo>
                    <a:pt x="1642" y="1167"/>
                  </a:lnTo>
                  <a:lnTo>
                    <a:pt x="1719" y="1618"/>
                  </a:lnTo>
                  <a:lnTo>
                    <a:pt x="1730" y="1677"/>
                  </a:lnTo>
                  <a:lnTo>
                    <a:pt x="1788" y="1677"/>
                  </a:lnTo>
                  <a:lnTo>
                    <a:pt x="1870" y="1677"/>
                  </a:lnTo>
                  <a:lnTo>
                    <a:pt x="1938" y="1677"/>
                  </a:lnTo>
                  <a:lnTo>
                    <a:pt x="1938" y="1608"/>
                  </a:lnTo>
                  <a:lnTo>
                    <a:pt x="1938" y="1382"/>
                  </a:lnTo>
                  <a:lnTo>
                    <a:pt x="1938" y="1382"/>
                  </a:lnTo>
                  <a:lnTo>
                    <a:pt x="1940" y="1362"/>
                  </a:lnTo>
                  <a:lnTo>
                    <a:pt x="1945" y="1343"/>
                  </a:lnTo>
                  <a:lnTo>
                    <a:pt x="1955" y="1328"/>
                  </a:lnTo>
                  <a:lnTo>
                    <a:pt x="1967" y="1312"/>
                  </a:lnTo>
                  <a:lnTo>
                    <a:pt x="1981" y="1300"/>
                  </a:lnTo>
                  <a:lnTo>
                    <a:pt x="1998" y="1292"/>
                  </a:lnTo>
                  <a:lnTo>
                    <a:pt x="2017" y="1285"/>
                  </a:lnTo>
                  <a:lnTo>
                    <a:pt x="2036" y="1283"/>
                  </a:lnTo>
                  <a:lnTo>
                    <a:pt x="2036" y="1283"/>
                  </a:lnTo>
                  <a:lnTo>
                    <a:pt x="2056" y="1285"/>
                  </a:lnTo>
                  <a:lnTo>
                    <a:pt x="2074" y="1292"/>
                  </a:lnTo>
                  <a:lnTo>
                    <a:pt x="2091" y="1300"/>
                  </a:lnTo>
                  <a:lnTo>
                    <a:pt x="2106" y="1312"/>
                  </a:lnTo>
                  <a:lnTo>
                    <a:pt x="2118" y="1328"/>
                  </a:lnTo>
                  <a:lnTo>
                    <a:pt x="2127" y="1343"/>
                  </a:lnTo>
                  <a:lnTo>
                    <a:pt x="2132" y="1362"/>
                  </a:lnTo>
                  <a:lnTo>
                    <a:pt x="2133" y="1382"/>
                  </a:lnTo>
                  <a:lnTo>
                    <a:pt x="2133" y="1608"/>
                  </a:lnTo>
                  <a:lnTo>
                    <a:pt x="2133" y="1677"/>
                  </a:lnTo>
                  <a:lnTo>
                    <a:pt x="2202" y="1677"/>
                  </a:lnTo>
                  <a:lnTo>
                    <a:pt x="2286" y="1677"/>
                  </a:lnTo>
                  <a:lnTo>
                    <a:pt x="2342" y="1677"/>
                  </a:lnTo>
                  <a:lnTo>
                    <a:pt x="2352" y="1618"/>
                  </a:lnTo>
                  <a:lnTo>
                    <a:pt x="2429" y="1167"/>
                  </a:lnTo>
                  <a:lnTo>
                    <a:pt x="2438" y="1114"/>
                  </a:lnTo>
                  <a:lnTo>
                    <a:pt x="2388" y="1093"/>
                  </a:lnTo>
                  <a:lnTo>
                    <a:pt x="2214" y="1021"/>
                  </a:lnTo>
                  <a:lnTo>
                    <a:pt x="2214" y="395"/>
                  </a:lnTo>
                  <a:lnTo>
                    <a:pt x="2214" y="395"/>
                  </a:lnTo>
                  <a:lnTo>
                    <a:pt x="2228" y="380"/>
                  </a:lnTo>
                  <a:lnTo>
                    <a:pt x="2239" y="361"/>
                  </a:lnTo>
                  <a:lnTo>
                    <a:pt x="2250" y="344"/>
                  </a:lnTo>
                  <a:lnTo>
                    <a:pt x="2258" y="323"/>
                  </a:lnTo>
                  <a:lnTo>
                    <a:pt x="2265" y="303"/>
                  </a:lnTo>
                  <a:lnTo>
                    <a:pt x="2270" y="282"/>
                  </a:lnTo>
                  <a:lnTo>
                    <a:pt x="2274" y="262"/>
                  </a:lnTo>
                  <a:lnTo>
                    <a:pt x="2274" y="240"/>
                  </a:lnTo>
                  <a:lnTo>
                    <a:pt x="2274" y="240"/>
                  </a:lnTo>
                  <a:lnTo>
                    <a:pt x="2272" y="214"/>
                  </a:lnTo>
                  <a:lnTo>
                    <a:pt x="2269" y="192"/>
                  </a:lnTo>
                  <a:lnTo>
                    <a:pt x="2263" y="168"/>
                  </a:lnTo>
                  <a:lnTo>
                    <a:pt x="2255" y="145"/>
                  </a:lnTo>
                  <a:lnTo>
                    <a:pt x="2245" y="125"/>
                  </a:lnTo>
                  <a:lnTo>
                    <a:pt x="2233" y="106"/>
                  </a:lnTo>
                  <a:lnTo>
                    <a:pt x="2219" y="87"/>
                  </a:lnTo>
                  <a:lnTo>
                    <a:pt x="2204" y="70"/>
                  </a:lnTo>
                  <a:lnTo>
                    <a:pt x="2186" y="55"/>
                  </a:lnTo>
                  <a:lnTo>
                    <a:pt x="2169" y="41"/>
                  </a:lnTo>
                  <a:lnTo>
                    <a:pt x="2149" y="29"/>
                  </a:lnTo>
                  <a:lnTo>
                    <a:pt x="2128" y="19"/>
                  </a:lnTo>
                  <a:lnTo>
                    <a:pt x="2106" y="12"/>
                  </a:lnTo>
                  <a:lnTo>
                    <a:pt x="2084" y="5"/>
                  </a:lnTo>
                  <a:lnTo>
                    <a:pt x="2060" y="2"/>
                  </a:lnTo>
                  <a:lnTo>
                    <a:pt x="2036" y="0"/>
                  </a:lnTo>
                  <a:lnTo>
                    <a:pt x="2036" y="0"/>
                  </a:lnTo>
                  <a:lnTo>
                    <a:pt x="2015" y="2"/>
                  </a:lnTo>
                  <a:lnTo>
                    <a:pt x="1997" y="3"/>
                  </a:lnTo>
                  <a:lnTo>
                    <a:pt x="1978" y="9"/>
                  </a:lnTo>
                  <a:lnTo>
                    <a:pt x="1959" y="14"/>
                  </a:lnTo>
                  <a:lnTo>
                    <a:pt x="1942" y="21"/>
                  </a:lnTo>
                  <a:lnTo>
                    <a:pt x="1925" y="29"/>
                  </a:lnTo>
                  <a:lnTo>
                    <a:pt x="1908" y="38"/>
                  </a:lnTo>
                  <a:lnTo>
                    <a:pt x="1892" y="50"/>
                  </a:lnTo>
                  <a:lnTo>
                    <a:pt x="1878" y="62"/>
                  </a:lnTo>
                  <a:lnTo>
                    <a:pt x="1865" y="74"/>
                  </a:lnTo>
                  <a:lnTo>
                    <a:pt x="1853" y="87"/>
                  </a:lnTo>
                  <a:lnTo>
                    <a:pt x="1841" y="103"/>
                  </a:lnTo>
                  <a:lnTo>
                    <a:pt x="1831" y="118"/>
                  </a:lnTo>
                  <a:lnTo>
                    <a:pt x="1822" y="135"/>
                  </a:lnTo>
                  <a:lnTo>
                    <a:pt x="1813" y="152"/>
                  </a:lnTo>
                  <a:lnTo>
                    <a:pt x="1808" y="171"/>
                  </a:lnTo>
                  <a:lnTo>
                    <a:pt x="1018" y="524"/>
                  </a:lnTo>
                  <a:lnTo>
                    <a:pt x="1018" y="524"/>
                  </a:lnTo>
                  <a:lnTo>
                    <a:pt x="997" y="510"/>
                  </a:lnTo>
                  <a:lnTo>
                    <a:pt x="977" y="496"/>
                  </a:lnTo>
                  <a:lnTo>
                    <a:pt x="955" y="486"/>
                  </a:lnTo>
                  <a:lnTo>
                    <a:pt x="931" y="477"/>
                  </a:lnTo>
                  <a:lnTo>
                    <a:pt x="907" y="469"/>
                  </a:lnTo>
                  <a:lnTo>
                    <a:pt x="881" y="464"/>
                  </a:lnTo>
                  <a:lnTo>
                    <a:pt x="855" y="460"/>
                  </a:lnTo>
                  <a:lnTo>
                    <a:pt x="830" y="459"/>
                  </a:lnTo>
                  <a:lnTo>
                    <a:pt x="830" y="459"/>
                  </a:lnTo>
                  <a:lnTo>
                    <a:pt x="797" y="460"/>
                  </a:lnTo>
                  <a:lnTo>
                    <a:pt x="766" y="465"/>
                  </a:lnTo>
                  <a:lnTo>
                    <a:pt x="737" y="474"/>
                  </a:lnTo>
                  <a:lnTo>
                    <a:pt x="710" y="484"/>
                  </a:lnTo>
                  <a:lnTo>
                    <a:pt x="683" y="496"/>
                  </a:lnTo>
                  <a:lnTo>
                    <a:pt x="657" y="512"/>
                  </a:lnTo>
                  <a:lnTo>
                    <a:pt x="633" y="530"/>
                  </a:lnTo>
                  <a:lnTo>
                    <a:pt x="611" y="549"/>
                  </a:lnTo>
                  <a:lnTo>
                    <a:pt x="592" y="571"/>
                  </a:lnTo>
                  <a:lnTo>
                    <a:pt x="573" y="595"/>
                  </a:lnTo>
                  <a:lnTo>
                    <a:pt x="558" y="621"/>
                  </a:lnTo>
                  <a:lnTo>
                    <a:pt x="546" y="647"/>
                  </a:lnTo>
                  <a:lnTo>
                    <a:pt x="535" y="676"/>
                  </a:lnTo>
                  <a:lnTo>
                    <a:pt x="527" y="705"/>
                  </a:lnTo>
                  <a:lnTo>
                    <a:pt x="522" y="736"/>
                  </a:lnTo>
                  <a:lnTo>
                    <a:pt x="522" y="766"/>
                  </a:lnTo>
                  <a:lnTo>
                    <a:pt x="522" y="766"/>
                  </a:lnTo>
                  <a:lnTo>
                    <a:pt x="522" y="797"/>
                  </a:lnTo>
                  <a:lnTo>
                    <a:pt x="527" y="826"/>
                  </a:lnTo>
                  <a:lnTo>
                    <a:pt x="534" y="855"/>
                  </a:lnTo>
                  <a:lnTo>
                    <a:pt x="544" y="883"/>
                  </a:lnTo>
                  <a:lnTo>
                    <a:pt x="556" y="908"/>
                  </a:lnTo>
                  <a:lnTo>
                    <a:pt x="570" y="932"/>
                  </a:lnTo>
                  <a:lnTo>
                    <a:pt x="587" y="956"/>
                  </a:lnTo>
                  <a:lnTo>
                    <a:pt x="604" y="979"/>
                  </a:lnTo>
                  <a:lnTo>
                    <a:pt x="202" y="2147"/>
                  </a:lnTo>
                  <a:lnTo>
                    <a:pt x="0" y="2147"/>
                  </a:lnTo>
                  <a:lnTo>
                    <a:pt x="0" y="2284"/>
                  </a:lnTo>
                  <a:lnTo>
                    <a:pt x="3396" y="2284"/>
                  </a:lnTo>
                  <a:lnTo>
                    <a:pt x="3396" y="2147"/>
                  </a:lnTo>
                  <a:lnTo>
                    <a:pt x="1038" y="2147"/>
                  </a:lnTo>
                  <a:close/>
                  <a:moveTo>
                    <a:pt x="2363" y="1157"/>
                  </a:moveTo>
                  <a:lnTo>
                    <a:pt x="2286" y="1608"/>
                  </a:lnTo>
                  <a:lnTo>
                    <a:pt x="2202" y="1608"/>
                  </a:lnTo>
                  <a:lnTo>
                    <a:pt x="2202" y="1382"/>
                  </a:lnTo>
                  <a:lnTo>
                    <a:pt x="2202" y="1382"/>
                  </a:lnTo>
                  <a:lnTo>
                    <a:pt x="2202" y="1365"/>
                  </a:lnTo>
                  <a:lnTo>
                    <a:pt x="2200" y="1348"/>
                  </a:lnTo>
                  <a:lnTo>
                    <a:pt x="2195" y="1333"/>
                  </a:lnTo>
                  <a:lnTo>
                    <a:pt x="2190" y="1317"/>
                  </a:lnTo>
                  <a:lnTo>
                    <a:pt x="2183" y="1302"/>
                  </a:lnTo>
                  <a:lnTo>
                    <a:pt x="2174" y="1288"/>
                  </a:lnTo>
                  <a:lnTo>
                    <a:pt x="2164" y="1276"/>
                  </a:lnTo>
                  <a:lnTo>
                    <a:pt x="2154" y="1264"/>
                  </a:lnTo>
                  <a:lnTo>
                    <a:pt x="2142" y="1252"/>
                  </a:lnTo>
                  <a:lnTo>
                    <a:pt x="2130" y="1244"/>
                  </a:lnTo>
                  <a:lnTo>
                    <a:pt x="2116" y="1235"/>
                  </a:lnTo>
                  <a:lnTo>
                    <a:pt x="2101" y="1228"/>
                  </a:lnTo>
                  <a:lnTo>
                    <a:pt x="2086" y="1223"/>
                  </a:lnTo>
                  <a:lnTo>
                    <a:pt x="2070" y="1218"/>
                  </a:lnTo>
                  <a:lnTo>
                    <a:pt x="2053" y="1216"/>
                  </a:lnTo>
                  <a:lnTo>
                    <a:pt x="2036" y="1215"/>
                  </a:lnTo>
                  <a:lnTo>
                    <a:pt x="2036" y="1215"/>
                  </a:lnTo>
                  <a:lnTo>
                    <a:pt x="2019" y="1216"/>
                  </a:lnTo>
                  <a:lnTo>
                    <a:pt x="2002" y="1218"/>
                  </a:lnTo>
                  <a:lnTo>
                    <a:pt x="1986" y="1223"/>
                  </a:lnTo>
                  <a:lnTo>
                    <a:pt x="1971" y="1228"/>
                  </a:lnTo>
                  <a:lnTo>
                    <a:pt x="1957" y="1235"/>
                  </a:lnTo>
                  <a:lnTo>
                    <a:pt x="1944" y="1244"/>
                  </a:lnTo>
                  <a:lnTo>
                    <a:pt x="1930" y="1252"/>
                  </a:lnTo>
                  <a:lnTo>
                    <a:pt x="1918" y="1264"/>
                  </a:lnTo>
                  <a:lnTo>
                    <a:pt x="1908" y="1276"/>
                  </a:lnTo>
                  <a:lnTo>
                    <a:pt x="1897" y="1288"/>
                  </a:lnTo>
                  <a:lnTo>
                    <a:pt x="1889" y="1302"/>
                  </a:lnTo>
                  <a:lnTo>
                    <a:pt x="1882" y="1317"/>
                  </a:lnTo>
                  <a:lnTo>
                    <a:pt x="1877" y="1333"/>
                  </a:lnTo>
                  <a:lnTo>
                    <a:pt x="1873" y="1348"/>
                  </a:lnTo>
                  <a:lnTo>
                    <a:pt x="1870" y="1365"/>
                  </a:lnTo>
                  <a:lnTo>
                    <a:pt x="1870" y="1382"/>
                  </a:lnTo>
                  <a:lnTo>
                    <a:pt x="1870" y="1608"/>
                  </a:lnTo>
                  <a:lnTo>
                    <a:pt x="1788" y="1608"/>
                  </a:lnTo>
                  <a:lnTo>
                    <a:pt x="1711" y="1157"/>
                  </a:lnTo>
                  <a:lnTo>
                    <a:pt x="1908" y="1074"/>
                  </a:lnTo>
                  <a:lnTo>
                    <a:pt x="1908" y="1074"/>
                  </a:lnTo>
                  <a:lnTo>
                    <a:pt x="1908" y="1074"/>
                  </a:lnTo>
                  <a:lnTo>
                    <a:pt x="1920" y="1088"/>
                  </a:lnTo>
                  <a:lnTo>
                    <a:pt x="1933" y="1098"/>
                  </a:lnTo>
                  <a:lnTo>
                    <a:pt x="1949" y="1109"/>
                  </a:lnTo>
                  <a:lnTo>
                    <a:pt x="1964" y="1117"/>
                  </a:lnTo>
                  <a:lnTo>
                    <a:pt x="1981" y="1122"/>
                  </a:lnTo>
                  <a:lnTo>
                    <a:pt x="1998" y="1127"/>
                  </a:lnTo>
                  <a:lnTo>
                    <a:pt x="2017" y="1131"/>
                  </a:lnTo>
                  <a:lnTo>
                    <a:pt x="2036" y="1131"/>
                  </a:lnTo>
                  <a:lnTo>
                    <a:pt x="2036" y="1131"/>
                  </a:lnTo>
                  <a:lnTo>
                    <a:pt x="2055" y="1131"/>
                  </a:lnTo>
                  <a:lnTo>
                    <a:pt x="2074" y="1127"/>
                  </a:lnTo>
                  <a:lnTo>
                    <a:pt x="2091" y="1122"/>
                  </a:lnTo>
                  <a:lnTo>
                    <a:pt x="2108" y="1117"/>
                  </a:lnTo>
                  <a:lnTo>
                    <a:pt x="2123" y="1109"/>
                  </a:lnTo>
                  <a:lnTo>
                    <a:pt x="2139" y="1098"/>
                  </a:lnTo>
                  <a:lnTo>
                    <a:pt x="2152" y="1088"/>
                  </a:lnTo>
                  <a:lnTo>
                    <a:pt x="2164" y="1074"/>
                  </a:lnTo>
                  <a:lnTo>
                    <a:pt x="2164" y="1074"/>
                  </a:lnTo>
                  <a:lnTo>
                    <a:pt x="2363" y="1157"/>
                  </a:lnTo>
                  <a:close/>
                  <a:moveTo>
                    <a:pt x="2036" y="780"/>
                  </a:moveTo>
                  <a:lnTo>
                    <a:pt x="2036" y="780"/>
                  </a:lnTo>
                  <a:lnTo>
                    <a:pt x="2020" y="780"/>
                  </a:lnTo>
                  <a:lnTo>
                    <a:pt x="2005" y="782"/>
                  </a:lnTo>
                  <a:lnTo>
                    <a:pt x="1991" y="785"/>
                  </a:lnTo>
                  <a:lnTo>
                    <a:pt x="1978" y="790"/>
                  </a:lnTo>
                  <a:lnTo>
                    <a:pt x="1964" y="796"/>
                  </a:lnTo>
                  <a:lnTo>
                    <a:pt x="1950" y="802"/>
                  </a:lnTo>
                  <a:lnTo>
                    <a:pt x="1938" y="809"/>
                  </a:lnTo>
                  <a:lnTo>
                    <a:pt x="1926" y="818"/>
                  </a:lnTo>
                  <a:lnTo>
                    <a:pt x="1926" y="457"/>
                  </a:lnTo>
                  <a:lnTo>
                    <a:pt x="1935" y="453"/>
                  </a:lnTo>
                  <a:lnTo>
                    <a:pt x="1935" y="453"/>
                  </a:lnTo>
                  <a:lnTo>
                    <a:pt x="1959" y="464"/>
                  </a:lnTo>
                  <a:lnTo>
                    <a:pt x="1983" y="471"/>
                  </a:lnTo>
                  <a:lnTo>
                    <a:pt x="2009" y="476"/>
                  </a:lnTo>
                  <a:lnTo>
                    <a:pt x="2036" y="477"/>
                  </a:lnTo>
                  <a:lnTo>
                    <a:pt x="2036" y="477"/>
                  </a:lnTo>
                  <a:lnTo>
                    <a:pt x="2065" y="476"/>
                  </a:lnTo>
                  <a:lnTo>
                    <a:pt x="2094" y="469"/>
                  </a:lnTo>
                  <a:lnTo>
                    <a:pt x="2121" y="460"/>
                  </a:lnTo>
                  <a:lnTo>
                    <a:pt x="2145" y="450"/>
                  </a:lnTo>
                  <a:lnTo>
                    <a:pt x="2145" y="820"/>
                  </a:lnTo>
                  <a:lnTo>
                    <a:pt x="2145" y="820"/>
                  </a:lnTo>
                  <a:lnTo>
                    <a:pt x="2135" y="811"/>
                  </a:lnTo>
                  <a:lnTo>
                    <a:pt x="2121" y="802"/>
                  </a:lnTo>
                  <a:lnTo>
                    <a:pt x="2109" y="796"/>
                  </a:lnTo>
                  <a:lnTo>
                    <a:pt x="2096" y="790"/>
                  </a:lnTo>
                  <a:lnTo>
                    <a:pt x="2082" y="785"/>
                  </a:lnTo>
                  <a:lnTo>
                    <a:pt x="2067" y="784"/>
                  </a:lnTo>
                  <a:lnTo>
                    <a:pt x="2051" y="780"/>
                  </a:lnTo>
                  <a:lnTo>
                    <a:pt x="2036" y="780"/>
                  </a:lnTo>
                  <a:lnTo>
                    <a:pt x="2036" y="780"/>
                  </a:lnTo>
                  <a:close/>
                  <a:moveTo>
                    <a:pt x="2144" y="956"/>
                  </a:moveTo>
                  <a:lnTo>
                    <a:pt x="2144" y="956"/>
                  </a:lnTo>
                  <a:lnTo>
                    <a:pt x="2142" y="967"/>
                  </a:lnTo>
                  <a:lnTo>
                    <a:pt x="2142" y="977"/>
                  </a:lnTo>
                  <a:lnTo>
                    <a:pt x="2139" y="987"/>
                  </a:lnTo>
                  <a:lnTo>
                    <a:pt x="2135" y="997"/>
                  </a:lnTo>
                  <a:lnTo>
                    <a:pt x="2125" y="1016"/>
                  </a:lnTo>
                  <a:lnTo>
                    <a:pt x="2111" y="1032"/>
                  </a:lnTo>
                  <a:lnTo>
                    <a:pt x="2096" y="1045"/>
                  </a:lnTo>
                  <a:lnTo>
                    <a:pt x="2077" y="1054"/>
                  </a:lnTo>
                  <a:lnTo>
                    <a:pt x="2068" y="1059"/>
                  </a:lnTo>
                  <a:lnTo>
                    <a:pt x="2058" y="1061"/>
                  </a:lnTo>
                  <a:lnTo>
                    <a:pt x="2046" y="1062"/>
                  </a:lnTo>
                  <a:lnTo>
                    <a:pt x="2036" y="1062"/>
                  </a:lnTo>
                  <a:lnTo>
                    <a:pt x="2036" y="1062"/>
                  </a:lnTo>
                  <a:lnTo>
                    <a:pt x="2026" y="1062"/>
                  </a:lnTo>
                  <a:lnTo>
                    <a:pt x="2014" y="1061"/>
                  </a:lnTo>
                  <a:lnTo>
                    <a:pt x="2003" y="1059"/>
                  </a:lnTo>
                  <a:lnTo>
                    <a:pt x="1995" y="1054"/>
                  </a:lnTo>
                  <a:lnTo>
                    <a:pt x="1976" y="1045"/>
                  </a:lnTo>
                  <a:lnTo>
                    <a:pt x="1961" y="1032"/>
                  </a:lnTo>
                  <a:lnTo>
                    <a:pt x="1947" y="1016"/>
                  </a:lnTo>
                  <a:lnTo>
                    <a:pt x="1937" y="997"/>
                  </a:lnTo>
                  <a:lnTo>
                    <a:pt x="1933" y="987"/>
                  </a:lnTo>
                  <a:lnTo>
                    <a:pt x="1932" y="977"/>
                  </a:lnTo>
                  <a:lnTo>
                    <a:pt x="1930" y="967"/>
                  </a:lnTo>
                  <a:lnTo>
                    <a:pt x="1928" y="956"/>
                  </a:lnTo>
                  <a:lnTo>
                    <a:pt x="1928" y="956"/>
                  </a:lnTo>
                  <a:lnTo>
                    <a:pt x="1930" y="944"/>
                  </a:lnTo>
                  <a:lnTo>
                    <a:pt x="1932" y="934"/>
                  </a:lnTo>
                  <a:lnTo>
                    <a:pt x="1933" y="924"/>
                  </a:lnTo>
                  <a:lnTo>
                    <a:pt x="1937" y="914"/>
                  </a:lnTo>
                  <a:lnTo>
                    <a:pt x="1947" y="897"/>
                  </a:lnTo>
                  <a:lnTo>
                    <a:pt x="1961" y="879"/>
                  </a:lnTo>
                  <a:lnTo>
                    <a:pt x="1976" y="867"/>
                  </a:lnTo>
                  <a:lnTo>
                    <a:pt x="1995" y="857"/>
                  </a:lnTo>
                  <a:lnTo>
                    <a:pt x="2003" y="854"/>
                  </a:lnTo>
                  <a:lnTo>
                    <a:pt x="2014" y="850"/>
                  </a:lnTo>
                  <a:lnTo>
                    <a:pt x="2026" y="849"/>
                  </a:lnTo>
                  <a:lnTo>
                    <a:pt x="2036" y="849"/>
                  </a:lnTo>
                  <a:lnTo>
                    <a:pt x="2036" y="849"/>
                  </a:lnTo>
                  <a:lnTo>
                    <a:pt x="2046" y="849"/>
                  </a:lnTo>
                  <a:lnTo>
                    <a:pt x="2058" y="850"/>
                  </a:lnTo>
                  <a:lnTo>
                    <a:pt x="2068" y="854"/>
                  </a:lnTo>
                  <a:lnTo>
                    <a:pt x="2077" y="857"/>
                  </a:lnTo>
                  <a:lnTo>
                    <a:pt x="2096" y="867"/>
                  </a:lnTo>
                  <a:lnTo>
                    <a:pt x="2111" y="879"/>
                  </a:lnTo>
                  <a:lnTo>
                    <a:pt x="2125" y="897"/>
                  </a:lnTo>
                  <a:lnTo>
                    <a:pt x="2135" y="914"/>
                  </a:lnTo>
                  <a:lnTo>
                    <a:pt x="2139" y="924"/>
                  </a:lnTo>
                  <a:lnTo>
                    <a:pt x="2142" y="934"/>
                  </a:lnTo>
                  <a:lnTo>
                    <a:pt x="2142" y="944"/>
                  </a:lnTo>
                  <a:lnTo>
                    <a:pt x="2144" y="956"/>
                  </a:lnTo>
                  <a:lnTo>
                    <a:pt x="2144" y="956"/>
                  </a:lnTo>
                  <a:close/>
                  <a:moveTo>
                    <a:pt x="2036" y="68"/>
                  </a:moveTo>
                  <a:lnTo>
                    <a:pt x="2036" y="68"/>
                  </a:lnTo>
                  <a:lnTo>
                    <a:pt x="2053" y="70"/>
                  </a:lnTo>
                  <a:lnTo>
                    <a:pt x="2070" y="74"/>
                  </a:lnTo>
                  <a:lnTo>
                    <a:pt x="2087" y="77"/>
                  </a:lnTo>
                  <a:lnTo>
                    <a:pt x="2103" y="82"/>
                  </a:lnTo>
                  <a:lnTo>
                    <a:pt x="2116" y="89"/>
                  </a:lnTo>
                  <a:lnTo>
                    <a:pt x="2130" y="98"/>
                  </a:lnTo>
                  <a:lnTo>
                    <a:pt x="2144" y="108"/>
                  </a:lnTo>
                  <a:lnTo>
                    <a:pt x="2156" y="120"/>
                  </a:lnTo>
                  <a:lnTo>
                    <a:pt x="2166" y="132"/>
                  </a:lnTo>
                  <a:lnTo>
                    <a:pt x="2176" y="144"/>
                  </a:lnTo>
                  <a:lnTo>
                    <a:pt x="2185" y="157"/>
                  </a:lnTo>
                  <a:lnTo>
                    <a:pt x="2192" y="173"/>
                  </a:lnTo>
                  <a:lnTo>
                    <a:pt x="2198" y="188"/>
                  </a:lnTo>
                  <a:lnTo>
                    <a:pt x="2202" y="205"/>
                  </a:lnTo>
                  <a:lnTo>
                    <a:pt x="2205" y="221"/>
                  </a:lnTo>
                  <a:lnTo>
                    <a:pt x="2205" y="240"/>
                  </a:lnTo>
                  <a:lnTo>
                    <a:pt x="2205" y="240"/>
                  </a:lnTo>
                  <a:lnTo>
                    <a:pt x="2205" y="257"/>
                  </a:lnTo>
                  <a:lnTo>
                    <a:pt x="2202" y="272"/>
                  </a:lnTo>
                  <a:lnTo>
                    <a:pt x="2198" y="289"/>
                  </a:lnTo>
                  <a:lnTo>
                    <a:pt x="2192" y="305"/>
                  </a:lnTo>
                  <a:lnTo>
                    <a:pt x="2185" y="320"/>
                  </a:lnTo>
                  <a:lnTo>
                    <a:pt x="2176" y="334"/>
                  </a:lnTo>
                  <a:lnTo>
                    <a:pt x="2166" y="346"/>
                  </a:lnTo>
                  <a:lnTo>
                    <a:pt x="2156" y="359"/>
                  </a:lnTo>
                  <a:lnTo>
                    <a:pt x="2144" y="370"/>
                  </a:lnTo>
                  <a:lnTo>
                    <a:pt x="2130" y="380"/>
                  </a:lnTo>
                  <a:lnTo>
                    <a:pt x="2116" y="388"/>
                  </a:lnTo>
                  <a:lnTo>
                    <a:pt x="2103" y="395"/>
                  </a:lnTo>
                  <a:lnTo>
                    <a:pt x="2087" y="400"/>
                  </a:lnTo>
                  <a:lnTo>
                    <a:pt x="2070" y="406"/>
                  </a:lnTo>
                  <a:lnTo>
                    <a:pt x="2053" y="407"/>
                  </a:lnTo>
                  <a:lnTo>
                    <a:pt x="2036" y="409"/>
                  </a:lnTo>
                  <a:lnTo>
                    <a:pt x="2036" y="409"/>
                  </a:lnTo>
                  <a:lnTo>
                    <a:pt x="2019" y="407"/>
                  </a:lnTo>
                  <a:lnTo>
                    <a:pt x="2002" y="406"/>
                  </a:lnTo>
                  <a:lnTo>
                    <a:pt x="1986" y="400"/>
                  </a:lnTo>
                  <a:lnTo>
                    <a:pt x="1971" y="395"/>
                  </a:lnTo>
                  <a:lnTo>
                    <a:pt x="1955" y="388"/>
                  </a:lnTo>
                  <a:lnTo>
                    <a:pt x="1942" y="380"/>
                  </a:lnTo>
                  <a:lnTo>
                    <a:pt x="1928" y="370"/>
                  </a:lnTo>
                  <a:lnTo>
                    <a:pt x="1916" y="359"/>
                  </a:lnTo>
                  <a:lnTo>
                    <a:pt x="1906" y="346"/>
                  </a:lnTo>
                  <a:lnTo>
                    <a:pt x="1896" y="334"/>
                  </a:lnTo>
                  <a:lnTo>
                    <a:pt x="1887" y="320"/>
                  </a:lnTo>
                  <a:lnTo>
                    <a:pt x="1880" y="305"/>
                  </a:lnTo>
                  <a:lnTo>
                    <a:pt x="1875" y="289"/>
                  </a:lnTo>
                  <a:lnTo>
                    <a:pt x="1870" y="272"/>
                  </a:lnTo>
                  <a:lnTo>
                    <a:pt x="1868" y="257"/>
                  </a:lnTo>
                  <a:lnTo>
                    <a:pt x="1867" y="240"/>
                  </a:lnTo>
                  <a:lnTo>
                    <a:pt x="1867" y="240"/>
                  </a:lnTo>
                  <a:lnTo>
                    <a:pt x="1868" y="221"/>
                  </a:lnTo>
                  <a:lnTo>
                    <a:pt x="1870" y="205"/>
                  </a:lnTo>
                  <a:lnTo>
                    <a:pt x="1875" y="188"/>
                  </a:lnTo>
                  <a:lnTo>
                    <a:pt x="1880" y="173"/>
                  </a:lnTo>
                  <a:lnTo>
                    <a:pt x="1887" y="157"/>
                  </a:lnTo>
                  <a:lnTo>
                    <a:pt x="1896" y="144"/>
                  </a:lnTo>
                  <a:lnTo>
                    <a:pt x="1906" y="132"/>
                  </a:lnTo>
                  <a:lnTo>
                    <a:pt x="1916" y="120"/>
                  </a:lnTo>
                  <a:lnTo>
                    <a:pt x="1928" y="108"/>
                  </a:lnTo>
                  <a:lnTo>
                    <a:pt x="1942" y="98"/>
                  </a:lnTo>
                  <a:lnTo>
                    <a:pt x="1955" y="89"/>
                  </a:lnTo>
                  <a:lnTo>
                    <a:pt x="1971" y="82"/>
                  </a:lnTo>
                  <a:lnTo>
                    <a:pt x="1986" y="77"/>
                  </a:lnTo>
                  <a:lnTo>
                    <a:pt x="2002" y="74"/>
                  </a:lnTo>
                  <a:lnTo>
                    <a:pt x="2019" y="70"/>
                  </a:lnTo>
                  <a:lnTo>
                    <a:pt x="2036" y="68"/>
                  </a:lnTo>
                  <a:lnTo>
                    <a:pt x="2036" y="68"/>
                  </a:lnTo>
                  <a:close/>
                  <a:moveTo>
                    <a:pt x="1798" y="250"/>
                  </a:moveTo>
                  <a:lnTo>
                    <a:pt x="1798" y="250"/>
                  </a:lnTo>
                  <a:lnTo>
                    <a:pt x="1800" y="270"/>
                  </a:lnTo>
                  <a:lnTo>
                    <a:pt x="1803" y="291"/>
                  </a:lnTo>
                  <a:lnTo>
                    <a:pt x="1810" y="311"/>
                  </a:lnTo>
                  <a:lnTo>
                    <a:pt x="1817" y="330"/>
                  </a:lnTo>
                  <a:lnTo>
                    <a:pt x="1825" y="347"/>
                  </a:lnTo>
                  <a:lnTo>
                    <a:pt x="1834" y="364"/>
                  </a:lnTo>
                  <a:lnTo>
                    <a:pt x="1846" y="382"/>
                  </a:lnTo>
                  <a:lnTo>
                    <a:pt x="1858" y="397"/>
                  </a:lnTo>
                  <a:lnTo>
                    <a:pt x="1858" y="412"/>
                  </a:lnTo>
                  <a:lnTo>
                    <a:pt x="1136" y="736"/>
                  </a:lnTo>
                  <a:lnTo>
                    <a:pt x="1136" y="736"/>
                  </a:lnTo>
                  <a:lnTo>
                    <a:pt x="1133" y="713"/>
                  </a:lnTo>
                  <a:lnTo>
                    <a:pt x="1127" y="691"/>
                  </a:lnTo>
                  <a:lnTo>
                    <a:pt x="1121" y="671"/>
                  </a:lnTo>
                  <a:lnTo>
                    <a:pt x="1114" y="650"/>
                  </a:lnTo>
                  <a:lnTo>
                    <a:pt x="1105" y="630"/>
                  </a:lnTo>
                  <a:lnTo>
                    <a:pt x="1095" y="611"/>
                  </a:lnTo>
                  <a:lnTo>
                    <a:pt x="1083" y="594"/>
                  </a:lnTo>
                  <a:lnTo>
                    <a:pt x="1069" y="577"/>
                  </a:lnTo>
                  <a:lnTo>
                    <a:pt x="1798" y="250"/>
                  </a:lnTo>
                  <a:close/>
                  <a:moveTo>
                    <a:pt x="970" y="2147"/>
                  </a:moveTo>
                  <a:lnTo>
                    <a:pt x="274" y="2147"/>
                  </a:lnTo>
                  <a:lnTo>
                    <a:pt x="660" y="1025"/>
                  </a:lnTo>
                  <a:lnTo>
                    <a:pt x="660" y="1025"/>
                  </a:lnTo>
                  <a:lnTo>
                    <a:pt x="679" y="1037"/>
                  </a:lnTo>
                  <a:lnTo>
                    <a:pt x="698" y="1047"/>
                  </a:lnTo>
                  <a:lnTo>
                    <a:pt x="719" y="1056"/>
                  </a:lnTo>
                  <a:lnTo>
                    <a:pt x="739" y="1062"/>
                  </a:lnTo>
                  <a:lnTo>
                    <a:pt x="761" y="1068"/>
                  </a:lnTo>
                  <a:lnTo>
                    <a:pt x="784" y="1071"/>
                  </a:lnTo>
                  <a:lnTo>
                    <a:pt x="806" y="1074"/>
                  </a:lnTo>
                  <a:lnTo>
                    <a:pt x="830" y="1074"/>
                  </a:lnTo>
                  <a:lnTo>
                    <a:pt x="830" y="1074"/>
                  </a:lnTo>
                  <a:lnTo>
                    <a:pt x="849" y="1074"/>
                  </a:lnTo>
                  <a:lnTo>
                    <a:pt x="866" y="1073"/>
                  </a:lnTo>
                  <a:lnTo>
                    <a:pt x="884" y="1071"/>
                  </a:lnTo>
                  <a:lnTo>
                    <a:pt x="902" y="1066"/>
                  </a:lnTo>
                  <a:lnTo>
                    <a:pt x="920" y="1061"/>
                  </a:lnTo>
                  <a:lnTo>
                    <a:pt x="938" y="1056"/>
                  </a:lnTo>
                  <a:lnTo>
                    <a:pt x="953" y="1049"/>
                  </a:lnTo>
                  <a:lnTo>
                    <a:pt x="970" y="1042"/>
                  </a:lnTo>
                  <a:lnTo>
                    <a:pt x="970" y="2147"/>
                  </a:lnTo>
                  <a:close/>
                  <a:moveTo>
                    <a:pt x="830" y="1006"/>
                  </a:moveTo>
                  <a:lnTo>
                    <a:pt x="830" y="1006"/>
                  </a:lnTo>
                  <a:lnTo>
                    <a:pt x="804" y="1006"/>
                  </a:lnTo>
                  <a:lnTo>
                    <a:pt x="780" y="1003"/>
                  </a:lnTo>
                  <a:lnTo>
                    <a:pt x="758" y="996"/>
                  </a:lnTo>
                  <a:lnTo>
                    <a:pt x="736" y="987"/>
                  </a:lnTo>
                  <a:lnTo>
                    <a:pt x="715" y="979"/>
                  </a:lnTo>
                  <a:lnTo>
                    <a:pt x="695" y="967"/>
                  </a:lnTo>
                  <a:lnTo>
                    <a:pt x="677" y="951"/>
                  </a:lnTo>
                  <a:lnTo>
                    <a:pt x="660" y="936"/>
                  </a:lnTo>
                  <a:lnTo>
                    <a:pt x="645" y="919"/>
                  </a:lnTo>
                  <a:lnTo>
                    <a:pt x="630" y="902"/>
                  </a:lnTo>
                  <a:lnTo>
                    <a:pt x="618" y="881"/>
                  </a:lnTo>
                  <a:lnTo>
                    <a:pt x="609" y="861"/>
                  </a:lnTo>
                  <a:lnTo>
                    <a:pt x="601" y="838"/>
                  </a:lnTo>
                  <a:lnTo>
                    <a:pt x="594" y="816"/>
                  </a:lnTo>
                  <a:lnTo>
                    <a:pt x="590" y="792"/>
                  </a:lnTo>
                  <a:lnTo>
                    <a:pt x="590" y="766"/>
                  </a:lnTo>
                  <a:lnTo>
                    <a:pt x="590" y="766"/>
                  </a:lnTo>
                  <a:lnTo>
                    <a:pt x="590" y="743"/>
                  </a:lnTo>
                  <a:lnTo>
                    <a:pt x="594" y="719"/>
                  </a:lnTo>
                  <a:lnTo>
                    <a:pt x="601" y="696"/>
                  </a:lnTo>
                  <a:lnTo>
                    <a:pt x="609" y="674"/>
                  </a:lnTo>
                  <a:lnTo>
                    <a:pt x="618" y="654"/>
                  </a:lnTo>
                  <a:lnTo>
                    <a:pt x="630" y="633"/>
                  </a:lnTo>
                  <a:lnTo>
                    <a:pt x="645" y="614"/>
                  </a:lnTo>
                  <a:lnTo>
                    <a:pt x="660" y="599"/>
                  </a:lnTo>
                  <a:lnTo>
                    <a:pt x="677" y="582"/>
                  </a:lnTo>
                  <a:lnTo>
                    <a:pt x="695" y="568"/>
                  </a:lnTo>
                  <a:lnTo>
                    <a:pt x="715" y="556"/>
                  </a:lnTo>
                  <a:lnTo>
                    <a:pt x="736" y="546"/>
                  </a:lnTo>
                  <a:lnTo>
                    <a:pt x="758" y="539"/>
                  </a:lnTo>
                  <a:lnTo>
                    <a:pt x="780" y="532"/>
                  </a:lnTo>
                  <a:lnTo>
                    <a:pt x="804" y="529"/>
                  </a:lnTo>
                  <a:lnTo>
                    <a:pt x="830" y="527"/>
                  </a:lnTo>
                  <a:lnTo>
                    <a:pt x="830" y="527"/>
                  </a:lnTo>
                  <a:lnTo>
                    <a:pt x="854" y="529"/>
                  </a:lnTo>
                  <a:lnTo>
                    <a:pt x="878" y="532"/>
                  </a:lnTo>
                  <a:lnTo>
                    <a:pt x="900" y="539"/>
                  </a:lnTo>
                  <a:lnTo>
                    <a:pt x="922" y="546"/>
                  </a:lnTo>
                  <a:lnTo>
                    <a:pt x="943" y="556"/>
                  </a:lnTo>
                  <a:lnTo>
                    <a:pt x="963" y="568"/>
                  </a:lnTo>
                  <a:lnTo>
                    <a:pt x="982" y="582"/>
                  </a:lnTo>
                  <a:lnTo>
                    <a:pt x="997" y="599"/>
                  </a:lnTo>
                  <a:lnTo>
                    <a:pt x="1015" y="614"/>
                  </a:lnTo>
                  <a:lnTo>
                    <a:pt x="1028" y="633"/>
                  </a:lnTo>
                  <a:lnTo>
                    <a:pt x="1040" y="654"/>
                  </a:lnTo>
                  <a:lnTo>
                    <a:pt x="1050" y="674"/>
                  </a:lnTo>
                  <a:lnTo>
                    <a:pt x="1057" y="696"/>
                  </a:lnTo>
                  <a:lnTo>
                    <a:pt x="1064" y="719"/>
                  </a:lnTo>
                  <a:lnTo>
                    <a:pt x="1068" y="743"/>
                  </a:lnTo>
                  <a:lnTo>
                    <a:pt x="1069" y="766"/>
                  </a:lnTo>
                  <a:lnTo>
                    <a:pt x="1069" y="766"/>
                  </a:lnTo>
                  <a:lnTo>
                    <a:pt x="1068" y="792"/>
                  </a:lnTo>
                  <a:lnTo>
                    <a:pt x="1064" y="816"/>
                  </a:lnTo>
                  <a:lnTo>
                    <a:pt x="1057" y="838"/>
                  </a:lnTo>
                  <a:lnTo>
                    <a:pt x="1050" y="861"/>
                  </a:lnTo>
                  <a:lnTo>
                    <a:pt x="1040" y="881"/>
                  </a:lnTo>
                  <a:lnTo>
                    <a:pt x="1028" y="902"/>
                  </a:lnTo>
                  <a:lnTo>
                    <a:pt x="1015" y="919"/>
                  </a:lnTo>
                  <a:lnTo>
                    <a:pt x="997" y="936"/>
                  </a:lnTo>
                  <a:lnTo>
                    <a:pt x="982" y="951"/>
                  </a:lnTo>
                  <a:lnTo>
                    <a:pt x="963" y="967"/>
                  </a:lnTo>
                  <a:lnTo>
                    <a:pt x="943" y="979"/>
                  </a:lnTo>
                  <a:lnTo>
                    <a:pt x="922" y="987"/>
                  </a:lnTo>
                  <a:lnTo>
                    <a:pt x="900" y="996"/>
                  </a:lnTo>
                  <a:lnTo>
                    <a:pt x="878" y="1003"/>
                  </a:lnTo>
                  <a:lnTo>
                    <a:pt x="854" y="1006"/>
                  </a:lnTo>
                  <a:lnTo>
                    <a:pt x="830" y="1006"/>
                  </a:lnTo>
                  <a:lnTo>
                    <a:pt x="830" y="10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de-DE" sz="1799" dirty="0">
                <a:solidFill>
                  <a:schemeClr val="bg1"/>
                </a:solidFill>
                <a:latin typeface="EYInterstate Light" panose="02000506000000020004" pitchFamily="2" charset="0"/>
              </a:endParaRPr>
            </a:p>
          </p:txBody>
        </p:sp>
      </p:grpSp>
      <p:grpSp>
        <p:nvGrpSpPr>
          <p:cNvPr id="145" name="Gruppieren 150"/>
          <p:cNvGrpSpPr/>
          <p:nvPr/>
        </p:nvGrpSpPr>
        <p:grpSpPr>
          <a:xfrm>
            <a:off x="1113145" y="1536769"/>
            <a:ext cx="733432" cy="557907"/>
            <a:chOff x="6167438" y="3284538"/>
            <a:chExt cx="2393951" cy="2203451"/>
          </a:xfrm>
          <a:solidFill>
            <a:schemeClr val="tx1"/>
          </a:solidFill>
        </p:grpSpPr>
        <p:sp>
          <p:nvSpPr>
            <p:cNvPr id="146" name="Freeform 94"/>
            <p:cNvSpPr>
              <a:spLocks/>
            </p:cNvSpPr>
            <p:nvPr/>
          </p:nvSpPr>
          <p:spPr bwMode="auto">
            <a:xfrm>
              <a:off x="7888288" y="4013201"/>
              <a:ext cx="274638" cy="157163"/>
            </a:xfrm>
            <a:custGeom>
              <a:avLst/>
              <a:gdLst>
                <a:gd name="T0" fmla="*/ 41 w 347"/>
                <a:gd name="T1" fmla="*/ 199 h 199"/>
                <a:gd name="T2" fmla="*/ 41 w 347"/>
                <a:gd name="T3" fmla="*/ 199 h 199"/>
                <a:gd name="T4" fmla="*/ 347 w 347"/>
                <a:gd name="T5" fmla="*/ 54 h 199"/>
                <a:gd name="T6" fmla="*/ 347 w 347"/>
                <a:gd name="T7" fmla="*/ 54 h 199"/>
                <a:gd name="T8" fmla="*/ 333 w 347"/>
                <a:gd name="T9" fmla="*/ 27 h 199"/>
                <a:gd name="T10" fmla="*/ 321 w 347"/>
                <a:gd name="T11" fmla="*/ 0 h 199"/>
                <a:gd name="T12" fmla="*/ 321 w 347"/>
                <a:gd name="T13" fmla="*/ 0 h 199"/>
                <a:gd name="T14" fmla="*/ 0 w 347"/>
                <a:gd name="T15" fmla="*/ 150 h 199"/>
                <a:gd name="T16" fmla="*/ 0 w 347"/>
                <a:gd name="T17" fmla="*/ 150 h 199"/>
                <a:gd name="T18" fmla="*/ 21 w 347"/>
                <a:gd name="T19" fmla="*/ 174 h 199"/>
                <a:gd name="T20" fmla="*/ 41 w 347"/>
                <a:gd name="T21" fmla="*/ 199 h 199"/>
                <a:gd name="T22" fmla="*/ 41 w 347"/>
                <a:gd name="T23"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7" h="199">
                  <a:moveTo>
                    <a:pt x="41" y="199"/>
                  </a:moveTo>
                  <a:lnTo>
                    <a:pt x="41" y="199"/>
                  </a:lnTo>
                  <a:lnTo>
                    <a:pt x="347" y="54"/>
                  </a:lnTo>
                  <a:lnTo>
                    <a:pt x="347" y="54"/>
                  </a:lnTo>
                  <a:lnTo>
                    <a:pt x="333" y="27"/>
                  </a:lnTo>
                  <a:lnTo>
                    <a:pt x="321" y="0"/>
                  </a:lnTo>
                  <a:lnTo>
                    <a:pt x="321" y="0"/>
                  </a:lnTo>
                  <a:lnTo>
                    <a:pt x="0" y="150"/>
                  </a:lnTo>
                  <a:lnTo>
                    <a:pt x="0" y="150"/>
                  </a:lnTo>
                  <a:lnTo>
                    <a:pt x="21" y="174"/>
                  </a:lnTo>
                  <a:lnTo>
                    <a:pt x="41" y="199"/>
                  </a:lnTo>
                  <a:lnTo>
                    <a:pt x="41" y="1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47" name="Freeform 95"/>
            <p:cNvSpPr>
              <a:spLocks/>
            </p:cNvSpPr>
            <p:nvPr/>
          </p:nvSpPr>
          <p:spPr bwMode="auto">
            <a:xfrm>
              <a:off x="7148513" y="4857751"/>
              <a:ext cx="111125" cy="230188"/>
            </a:xfrm>
            <a:custGeom>
              <a:avLst/>
              <a:gdLst>
                <a:gd name="T0" fmla="*/ 82 w 140"/>
                <a:gd name="T1" fmla="*/ 0 h 291"/>
                <a:gd name="T2" fmla="*/ 0 w 140"/>
                <a:gd name="T3" fmla="*/ 272 h 291"/>
                <a:gd name="T4" fmla="*/ 0 w 140"/>
                <a:gd name="T5" fmla="*/ 272 h 291"/>
                <a:gd name="T6" fmla="*/ 30 w 140"/>
                <a:gd name="T7" fmla="*/ 280 h 291"/>
                <a:gd name="T8" fmla="*/ 59 w 140"/>
                <a:gd name="T9" fmla="*/ 291 h 291"/>
                <a:gd name="T10" fmla="*/ 140 w 140"/>
                <a:gd name="T11" fmla="*/ 22 h 291"/>
                <a:gd name="T12" fmla="*/ 140 w 140"/>
                <a:gd name="T13" fmla="*/ 22 h 291"/>
                <a:gd name="T14" fmla="*/ 111 w 140"/>
                <a:gd name="T15" fmla="*/ 12 h 291"/>
                <a:gd name="T16" fmla="*/ 82 w 140"/>
                <a:gd name="T17" fmla="*/ 0 h 291"/>
                <a:gd name="T18" fmla="*/ 82 w 140"/>
                <a:gd name="T1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291">
                  <a:moveTo>
                    <a:pt x="82" y="0"/>
                  </a:moveTo>
                  <a:lnTo>
                    <a:pt x="0" y="272"/>
                  </a:lnTo>
                  <a:lnTo>
                    <a:pt x="0" y="272"/>
                  </a:lnTo>
                  <a:lnTo>
                    <a:pt x="30" y="280"/>
                  </a:lnTo>
                  <a:lnTo>
                    <a:pt x="59" y="291"/>
                  </a:lnTo>
                  <a:lnTo>
                    <a:pt x="140" y="22"/>
                  </a:lnTo>
                  <a:lnTo>
                    <a:pt x="140" y="22"/>
                  </a:lnTo>
                  <a:lnTo>
                    <a:pt x="111" y="12"/>
                  </a:lnTo>
                  <a:lnTo>
                    <a:pt x="82" y="0"/>
                  </a:lnTo>
                  <a:lnTo>
                    <a:pt x="82"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48" name="Freeform 96"/>
            <p:cNvSpPr>
              <a:spLocks/>
            </p:cNvSpPr>
            <p:nvPr/>
          </p:nvSpPr>
          <p:spPr bwMode="auto">
            <a:xfrm>
              <a:off x="7945438" y="4813301"/>
              <a:ext cx="257175" cy="195263"/>
            </a:xfrm>
            <a:custGeom>
              <a:avLst/>
              <a:gdLst>
                <a:gd name="T0" fmla="*/ 53 w 325"/>
                <a:gd name="T1" fmla="*/ 0 h 246"/>
                <a:gd name="T2" fmla="*/ 53 w 325"/>
                <a:gd name="T3" fmla="*/ 0 h 246"/>
                <a:gd name="T4" fmla="*/ 27 w 325"/>
                <a:gd name="T5" fmla="*/ 18 h 246"/>
                <a:gd name="T6" fmla="*/ 0 w 325"/>
                <a:gd name="T7" fmla="*/ 37 h 246"/>
                <a:gd name="T8" fmla="*/ 288 w 325"/>
                <a:gd name="T9" fmla="*/ 246 h 246"/>
                <a:gd name="T10" fmla="*/ 288 w 325"/>
                <a:gd name="T11" fmla="*/ 246 h 246"/>
                <a:gd name="T12" fmla="*/ 305 w 325"/>
                <a:gd name="T13" fmla="*/ 220 h 246"/>
                <a:gd name="T14" fmla="*/ 325 w 325"/>
                <a:gd name="T15" fmla="*/ 198 h 246"/>
                <a:gd name="T16" fmla="*/ 53 w 325"/>
                <a:gd name="T17"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5" h="246">
                  <a:moveTo>
                    <a:pt x="53" y="0"/>
                  </a:moveTo>
                  <a:lnTo>
                    <a:pt x="53" y="0"/>
                  </a:lnTo>
                  <a:lnTo>
                    <a:pt x="27" y="18"/>
                  </a:lnTo>
                  <a:lnTo>
                    <a:pt x="0" y="37"/>
                  </a:lnTo>
                  <a:lnTo>
                    <a:pt x="288" y="246"/>
                  </a:lnTo>
                  <a:lnTo>
                    <a:pt x="288" y="246"/>
                  </a:lnTo>
                  <a:lnTo>
                    <a:pt x="305" y="220"/>
                  </a:lnTo>
                  <a:lnTo>
                    <a:pt x="325" y="198"/>
                  </a:lnTo>
                  <a:lnTo>
                    <a:pt x="53"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49" name="Freeform 97"/>
            <p:cNvSpPr>
              <a:spLocks/>
            </p:cNvSpPr>
            <p:nvPr/>
          </p:nvSpPr>
          <p:spPr bwMode="auto">
            <a:xfrm>
              <a:off x="7534276" y="3673476"/>
              <a:ext cx="182563" cy="344488"/>
            </a:xfrm>
            <a:custGeom>
              <a:avLst/>
              <a:gdLst>
                <a:gd name="T0" fmla="*/ 231 w 231"/>
                <a:gd name="T1" fmla="*/ 25 h 435"/>
                <a:gd name="T2" fmla="*/ 231 w 231"/>
                <a:gd name="T3" fmla="*/ 25 h 435"/>
                <a:gd name="T4" fmla="*/ 203 w 231"/>
                <a:gd name="T5" fmla="*/ 14 h 435"/>
                <a:gd name="T6" fmla="*/ 175 w 231"/>
                <a:gd name="T7" fmla="*/ 0 h 435"/>
                <a:gd name="T8" fmla="*/ 0 w 231"/>
                <a:gd name="T9" fmla="*/ 395 h 435"/>
                <a:gd name="T10" fmla="*/ 0 w 231"/>
                <a:gd name="T11" fmla="*/ 395 h 435"/>
                <a:gd name="T12" fmla="*/ 26 w 231"/>
                <a:gd name="T13" fmla="*/ 414 h 435"/>
                <a:gd name="T14" fmla="*/ 51 w 231"/>
                <a:gd name="T15" fmla="*/ 435 h 435"/>
                <a:gd name="T16" fmla="*/ 231 w 231"/>
                <a:gd name="T17" fmla="*/ 2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435">
                  <a:moveTo>
                    <a:pt x="231" y="25"/>
                  </a:moveTo>
                  <a:lnTo>
                    <a:pt x="231" y="25"/>
                  </a:lnTo>
                  <a:lnTo>
                    <a:pt x="203" y="14"/>
                  </a:lnTo>
                  <a:lnTo>
                    <a:pt x="175" y="0"/>
                  </a:lnTo>
                  <a:lnTo>
                    <a:pt x="0" y="395"/>
                  </a:lnTo>
                  <a:lnTo>
                    <a:pt x="0" y="395"/>
                  </a:lnTo>
                  <a:lnTo>
                    <a:pt x="26" y="414"/>
                  </a:lnTo>
                  <a:lnTo>
                    <a:pt x="51" y="435"/>
                  </a:lnTo>
                  <a:lnTo>
                    <a:pt x="231" y="2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53" name="Freeform 98"/>
            <p:cNvSpPr>
              <a:spLocks/>
            </p:cNvSpPr>
            <p:nvPr/>
          </p:nvSpPr>
          <p:spPr bwMode="auto">
            <a:xfrm>
              <a:off x="6686551" y="3954463"/>
              <a:ext cx="1384300" cy="892175"/>
            </a:xfrm>
            <a:custGeom>
              <a:avLst/>
              <a:gdLst>
                <a:gd name="T0" fmla="*/ 1731 w 1745"/>
                <a:gd name="T1" fmla="*/ 629 h 1125"/>
                <a:gd name="T2" fmla="*/ 1666 w 1745"/>
                <a:gd name="T3" fmla="*/ 494 h 1125"/>
                <a:gd name="T4" fmla="*/ 1553 w 1745"/>
                <a:gd name="T5" fmla="*/ 392 h 1125"/>
                <a:gd name="T6" fmla="*/ 1498 w 1745"/>
                <a:gd name="T7" fmla="*/ 300 h 1125"/>
                <a:gd name="T8" fmla="*/ 1386 w 1745"/>
                <a:gd name="T9" fmla="*/ 199 h 1125"/>
                <a:gd name="T10" fmla="*/ 1246 w 1745"/>
                <a:gd name="T11" fmla="*/ 146 h 1125"/>
                <a:gd name="T12" fmla="*/ 1097 w 1745"/>
                <a:gd name="T13" fmla="*/ 145 h 1125"/>
                <a:gd name="T14" fmla="*/ 1003 w 1745"/>
                <a:gd name="T15" fmla="*/ 70 h 1125"/>
                <a:gd name="T16" fmla="*/ 871 w 1745"/>
                <a:gd name="T17" fmla="*/ 15 h 1125"/>
                <a:gd name="T18" fmla="*/ 751 w 1745"/>
                <a:gd name="T19" fmla="*/ 0 h 1125"/>
                <a:gd name="T20" fmla="*/ 620 w 1745"/>
                <a:gd name="T21" fmla="*/ 17 h 1125"/>
                <a:gd name="T22" fmla="*/ 499 w 1745"/>
                <a:gd name="T23" fmla="*/ 69 h 1125"/>
                <a:gd name="T24" fmla="*/ 401 w 1745"/>
                <a:gd name="T25" fmla="*/ 145 h 1125"/>
                <a:gd name="T26" fmla="*/ 289 w 1745"/>
                <a:gd name="T27" fmla="*/ 325 h 1125"/>
                <a:gd name="T28" fmla="*/ 274 w 1745"/>
                <a:gd name="T29" fmla="*/ 379 h 1125"/>
                <a:gd name="T30" fmla="*/ 263 w 1745"/>
                <a:gd name="T31" fmla="*/ 482 h 1125"/>
                <a:gd name="T32" fmla="*/ 319 w 1745"/>
                <a:gd name="T33" fmla="*/ 493 h 1125"/>
                <a:gd name="T34" fmla="*/ 401 w 1745"/>
                <a:gd name="T35" fmla="*/ 373 h 1125"/>
                <a:gd name="T36" fmla="*/ 508 w 1745"/>
                <a:gd name="T37" fmla="*/ 211 h 1125"/>
                <a:gd name="T38" fmla="*/ 652 w 1745"/>
                <a:gd name="T39" fmla="*/ 136 h 1125"/>
                <a:gd name="T40" fmla="*/ 790 w 1745"/>
                <a:gd name="T41" fmla="*/ 123 h 1125"/>
                <a:gd name="T42" fmla="*/ 904 w 1745"/>
                <a:gd name="T43" fmla="*/ 155 h 1125"/>
                <a:gd name="T44" fmla="*/ 1003 w 1745"/>
                <a:gd name="T45" fmla="*/ 222 h 1125"/>
                <a:gd name="T46" fmla="*/ 1111 w 1745"/>
                <a:gd name="T47" fmla="*/ 266 h 1125"/>
                <a:gd name="T48" fmla="*/ 1207 w 1745"/>
                <a:gd name="T49" fmla="*/ 263 h 1125"/>
                <a:gd name="T50" fmla="*/ 1309 w 1745"/>
                <a:gd name="T51" fmla="*/ 295 h 1125"/>
                <a:gd name="T52" fmla="*/ 1392 w 1745"/>
                <a:gd name="T53" fmla="*/ 360 h 1125"/>
                <a:gd name="T54" fmla="*/ 1441 w 1745"/>
                <a:gd name="T55" fmla="*/ 441 h 1125"/>
                <a:gd name="T56" fmla="*/ 1508 w 1745"/>
                <a:gd name="T57" fmla="*/ 509 h 1125"/>
                <a:gd name="T58" fmla="*/ 1584 w 1745"/>
                <a:gd name="T59" fmla="*/ 590 h 1125"/>
                <a:gd name="T60" fmla="*/ 1620 w 1745"/>
                <a:gd name="T61" fmla="*/ 693 h 1125"/>
                <a:gd name="T62" fmla="*/ 1611 w 1745"/>
                <a:gd name="T63" fmla="*/ 812 h 1125"/>
                <a:gd name="T64" fmla="*/ 1523 w 1745"/>
                <a:gd name="T65" fmla="*/ 941 h 1125"/>
                <a:gd name="T66" fmla="*/ 1375 w 1745"/>
                <a:gd name="T67" fmla="*/ 1002 h 1125"/>
                <a:gd name="T68" fmla="*/ 809 w 1745"/>
                <a:gd name="T69" fmla="*/ 994 h 1125"/>
                <a:gd name="T70" fmla="*/ 649 w 1745"/>
                <a:gd name="T71" fmla="*/ 920 h 1125"/>
                <a:gd name="T72" fmla="*/ 525 w 1745"/>
                <a:gd name="T73" fmla="*/ 965 h 1125"/>
                <a:gd name="T74" fmla="*/ 394 w 1745"/>
                <a:gd name="T75" fmla="*/ 976 h 1125"/>
                <a:gd name="T76" fmla="*/ 228 w 1745"/>
                <a:gd name="T77" fmla="*/ 923 h 1125"/>
                <a:gd name="T78" fmla="*/ 136 w 1745"/>
                <a:gd name="T79" fmla="*/ 806 h 1125"/>
                <a:gd name="T80" fmla="*/ 128 w 1745"/>
                <a:gd name="T81" fmla="*/ 675 h 1125"/>
                <a:gd name="T82" fmla="*/ 207 w 1745"/>
                <a:gd name="T83" fmla="*/ 547 h 1125"/>
                <a:gd name="T84" fmla="*/ 208 w 1745"/>
                <a:gd name="T85" fmla="*/ 404 h 1125"/>
                <a:gd name="T86" fmla="*/ 104 w 1745"/>
                <a:gd name="T87" fmla="*/ 477 h 1125"/>
                <a:gd name="T88" fmla="*/ 23 w 1745"/>
                <a:gd name="T89" fmla="*/ 602 h 1125"/>
                <a:gd name="T90" fmla="*/ 0 w 1745"/>
                <a:gd name="T91" fmla="*/ 728 h 1125"/>
                <a:gd name="T92" fmla="*/ 19 w 1745"/>
                <a:gd name="T93" fmla="*/ 842 h 1125"/>
                <a:gd name="T94" fmla="*/ 70 w 1745"/>
                <a:gd name="T95" fmla="*/ 939 h 1125"/>
                <a:gd name="T96" fmla="*/ 151 w 1745"/>
                <a:gd name="T97" fmla="*/ 1017 h 1125"/>
                <a:gd name="T98" fmla="*/ 256 w 1745"/>
                <a:gd name="T99" fmla="*/ 1070 h 1125"/>
                <a:gd name="T100" fmla="*/ 427 w 1745"/>
                <a:gd name="T101" fmla="*/ 1097 h 1125"/>
                <a:gd name="T102" fmla="*/ 561 w 1745"/>
                <a:gd name="T103" fmla="*/ 1082 h 1125"/>
                <a:gd name="T104" fmla="*/ 698 w 1745"/>
                <a:gd name="T105" fmla="*/ 1087 h 1125"/>
                <a:gd name="T106" fmla="*/ 897 w 1745"/>
                <a:gd name="T107" fmla="*/ 1125 h 1125"/>
                <a:gd name="T108" fmla="*/ 1429 w 1745"/>
                <a:gd name="T109" fmla="*/ 1117 h 1125"/>
                <a:gd name="T110" fmla="*/ 1536 w 1745"/>
                <a:gd name="T111" fmla="*/ 1078 h 1125"/>
                <a:gd name="T112" fmla="*/ 1676 w 1745"/>
                <a:gd name="T113" fmla="*/ 950 h 1125"/>
                <a:gd name="T114" fmla="*/ 1726 w 1745"/>
                <a:gd name="T115" fmla="*/ 848 h 1125"/>
                <a:gd name="T116" fmla="*/ 1745 w 1745"/>
                <a:gd name="T117" fmla="*/ 730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45" h="1125">
                  <a:moveTo>
                    <a:pt x="1745" y="730"/>
                  </a:moveTo>
                  <a:lnTo>
                    <a:pt x="1745" y="730"/>
                  </a:lnTo>
                  <a:lnTo>
                    <a:pt x="1743" y="704"/>
                  </a:lnTo>
                  <a:lnTo>
                    <a:pt x="1740" y="679"/>
                  </a:lnTo>
                  <a:lnTo>
                    <a:pt x="1737" y="654"/>
                  </a:lnTo>
                  <a:lnTo>
                    <a:pt x="1731" y="629"/>
                  </a:lnTo>
                  <a:lnTo>
                    <a:pt x="1723" y="605"/>
                  </a:lnTo>
                  <a:lnTo>
                    <a:pt x="1714" y="582"/>
                  </a:lnTo>
                  <a:lnTo>
                    <a:pt x="1705" y="558"/>
                  </a:lnTo>
                  <a:lnTo>
                    <a:pt x="1693" y="537"/>
                  </a:lnTo>
                  <a:lnTo>
                    <a:pt x="1679" y="515"/>
                  </a:lnTo>
                  <a:lnTo>
                    <a:pt x="1666" y="494"/>
                  </a:lnTo>
                  <a:lnTo>
                    <a:pt x="1649" y="474"/>
                  </a:lnTo>
                  <a:lnTo>
                    <a:pt x="1632" y="456"/>
                  </a:lnTo>
                  <a:lnTo>
                    <a:pt x="1614" y="439"/>
                  </a:lnTo>
                  <a:lnTo>
                    <a:pt x="1594" y="423"/>
                  </a:lnTo>
                  <a:lnTo>
                    <a:pt x="1574" y="407"/>
                  </a:lnTo>
                  <a:lnTo>
                    <a:pt x="1553" y="392"/>
                  </a:lnTo>
                  <a:lnTo>
                    <a:pt x="1553" y="392"/>
                  </a:lnTo>
                  <a:lnTo>
                    <a:pt x="1535" y="356"/>
                  </a:lnTo>
                  <a:lnTo>
                    <a:pt x="1526" y="336"/>
                  </a:lnTo>
                  <a:lnTo>
                    <a:pt x="1514" y="319"/>
                  </a:lnTo>
                  <a:lnTo>
                    <a:pt x="1514" y="319"/>
                  </a:lnTo>
                  <a:lnTo>
                    <a:pt x="1498" y="300"/>
                  </a:lnTo>
                  <a:lnTo>
                    <a:pt x="1483" y="280"/>
                  </a:lnTo>
                  <a:lnTo>
                    <a:pt x="1465" y="262"/>
                  </a:lnTo>
                  <a:lnTo>
                    <a:pt x="1447" y="243"/>
                  </a:lnTo>
                  <a:lnTo>
                    <a:pt x="1427" y="228"/>
                  </a:lnTo>
                  <a:lnTo>
                    <a:pt x="1407" y="213"/>
                  </a:lnTo>
                  <a:lnTo>
                    <a:pt x="1386" y="199"/>
                  </a:lnTo>
                  <a:lnTo>
                    <a:pt x="1365" y="187"/>
                  </a:lnTo>
                  <a:lnTo>
                    <a:pt x="1342" y="175"/>
                  </a:lnTo>
                  <a:lnTo>
                    <a:pt x="1319" y="166"/>
                  </a:lnTo>
                  <a:lnTo>
                    <a:pt x="1295" y="158"/>
                  </a:lnTo>
                  <a:lnTo>
                    <a:pt x="1271" y="151"/>
                  </a:lnTo>
                  <a:lnTo>
                    <a:pt x="1246" y="146"/>
                  </a:lnTo>
                  <a:lnTo>
                    <a:pt x="1220" y="142"/>
                  </a:lnTo>
                  <a:lnTo>
                    <a:pt x="1196" y="140"/>
                  </a:lnTo>
                  <a:lnTo>
                    <a:pt x="1170" y="139"/>
                  </a:lnTo>
                  <a:lnTo>
                    <a:pt x="1170" y="139"/>
                  </a:lnTo>
                  <a:lnTo>
                    <a:pt x="1134" y="140"/>
                  </a:lnTo>
                  <a:lnTo>
                    <a:pt x="1097" y="145"/>
                  </a:lnTo>
                  <a:lnTo>
                    <a:pt x="1097" y="145"/>
                  </a:lnTo>
                  <a:lnTo>
                    <a:pt x="1081" y="128"/>
                  </a:lnTo>
                  <a:lnTo>
                    <a:pt x="1062" y="113"/>
                  </a:lnTo>
                  <a:lnTo>
                    <a:pt x="1043" y="98"/>
                  </a:lnTo>
                  <a:lnTo>
                    <a:pt x="1023" y="84"/>
                  </a:lnTo>
                  <a:lnTo>
                    <a:pt x="1003" y="70"/>
                  </a:lnTo>
                  <a:lnTo>
                    <a:pt x="982" y="58"/>
                  </a:lnTo>
                  <a:lnTo>
                    <a:pt x="961" y="47"/>
                  </a:lnTo>
                  <a:lnTo>
                    <a:pt x="939" y="38"/>
                  </a:lnTo>
                  <a:lnTo>
                    <a:pt x="917" y="29"/>
                  </a:lnTo>
                  <a:lnTo>
                    <a:pt x="894" y="22"/>
                  </a:lnTo>
                  <a:lnTo>
                    <a:pt x="871" y="15"/>
                  </a:lnTo>
                  <a:lnTo>
                    <a:pt x="848" y="9"/>
                  </a:lnTo>
                  <a:lnTo>
                    <a:pt x="824" y="5"/>
                  </a:lnTo>
                  <a:lnTo>
                    <a:pt x="800" y="2"/>
                  </a:lnTo>
                  <a:lnTo>
                    <a:pt x="775" y="0"/>
                  </a:lnTo>
                  <a:lnTo>
                    <a:pt x="751" y="0"/>
                  </a:lnTo>
                  <a:lnTo>
                    <a:pt x="751" y="0"/>
                  </a:lnTo>
                  <a:lnTo>
                    <a:pt x="728" y="0"/>
                  </a:lnTo>
                  <a:lnTo>
                    <a:pt x="707" y="2"/>
                  </a:lnTo>
                  <a:lnTo>
                    <a:pt x="684" y="5"/>
                  </a:lnTo>
                  <a:lnTo>
                    <a:pt x="663" y="8"/>
                  </a:lnTo>
                  <a:lnTo>
                    <a:pt x="642" y="12"/>
                  </a:lnTo>
                  <a:lnTo>
                    <a:pt x="620" y="17"/>
                  </a:lnTo>
                  <a:lnTo>
                    <a:pt x="599" y="25"/>
                  </a:lnTo>
                  <a:lnTo>
                    <a:pt x="578" y="31"/>
                  </a:lnTo>
                  <a:lnTo>
                    <a:pt x="558" y="40"/>
                  </a:lnTo>
                  <a:lnTo>
                    <a:pt x="538" y="47"/>
                  </a:lnTo>
                  <a:lnTo>
                    <a:pt x="518" y="58"/>
                  </a:lnTo>
                  <a:lnTo>
                    <a:pt x="499" y="69"/>
                  </a:lnTo>
                  <a:lnTo>
                    <a:pt x="480" y="81"/>
                  </a:lnTo>
                  <a:lnTo>
                    <a:pt x="462" y="93"/>
                  </a:lnTo>
                  <a:lnTo>
                    <a:pt x="444" y="107"/>
                  </a:lnTo>
                  <a:lnTo>
                    <a:pt x="427" y="120"/>
                  </a:lnTo>
                  <a:lnTo>
                    <a:pt x="427" y="120"/>
                  </a:lnTo>
                  <a:lnTo>
                    <a:pt x="401" y="145"/>
                  </a:lnTo>
                  <a:lnTo>
                    <a:pt x="377" y="172"/>
                  </a:lnTo>
                  <a:lnTo>
                    <a:pt x="354" y="199"/>
                  </a:lnTo>
                  <a:lnTo>
                    <a:pt x="335" y="230"/>
                  </a:lnTo>
                  <a:lnTo>
                    <a:pt x="318" y="260"/>
                  </a:lnTo>
                  <a:lnTo>
                    <a:pt x="303" y="292"/>
                  </a:lnTo>
                  <a:lnTo>
                    <a:pt x="289" y="325"/>
                  </a:lnTo>
                  <a:lnTo>
                    <a:pt x="278" y="360"/>
                  </a:lnTo>
                  <a:lnTo>
                    <a:pt x="278" y="360"/>
                  </a:lnTo>
                  <a:lnTo>
                    <a:pt x="278" y="360"/>
                  </a:lnTo>
                  <a:lnTo>
                    <a:pt x="278" y="360"/>
                  </a:lnTo>
                  <a:lnTo>
                    <a:pt x="274" y="379"/>
                  </a:lnTo>
                  <a:lnTo>
                    <a:pt x="274" y="379"/>
                  </a:lnTo>
                  <a:lnTo>
                    <a:pt x="274" y="379"/>
                  </a:lnTo>
                  <a:lnTo>
                    <a:pt x="274" y="379"/>
                  </a:lnTo>
                  <a:lnTo>
                    <a:pt x="269" y="404"/>
                  </a:lnTo>
                  <a:lnTo>
                    <a:pt x="266" y="430"/>
                  </a:lnTo>
                  <a:lnTo>
                    <a:pt x="265" y="456"/>
                  </a:lnTo>
                  <a:lnTo>
                    <a:pt x="263" y="482"/>
                  </a:lnTo>
                  <a:lnTo>
                    <a:pt x="263" y="482"/>
                  </a:lnTo>
                  <a:lnTo>
                    <a:pt x="265" y="512"/>
                  </a:lnTo>
                  <a:lnTo>
                    <a:pt x="265" y="512"/>
                  </a:lnTo>
                  <a:lnTo>
                    <a:pt x="281" y="505"/>
                  </a:lnTo>
                  <a:lnTo>
                    <a:pt x="300" y="499"/>
                  </a:lnTo>
                  <a:lnTo>
                    <a:pt x="319" y="493"/>
                  </a:lnTo>
                  <a:lnTo>
                    <a:pt x="339" y="488"/>
                  </a:lnTo>
                  <a:lnTo>
                    <a:pt x="383" y="480"/>
                  </a:lnTo>
                  <a:lnTo>
                    <a:pt x="388" y="436"/>
                  </a:lnTo>
                  <a:lnTo>
                    <a:pt x="388" y="436"/>
                  </a:lnTo>
                  <a:lnTo>
                    <a:pt x="394" y="404"/>
                  </a:lnTo>
                  <a:lnTo>
                    <a:pt x="401" y="373"/>
                  </a:lnTo>
                  <a:lnTo>
                    <a:pt x="414" y="342"/>
                  </a:lnTo>
                  <a:lnTo>
                    <a:pt x="427" y="313"/>
                  </a:lnTo>
                  <a:lnTo>
                    <a:pt x="444" y="284"/>
                  </a:lnTo>
                  <a:lnTo>
                    <a:pt x="462" y="259"/>
                  </a:lnTo>
                  <a:lnTo>
                    <a:pt x="484" y="234"/>
                  </a:lnTo>
                  <a:lnTo>
                    <a:pt x="508" y="211"/>
                  </a:lnTo>
                  <a:lnTo>
                    <a:pt x="508" y="211"/>
                  </a:lnTo>
                  <a:lnTo>
                    <a:pt x="534" y="192"/>
                  </a:lnTo>
                  <a:lnTo>
                    <a:pt x="561" y="173"/>
                  </a:lnTo>
                  <a:lnTo>
                    <a:pt x="590" y="158"/>
                  </a:lnTo>
                  <a:lnTo>
                    <a:pt x="620" y="145"/>
                  </a:lnTo>
                  <a:lnTo>
                    <a:pt x="652" y="136"/>
                  </a:lnTo>
                  <a:lnTo>
                    <a:pt x="684" y="128"/>
                  </a:lnTo>
                  <a:lnTo>
                    <a:pt x="717" y="123"/>
                  </a:lnTo>
                  <a:lnTo>
                    <a:pt x="751" y="122"/>
                  </a:lnTo>
                  <a:lnTo>
                    <a:pt x="751" y="122"/>
                  </a:lnTo>
                  <a:lnTo>
                    <a:pt x="771" y="122"/>
                  </a:lnTo>
                  <a:lnTo>
                    <a:pt x="790" y="123"/>
                  </a:lnTo>
                  <a:lnTo>
                    <a:pt x="810" y="126"/>
                  </a:lnTo>
                  <a:lnTo>
                    <a:pt x="830" y="131"/>
                  </a:lnTo>
                  <a:lnTo>
                    <a:pt x="850" y="136"/>
                  </a:lnTo>
                  <a:lnTo>
                    <a:pt x="868" y="142"/>
                  </a:lnTo>
                  <a:lnTo>
                    <a:pt x="886" y="148"/>
                  </a:lnTo>
                  <a:lnTo>
                    <a:pt x="904" y="155"/>
                  </a:lnTo>
                  <a:lnTo>
                    <a:pt x="923" y="164"/>
                  </a:lnTo>
                  <a:lnTo>
                    <a:pt x="939" y="173"/>
                  </a:lnTo>
                  <a:lnTo>
                    <a:pt x="956" y="184"/>
                  </a:lnTo>
                  <a:lnTo>
                    <a:pt x="973" y="196"/>
                  </a:lnTo>
                  <a:lnTo>
                    <a:pt x="988" y="208"/>
                  </a:lnTo>
                  <a:lnTo>
                    <a:pt x="1003" y="222"/>
                  </a:lnTo>
                  <a:lnTo>
                    <a:pt x="1017" y="236"/>
                  </a:lnTo>
                  <a:lnTo>
                    <a:pt x="1030" y="251"/>
                  </a:lnTo>
                  <a:lnTo>
                    <a:pt x="1055" y="280"/>
                  </a:lnTo>
                  <a:lnTo>
                    <a:pt x="1093" y="271"/>
                  </a:lnTo>
                  <a:lnTo>
                    <a:pt x="1093" y="271"/>
                  </a:lnTo>
                  <a:lnTo>
                    <a:pt x="1111" y="266"/>
                  </a:lnTo>
                  <a:lnTo>
                    <a:pt x="1131" y="263"/>
                  </a:lnTo>
                  <a:lnTo>
                    <a:pt x="1151" y="262"/>
                  </a:lnTo>
                  <a:lnTo>
                    <a:pt x="1170" y="260"/>
                  </a:lnTo>
                  <a:lnTo>
                    <a:pt x="1170" y="260"/>
                  </a:lnTo>
                  <a:lnTo>
                    <a:pt x="1189" y="260"/>
                  </a:lnTo>
                  <a:lnTo>
                    <a:pt x="1207" y="263"/>
                  </a:lnTo>
                  <a:lnTo>
                    <a:pt x="1223" y="265"/>
                  </a:lnTo>
                  <a:lnTo>
                    <a:pt x="1242" y="269"/>
                  </a:lnTo>
                  <a:lnTo>
                    <a:pt x="1258" y="274"/>
                  </a:lnTo>
                  <a:lnTo>
                    <a:pt x="1275" y="280"/>
                  </a:lnTo>
                  <a:lnTo>
                    <a:pt x="1292" y="286"/>
                  </a:lnTo>
                  <a:lnTo>
                    <a:pt x="1309" y="295"/>
                  </a:lnTo>
                  <a:lnTo>
                    <a:pt x="1324" y="303"/>
                  </a:lnTo>
                  <a:lnTo>
                    <a:pt x="1339" y="313"/>
                  </a:lnTo>
                  <a:lnTo>
                    <a:pt x="1353" y="324"/>
                  </a:lnTo>
                  <a:lnTo>
                    <a:pt x="1366" y="335"/>
                  </a:lnTo>
                  <a:lnTo>
                    <a:pt x="1380" y="347"/>
                  </a:lnTo>
                  <a:lnTo>
                    <a:pt x="1392" y="360"/>
                  </a:lnTo>
                  <a:lnTo>
                    <a:pt x="1403" y="374"/>
                  </a:lnTo>
                  <a:lnTo>
                    <a:pt x="1415" y="389"/>
                  </a:lnTo>
                  <a:lnTo>
                    <a:pt x="1415" y="389"/>
                  </a:lnTo>
                  <a:lnTo>
                    <a:pt x="1424" y="404"/>
                  </a:lnTo>
                  <a:lnTo>
                    <a:pt x="1433" y="423"/>
                  </a:lnTo>
                  <a:lnTo>
                    <a:pt x="1441" y="441"/>
                  </a:lnTo>
                  <a:lnTo>
                    <a:pt x="1445" y="453"/>
                  </a:lnTo>
                  <a:lnTo>
                    <a:pt x="1453" y="477"/>
                  </a:lnTo>
                  <a:lnTo>
                    <a:pt x="1476" y="488"/>
                  </a:lnTo>
                  <a:lnTo>
                    <a:pt x="1476" y="488"/>
                  </a:lnTo>
                  <a:lnTo>
                    <a:pt x="1492" y="499"/>
                  </a:lnTo>
                  <a:lnTo>
                    <a:pt x="1508" y="509"/>
                  </a:lnTo>
                  <a:lnTo>
                    <a:pt x="1523" y="520"/>
                  </a:lnTo>
                  <a:lnTo>
                    <a:pt x="1536" y="532"/>
                  </a:lnTo>
                  <a:lnTo>
                    <a:pt x="1550" y="546"/>
                  </a:lnTo>
                  <a:lnTo>
                    <a:pt x="1562" y="559"/>
                  </a:lnTo>
                  <a:lnTo>
                    <a:pt x="1573" y="575"/>
                  </a:lnTo>
                  <a:lnTo>
                    <a:pt x="1584" y="590"/>
                  </a:lnTo>
                  <a:lnTo>
                    <a:pt x="1593" y="605"/>
                  </a:lnTo>
                  <a:lnTo>
                    <a:pt x="1600" y="622"/>
                  </a:lnTo>
                  <a:lnTo>
                    <a:pt x="1606" y="638"/>
                  </a:lnTo>
                  <a:lnTo>
                    <a:pt x="1612" y="657"/>
                  </a:lnTo>
                  <a:lnTo>
                    <a:pt x="1617" y="675"/>
                  </a:lnTo>
                  <a:lnTo>
                    <a:pt x="1620" y="693"/>
                  </a:lnTo>
                  <a:lnTo>
                    <a:pt x="1622" y="711"/>
                  </a:lnTo>
                  <a:lnTo>
                    <a:pt x="1623" y="730"/>
                  </a:lnTo>
                  <a:lnTo>
                    <a:pt x="1623" y="730"/>
                  </a:lnTo>
                  <a:lnTo>
                    <a:pt x="1622" y="758"/>
                  </a:lnTo>
                  <a:lnTo>
                    <a:pt x="1617" y="786"/>
                  </a:lnTo>
                  <a:lnTo>
                    <a:pt x="1611" y="812"/>
                  </a:lnTo>
                  <a:lnTo>
                    <a:pt x="1600" y="836"/>
                  </a:lnTo>
                  <a:lnTo>
                    <a:pt x="1590" y="860"/>
                  </a:lnTo>
                  <a:lnTo>
                    <a:pt x="1576" y="883"/>
                  </a:lnTo>
                  <a:lnTo>
                    <a:pt x="1559" y="904"/>
                  </a:lnTo>
                  <a:lnTo>
                    <a:pt x="1543" y="923"/>
                  </a:lnTo>
                  <a:lnTo>
                    <a:pt x="1523" y="941"/>
                  </a:lnTo>
                  <a:lnTo>
                    <a:pt x="1502" y="956"/>
                  </a:lnTo>
                  <a:lnTo>
                    <a:pt x="1479" y="970"/>
                  </a:lnTo>
                  <a:lnTo>
                    <a:pt x="1454" y="982"/>
                  </a:lnTo>
                  <a:lnTo>
                    <a:pt x="1430" y="991"/>
                  </a:lnTo>
                  <a:lnTo>
                    <a:pt x="1403" y="997"/>
                  </a:lnTo>
                  <a:lnTo>
                    <a:pt x="1375" y="1002"/>
                  </a:lnTo>
                  <a:lnTo>
                    <a:pt x="1348" y="1003"/>
                  </a:lnTo>
                  <a:lnTo>
                    <a:pt x="897" y="1003"/>
                  </a:lnTo>
                  <a:lnTo>
                    <a:pt x="897" y="1003"/>
                  </a:lnTo>
                  <a:lnTo>
                    <a:pt x="866" y="1002"/>
                  </a:lnTo>
                  <a:lnTo>
                    <a:pt x="838" y="999"/>
                  </a:lnTo>
                  <a:lnTo>
                    <a:pt x="809" y="994"/>
                  </a:lnTo>
                  <a:lnTo>
                    <a:pt x="781" y="986"/>
                  </a:lnTo>
                  <a:lnTo>
                    <a:pt x="754" y="977"/>
                  </a:lnTo>
                  <a:lnTo>
                    <a:pt x="727" y="967"/>
                  </a:lnTo>
                  <a:lnTo>
                    <a:pt x="702" y="953"/>
                  </a:lnTo>
                  <a:lnTo>
                    <a:pt x="678" y="938"/>
                  </a:lnTo>
                  <a:lnTo>
                    <a:pt x="649" y="920"/>
                  </a:lnTo>
                  <a:lnTo>
                    <a:pt x="617" y="933"/>
                  </a:lnTo>
                  <a:lnTo>
                    <a:pt x="617" y="933"/>
                  </a:lnTo>
                  <a:lnTo>
                    <a:pt x="596" y="944"/>
                  </a:lnTo>
                  <a:lnTo>
                    <a:pt x="573" y="951"/>
                  </a:lnTo>
                  <a:lnTo>
                    <a:pt x="549" y="959"/>
                  </a:lnTo>
                  <a:lnTo>
                    <a:pt x="525" y="965"/>
                  </a:lnTo>
                  <a:lnTo>
                    <a:pt x="500" y="970"/>
                  </a:lnTo>
                  <a:lnTo>
                    <a:pt x="476" y="974"/>
                  </a:lnTo>
                  <a:lnTo>
                    <a:pt x="452" y="976"/>
                  </a:lnTo>
                  <a:lnTo>
                    <a:pt x="427" y="976"/>
                  </a:lnTo>
                  <a:lnTo>
                    <a:pt x="427" y="976"/>
                  </a:lnTo>
                  <a:lnTo>
                    <a:pt x="394" y="976"/>
                  </a:lnTo>
                  <a:lnTo>
                    <a:pt x="362" y="971"/>
                  </a:lnTo>
                  <a:lnTo>
                    <a:pt x="333" y="967"/>
                  </a:lnTo>
                  <a:lnTo>
                    <a:pt x="304" y="958"/>
                  </a:lnTo>
                  <a:lnTo>
                    <a:pt x="277" y="948"/>
                  </a:lnTo>
                  <a:lnTo>
                    <a:pt x="253" y="936"/>
                  </a:lnTo>
                  <a:lnTo>
                    <a:pt x="228" y="923"/>
                  </a:lnTo>
                  <a:lnTo>
                    <a:pt x="207" y="907"/>
                  </a:lnTo>
                  <a:lnTo>
                    <a:pt x="189" y="889"/>
                  </a:lnTo>
                  <a:lnTo>
                    <a:pt x="172" y="871"/>
                  </a:lnTo>
                  <a:lnTo>
                    <a:pt x="157" y="851"/>
                  </a:lnTo>
                  <a:lnTo>
                    <a:pt x="145" y="828"/>
                  </a:lnTo>
                  <a:lnTo>
                    <a:pt x="136" y="806"/>
                  </a:lnTo>
                  <a:lnTo>
                    <a:pt x="128" y="781"/>
                  </a:lnTo>
                  <a:lnTo>
                    <a:pt x="123" y="755"/>
                  </a:lnTo>
                  <a:lnTo>
                    <a:pt x="122" y="728"/>
                  </a:lnTo>
                  <a:lnTo>
                    <a:pt x="122" y="728"/>
                  </a:lnTo>
                  <a:lnTo>
                    <a:pt x="123" y="701"/>
                  </a:lnTo>
                  <a:lnTo>
                    <a:pt x="128" y="675"/>
                  </a:lnTo>
                  <a:lnTo>
                    <a:pt x="134" y="649"/>
                  </a:lnTo>
                  <a:lnTo>
                    <a:pt x="145" y="625"/>
                  </a:lnTo>
                  <a:lnTo>
                    <a:pt x="155" y="603"/>
                  </a:lnTo>
                  <a:lnTo>
                    <a:pt x="171" y="582"/>
                  </a:lnTo>
                  <a:lnTo>
                    <a:pt x="187" y="564"/>
                  </a:lnTo>
                  <a:lnTo>
                    <a:pt x="207" y="547"/>
                  </a:lnTo>
                  <a:lnTo>
                    <a:pt x="207" y="547"/>
                  </a:lnTo>
                  <a:lnTo>
                    <a:pt x="204" y="514"/>
                  </a:lnTo>
                  <a:lnTo>
                    <a:pt x="202" y="482"/>
                  </a:lnTo>
                  <a:lnTo>
                    <a:pt x="202" y="482"/>
                  </a:lnTo>
                  <a:lnTo>
                    <a:pt x="204" y="442"/>
                  </a:lnTo>
                  <a:lnTo>
                    <a:pt x="208" y="404"/>
                  </a:lnTo>
                  <a:lnTo>
                    <a:pt x="208" y="404"/>
                  </a:lnTo>
                  <a:lnTo>
                    <a:pt x="184" y="417"/>
                  </a:lnTo>
                  <a:lnTo>
                    <a:pt x="163" y="430"/>
                  </a:lnTo>
                  <a:lnTo>
                    <a:pt x="142" y="444"/>
                  </a:lnTo>
                  <a:lnTo>
                    <a:pt x="122" y="461"/>
                  </a:lnTo>
                  <a:lnTo>
                    <a:pt x="104" y="477"/>
                  </a:lnTo>
                  <a:lnTo>
                    <a:pt x="85" y="496"/>
                  </a:lnTo>
                  <a:lnTo>
                    <a:pt x="70" y="515"/>
                  </a:lnTo>
                  <a:lnTo>
                    <a:pt x="57" y="535"/>
                  </a:lnTo>
                  <a:lnTo>
                    <a:pt x="43" y="556"/>
                  </a:lnTo>
                  <a:lnTo>
                    <a:pt x="32" y="579"/>
                  </a:lnTo>
                  <a:lnTo>
                    <a:pt x="23" y="602"/>
                  </a:lnTo>
                  <a:lnTo>
                    <a:pt x="16" y="625"/>
                  </a:lnTo>
                  <a:lnTo>
                    <a:pt x="8" y="651"/>
                  </a:lnTo>
                  <a:lnTo>
                    <a:pt x="5" y="675"/>
                  </a:lnTo>
                  <a:lnTo>
                    <a:pt x="2" y="701"/>
                  </a:lnTo>
                  <a:lnTo>
                    <a:pt x="0" y="728"/>
                  </a:lnTo>
                  <a:lnTo>
                    <a:pt x="0" y="728"/>
                  </a:lnTo>
                  <a:lnTo>
                    <a:pt x="0" y="748"/>
                  </a:lnTo>
                  <a:lnTo>
                    <a:pt x="3" y="768"/>
                  </a:lnTo>
                  <a:lnTo>
                    <a:pt x="5" y="787"/>
                  </a:lnTo>
                  <a:lnTo>
                    <a:pt x="9" y="806"/>
                  </a:lnTo>
                  <a:lnTo>
                    <a:pt x="14" y="824"/>
                  </a:lnTo>
                  <a:lnTo>
                    <a:pt x="19" y="842"/>
                  </a:lnTo>
                  <a:lnTo>
                    <a:pt x="25" y="859"/>
                  </a:lnTo>
                  <a:lnTo>
                    <a:pt x="32" y="877"/>
                  </a:lnTo>
                  <a:lnTo>
                    <a:pt x="41" y="892"/>
                  </a:lnTo>
                  <a:lnTo>
                    <a:pt x="50" y="909"/>
                  </a:lnTo>
                  <a:lnTo>
                    <a:pt x="60" y="924"/>
                  </a:lnTo>
                  <a:lnTo>
                    <a:pt x="70" y="939"/>
                  </a:lnTo>
                  <a:lnTo>
                    <a:pt x="82" y="953"/>
                  </a:lnTo>
                  <a:lnTo>
                    <a:pt x="95" y="968"/>
                  </a:lnTo>
                  <a:lnTo>
                    <a:pt x="107" y="980"/>
                  </a:lnTo>
                  <a:lnTo>
                    <a:pt x="122" y="994"/>
                  </a:lnTo>
                  <a:lnTo>
                    <a:pt x="136" y="1005"/>
                  </a:lnTo>
                  <a:lnTo>
                    <a:pt x="151" y="1017"/>
                  </a:lnTo>
                  <a:lnTo>
                    <a:pt x="167" y="1027"/>
                  </a:lnTo>
                  <a:lnTo>
                    <a:pt x="184" y="1038"/>
                  </a:lnTo>
                  <a:lnTo>
                    <a:pt x="201" y="1047"/>
                  </a:lnTo>
                  <a:lnTo>
                    <a:pt x="219" y="1055"/>
                  </a:lnTo>
                  <a:lnTo>
                    <a:pt x="237" y="1062"/>
                  </a:lnTo>
                  <a:lnTo>
                    <a:pt x="256" y="1070"/>
                  </a:lnTo>
                  <a:lnTo>
                    <a:pt x="275" y="1076"/>
                  </a:lnTo>
                  <a:lnTo>
                    <a:pt x="297" y="1082"/>
                  </a:lnTo>
                  <a:lnTo>
                    <a:pt x="338" y="1091"/>
                  </a:lnTo>
                  <a:lnTo>
                    <a:pt x="382" y="1096"/>
                  </a:lnTo>
                  <a:lnTo>
                    <a:pt x="404" y="1097"/>
                  </a:lnTo>
                  <a:lnTo>
                    <a:pt x="427" y="1097"/>
                  </a:lnTo>
                  <a:lnTo>
                    <a:pt x="427" y="1097"/>
                  </a:lnTo>
                  <a:lnTo>
                    <a:pt x="455" y="1097"/>
                  </a:lnTo>
                  <a:lnTo>
                    <a:pt x="482" y="1096"/>
                  </a:lnTo>
                  <a:lnTo>
                    <a:pt x="508" y="1091"/>
                  </a:lnTo>
                  <a:lnTo>
                    <a:pt x="535" y="1088"/>
                  </a:lnTo>
                  <a:lnTo>
                    <a:pt x="561" y="1082"/>
                  </a:lnTo>
                  <a:lnTo>
                    <a:pt x="588" y="1075"/>
                  </a:lnTo>
                  <a:lnTo>
                    <a:pt x="614" y="1067"/>
                  </a:lnTo>
                  <a:lnTo>
                    <a:pt x="638" y="1058"/>
                  </a:lnTo>
                  <a:lnTo>
                    <a:pt x="638" y="1058"/>
                  </a:lnTo>
                  <a:lnTo>
                    <a:pt x="667" y="1073"/>
                  </a:lnTo>
                  <a:lnTo>
                    <a:pt x="698" y="1087"/>
                  </a:lnTo>
                  <a:lnTo>
                    <a:pt x="730" y="1097"/>
                  </a:lnTo>
                  <a:lnTo>
                    <a:pt x="762" y="1108"/>
                  </a:lnTo>
                  <a:lnTo>
                    <a:pt x="795" y="1116"/>
                  </a:lnTo>
                  <a:lnTo>
                    <a:pt x="828" y="1120"/>
                  </a:lnTo>
                  <a:lnTo>
                    <a:pt x="862" y="1123"/>
                  </a:lnTo>
                  <a:lnTo>
                    <a:pt x="897" y="1125"/>
                  </a:lnTo>
                  <a:lnTo>
                    <a:pt x="1348" y="1125"/>
                  </a:lnTo>
                  <a:lnTo>
                    <a:pt x="1348" y="1125"/>
                  </a:lnTo>
                  <a:lnTo>
                    <a:pt x="1368" y="1125"/>
                  </a:lnTo>
                  <a:lnTo>
                    <a:pt x="1389" y="1123"/>
                  </a:lnTo>
                  <a:lnTo>
                    <a:pt x="1409" y="1120"/>
                  </a:lnTo>
                  <a:lnTo>
                    <a:pt x="1429" y="1117"/>
                  </a:lnTo>
                  <a:lnTo>
                    <a:pt x="1447" y="1113"/>
                  </a:lnTo>
                  <a:lnTo>
                    <a:pt x="1465" y="1106"/>
                  </a:lnTo>
                  <a:lnTo>
                    <a:pt x="1485" y="1100"/>
                  </a:lnTo>
                  <a:lnTo>
                    <a:pt x="1502" y="1094"/>
                  </a:lnTo>
                  <a:lnTo>
                    <a:pt x="1520" y="1085"/>
                  </a:lnTo>
                  <a:lnTo>
                    <a:pt x="1536" y="1078"/>
                  </a:lnTo>
                  <a:lnTo>
                    <a:pt x="1553" y="1067"/>
                  </a:lnTo>
                  <a:lnTo>
                    <a:pt x="1570" y="1058"/>
                  </a:lnTo>
                  <a:lnTo>
                    <a:pt x="1600" y="1035"/>
                  </a:lnTo>
                  <a:lnTo>
                    <a:pt x="1628" y="1009"/>
                  </a:lnTo>
                  <a:lnTo>
                    <a:pt x="1653" y="980"/>
                  </a:lnTo>
                  <a:lnTo>
                    <a:pt x="1676" y="950"/>
                  </a:lnTo>
                  <a:lnTo>
                    <a:pt x="1687" y="935"/>
                  </a:lnTo>
                  <a:lnTo>
                    <a:pt x="1696" y="918"/>
                  </a:lnTo>
                  <a:lnTo>
                    <a:pt x="1705" y="901"/>
                  </a:lnTo>
                  <a:lnTo>
                    <a:pt x="1713" y="883"/>
                  </a:lnTo>
                  <a:lnTo>
                    <a:pt x="1720" y="866"/>
                  </a:lnTo>
                  <a:lnTo>
                    <a:pt x="1726" y="848"/>
                  </a:lnTo>
                  <a:lnTo>
                    <a:pt x="1731" y="828"/>
                  </a:lnTo>
                  <a:lnTo>
                    <a:pt x="1735" y="810"/>
                  </a:lnTo>
                  <a:lnTo>
                    <a:pt x="1740" y="790"/>
                  </a:lnTo>
                  <a:lnTo>
                    <a:pt x="1742" y="771"/>
                  </a:lnTo>
                  <a:lnTo>
                    <a:pt x="1743" y="751"/>
                  </a:lnTo>
                  <a:lnTo>
                    <a:pt x="1745" y="730"/>
                  </a:lnTo>
                  <a:lnTo>
                    <a:pt x="1745"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54" name="Freeform 99"/>
            <p:cNvSpPr>
              <a:spLocks/>
            </p:cNvSpPr>
            <p:nvPr/>
          </p:nvSpPr>
          <p:spPr bwMode="auto">
            <a:xfrm>
              <a:off x="6562726" y="4086226"/>
              <a:ext cx="309563" cy="142875"/>
            </a:xfrm>
            <a:custGeom>
              <a:avLst/>
              <a:gdLst>
                <a:gd name="T0" fmla="*/ 379 w 389"/>
                <a:gd name="T1" fmla="*/ 165 h 180"/>
                <a:gd name="T2" fmla="*/ 379 w 389"/>
                <a:gd name="T3" fmla="*/ 165 h 180"/>
                <a:gd name="T4" fmla="*/ 380 w 389"/>
                <a:gd name="T5" fmla="*/ 161 h 180"/>
                <a:gd name="T6" fmla="*/ 380 w 389"/>
                <a:gd name="T7" fmla="*/ 161 h 180"/>
                <a:gd name="T8" fmla="*/ 383 w 389"/>
                <a:gd name="T9" fmla="*/ 148 h 180"/>
                <a:gd name="T10" fmla="*/ 383 w 389"/>
                <a:gd name="T11" fmla="*/ 148 h 180"/>
                <a:gd name="T12" fmla="*/ 389 w 389"/>
                <a:gd name="T13" fmla="*/ 133 h 180"/>
                <a:gd name="T14" fmla="*/ 20 w 389"/>
                <a:gd name="T15" fmla="*/ 0 h 180"/>
                <a:gd name="T16" fmla="*/ 20 w 389"/>
                <a:gd name="T17" fmla="*/ 0 h 180"/>
                <a:gd name="T18" fmla="*/ 11 w 389"/>
                <a:gd name="T19" fmla="*/ 29 h 180"/>
                <a:gd name="T20" fmla="*/ 0 w 389"/>
                <a:gd name="T21" fmla="*/ 58 h 180"/>
                <a:gd name="T22" fmla="*/ 341 w 389"/>
                <a:gd name="T23" fmla="*/ 180 h 180"/>
                <a:gd name="T24" fmla="*/ 341 w 389"/>
                <a:gd name="T25" fmla="*/ 180 h 180"/>
                <a:gd name="T26" fmla="*/ 379 w 389"/>
                <a:gd name="T27" fmla="*/ 165 h 180"/>
                <a:gd name="T28" fmla="*/ 379 w 389"/>
                <a:gd name="T29" fmla="*/ 165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9" h="180">
                  <a:moveTo>
                    <a:pt x="379" y="165"/>
                  </a:moveTo>
                  <a:lnTo>
                    <a:pt x="379" y="165"/>
                  </a:lnTo>
                  <a:lnTo>
                    <a:pt x="380" y="161"/>
                  </a:lnTo>
                  <a:lnTo>
                    <a:pt x="380" y="161"/>
                  </a:lnTo>
                  <a:lnTo>
                    <a:pt x="383" y="148"/>
                  </a:lnTo>
                  <a:lnTo>
                    <a:pt x="383" y="148"/>
                  </a:lnTo>
                  <a:lnTo>
                    <a:pt x="389" y="133"/>
                  </a:lnTo>
                  <a:lnTo>
                    <a:pt x="20" y="0"/>
                  </a:lnTo>
                  <a:lnTo>
                    <a:pt x="20" y="0"/>
                  </a:lnTo>
                  <a:lnTo>
                    <a:pt x="11" y="29"/>
                  </a:lnTo>
                  <a:lnTo>
                    <a:pt x="0" y="58"/>
                  </a:lnTo>
                  <a:lnTo>
                    <a:pt x="341" y="180"/>
                  </a:lnTo>
                  <a:lnTo>
                    <a:pt x="341" y="180"/>
                  </a:lnTo>
                  <a:lnTo>
                    <a:pt x="379" y="165"/>
                  </a:lnTo>
                  <a:lnTo>
                    <a:pt x="379" y="16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55" name="Freeform 100"/>
            <p:cNvSpPr>
              <a:spLocks noEditPoints="1"/>
            </p:cNvSpPr>
            <p:nvPr/>
          </p:nvSpPr>
          <p:spPr bwMode="auto">
            <a:xfrm>
              <a:off x="7604126" y="3284538"/>
              <a:ext cx="368300" cy="369888"/>
            </a:xfrm>
            <a:custGeom>
              <a:avLst/>
              <a:gdLst>
                <a:gd name="T0" fmla="*/ 256 w 465"/>
                <a:gd name="T1" fmla="*/ 465 h 466"/>
                <a:gd name="T2" fmla="*/ 323 w 465"/>
                <a:gd name="T3" fmla="*/ 448 h 466"/>
                <a:gd name="T4" fmla="*/ 381 w 465"/>
                <a:gd name="T5" fmla="*/ 413 h 466"/>
                <a:gd name="T6" fmla="*/ 425 w 465"/>
                <a:gd name="T7" fmla="*/ 365 h 466"/>
                <a:gd name="T8" fmla="*/ 454 w 465"/>
                <a:gd name="T9" fmla="*/ 302 h 466"/>
                <a:gd name="T10" fmla="*/ 465 w 465"/>
                <a:gd name="T11" fmla="*/ 234 h 466"/>
                <a:gd name="T12" fmla="*/ 460 w 465"/>
                <a:gd name="T13" fmla="*/ 187 h 466"/>
                <a:gd name="T14" fmla="*/ 437 w 465"/>
                <a:gd name="T15" fmla="*/ 123 h 466"/>
                <a:gd name="T16" fmla="*/ 396 w 465"/>
                <a:gd name="T17" fmla="*/ 68 h 466"/>
                <a:gd name="T18" fmla="*/ 343 w 465"/>
                <a:gd name="T19" fmla="*/ 29 h 466"/>
                <a:gd name="T20" fmla="*/ 279 w 465"/>
                <a:gd name="T21" fmla="*/ 6 h 466"/>
                <a:gd name="T22" fmla="*/ 232 w 465"/>
                <a:gd name="T23" fmla="*/ 0 h 466"/>
                <a:gd name="T24" fmla="*/ 162 w 465"/>
                <a:gd name="T25" fmla="*/ 11 h 466"/>
                <a:gd name="T26" fmla="*/ 101 w 465"/>
                <a:gd name="T27" fmla="*/ 41 h 466"/>
                <a:gd name="T28" fmla="*/ 53 w 465"/>
                <a:gd name="T29" fmla="*/ 85 h 466"/>
                <a:gd name="T30" fmla="*/ 18 w 465"/>
                <a:gd name="T31" fmla="*/ 143 h 466"/>
                <a:gd name="T32" fmla="*/ 0 w 465"/>
                <a:gd name="T33" fmla="*/ 210 h 466"/>
                <a:gd name="T34" fmla="*/ 0 w 465"/>
                <a:gd name="T35" fmla="*/ 258 h 466"/>
                <a:gd name="T36" fmla="*/ 18 w 465"/>
                <a:gd name="T37" fmla="*/ 325 h 466"/>
                <a:gd name="T38" fmla="*/ 53 w 465"/>
                <a:gd name="T39" fmla="*/ 381 h 466"/>
                <a:gd name="T40" fmla="*/ 101 w 465"/>
                <a:gd name="T41" fmla="*/ 427 h 466"/>
                <a:gd name="T42" fmla="*/ 162 w 465"/>
                <a:gd name="T43" fmla="*/ 456 h 466"/>
                <a:gd name="T44" fmla="*/ 232 w 465"/>
                <a:gd name="T45" fmla="*/ 466 h 466"/>
                <a:gd name="T46" fmla="*/ 232 w 465"/>
                <a:gd name="T47" fmla="*/ 122 h 466"/>
                <a:gd name="T48" fmla="*/ 265 w 465"/>
                <a:gd name="T49" fmla="*/ 128 h 466"/>
                <a:gd name="T50" fmla="*/ 294 w 465"/>
                <a:gd name="T51" fmla="*/ 141 h 466"/>
                <a:gd name="T52" fmla="*/ 319 w 465"/>
                <a:gd name="T53" fmla="*/ 163 h 466"/>
                <a:gd name="T54" fmla="*/ 335 w 465"/>
                <a:gd name="T55" fmla="*/ 190 h 466"/>
                <a:gd name="T56" fmla="*/ 343 w 465"/>
                <a:gd name="T57" fmla="*/ 222 h 466"/>
                <a:gd name="T58" fmla="*/ 343 w 465"/>
                <a:gd name="T59" fmla="*/ 245 h 466"/>
                <a:gd name="T60" fmla="*/ 335 w 465"/>
                <a:gd name="T61" fmla="*/ 277 h 466"/>
                <a:gd name="T62" fmla="*/ 319 w 465"/>
                <a:gd name="T63" fmla="*/ 305 h 466"/>
                <a:gd name="T64" fmla="*/ 294 w 465"/>
                <a:gd name="T65" fmla="*/ 327 h 466"/>
                <a:gd name="T66" fmla="*/ 265 w 465"/>
                <a:gd name="T67" fmla="*/ 340 h 466"/>
                <a:gd name="T68" fmla="*/ 232 w 465"/>
                <a:gd name="T69" fmla="*/ 345 h 466"/>
                <a:gd name="T70" fmla="*/ 209 w 465"/>
                <a:gd name="T71" fmla="*/ 343 h 466"/>
                <a:gd name="T72" fmla="*/ 179 w 465"/>
                <a:gd name="T73" fmla="*/ 331 h 466"/>
                <a:gd name="T74" fmla="*/ 153 w 465"/>
                <a:gd name="T75" fmla="*/ 313 h 466"/>
                <a:gd name="T76" fmla="*/ 135 w 465"/>
                <a:gd name="T77" fmla="*/ 287 h 466"/>
                <a:gd name="T78" fmla="*/ 123 w 465"/>
                <a:gd name="T79" fmla="*/ 257 h 466"/>
                <a:gd name="T80" fmla="*/ 121 w 465"/>
                <a:gd name="T81" fmla="*/ 234 h 466"/>
                <a:gd name="T82" fmla="*/ 126 w 465"/>
                <a:gd name="T83" fmla="*/ 201 h 466"/>
                <a:gd name="T84" fmla="*/ 139 w 465"/>
                <a:gd name="T85" fmla="*/ 172 h 466"/>
                <a:gd name="T86" fmla="*/ 161 w 465"/>
                <a:gd name="T87" fmla="*/ 147 h 466"/>
                <a:gd name="T88" fmla="*/ 188 w 465"/>
                <a:gd name="T89" fmla="*/ 131 h 466"/>
                <a:gd name="T90" fmla="*/ 221 w 465"/>
                <a:gd name="T91" fmla="*/ 12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5" h="466">
                  <a:moveTo>
                    <a:pt x="232" y="466"/>
                  </a:moveTo>
                  <a:lnTo>
                    <a:pt x="232" y="466"/>
                  </a:lnTo>
                  <a:lnTo>
                    <a:pt x="256" y="465"/>
                  </a:lnTo>
                  <a:lnTo>
                    <a:pt x="279" y="462"/>
                  </a:lnTo>
                  <a:lnTo>
                    <a:pt x="302" y="456"/>
                  </a:lnTo>
                  <a:lnTo>
                    <a:pt x="323" y="448"/>
                  </a:lnTo>
                  <a:lnTo>
                    <a:pt x="343" y="439"/>
                  </a:lnTo>
                  <a:lnTo>
                    <a:pt x="363" y="427"/>
                  </a:lnTo>
                  <a:lnTo>
                    <a:pt x="381" y="413"/>
                  </a:lnTo>
                  <a:lnTo>
                    <a:pt x="396" y="398"/>
                  </a:lnTo>
                  <a:lnTo>
                    <a:pt x="411" y="381"/>
                  </a:lnTo>
                  <a:lnTo>
                    <a:pt x="425" y="365"/>
                  </a:lnTo>
                  <a:lnTo>
                    <a:pt x="437" y="345"/>
                  </a:lnTo>
                  <a:lnTo>
                    <a:pt x="446" y="325"/>
                  </a:lnTo>
                  <a:lnTo>
                    <a:pt x="454" y="302"/>
                  </a:lnTo>
                  <a:lnTo>
                    <a:pt x="460" y="281"/>
                  </a:lnTo>
                  <a:lnTo>
                    <a:pt x="465" y="258"/>
                  </a:lnTo>
                  <a:lnTo>
                    <a:pt x="465" y="234"/>
                  </a:lnTo>
                  <a:lnTo>
                    <a:pt x="465" y="234"/>
                  </a:lnTo>
                  <a:lnTo>
                    <a:pt x="465" y="210"/>
                  </a:lnTo>
                  <a:lnTo>
                    <a:pt x="460" y="187"/>
                  </a:lnTo>
                  <a:lnTo>
                    <a:pt x="454" y="164"/>
                  </a:lnTo>
                  <a:lnTo>
                    <a:pt x="446" y="143"/>
                  </a:lnTo>
                  <a:lnTo>
                    <a:pt x="437" y="123"/>
                  </a:lnTo>
                  <a:lnTo>
                    <a:pt x="425" y="103"/>
                  </a:lnTo>
                  <a:lnTo>
                    <a:pt x="411" y="85"/>
                  </a:lnTo>
                  <a:lnTo>
                    <a:pt x="396" y="68"/>
                  </a:lnTo>
                  <a:lnTo>
                    <a:pt x="381" y="55"/>
                  </a:lnTo>
                  <a:lnTo>
                    <a:pt x="363" y="41"/>
                  </a:lnTo>
                  <a:lnTo>
                    <a:pt x="343" y="29"/>
                  </a:lnTo>
                  <a:lnTo>
                    <a:pt x="323" y="20"/>
                  </a:lnTo>
                  <a:lnTo>
                    <a:pt x="302" y="11"/>
                  </a:lnTo>
                  <a:lnTo>
                    <a:pt x="279" y="6"/>
                  </a:lnTo>
                  <a:lnTo>
                    <a:pt x="256" y="2"/>
                  </a:lnTo>
                  <a:lnTo>
                    <a:pt x="232" y="0"/>
                  </a:lnTo>
                  <a:lnTo>
                    <a:pt x="232" y="0"/>
                  </a:lnTo>
                  <a:lnTo>
                    <a:pt x="208" y="2"/>
                  </a:lnTo>
                  <a:lnTo>
                    <a:pt x="185" y="6"/>
                  </a:lnTo>
                  <a:lnTo>
                    <a:pt x="162" y="11"/>
                  </a:lnTo>
                  <a:lnTo>
                    <a:pt x="141" y="20"/>
                  </a:lnTo>
                  <a:lnTo>
                    <a:pt x="121" y="29"/>
                  </a:lnTo>
                  <a:lnTo>
                    <a:pt x="101" y="41"/>
                  </a:lnTo>
                  <a:lnTo>
                    <a:pt x="85" y="55"/>
                  </a:lnTo>
                  <a:lnTo>
                    <a:pt x="68" y="68"/>
                  </a:lnTo>
                  <a:lnTo>
                    <a:pt x="53" y="85"/>
                  </a:lnTo>
                  <a:lnTo>
                    <a:pt x="39" y="103"/>
                  </a:lnTo>
                  <a:lnTo>
                    <a:pt x="27" y="123"/>
                  </a:lnTo>
                  <a:lnTo>
                    <a:pt x="18" y="143"/>
                  </a:lnTo>
                  <a:lnTo>
                    <a:pt x="10" y="164"/>
                  </a:lnTo>
                  <a:lnTo>
                    <a:pt x="4" y="187"/>
                  </a:lnTo>
                  <a:lnTo>
                    <a:pt x="0" y="210"/>
                  </a:lnTo>
                  <a:lnTo>
                    <a:pt x="0" y="234"/>
                  </a:lnTo>
                  <a:lnTo>
                    <a:pt x="0" y="234"/>
                  </a:lnTo>
                  <a:lnTo>
                    <a:pt x="0" y="258"/>
                  </a:lnTo>
                  <a:lnTo>
                    <a:pt x="4" y="281"/>
                  </a:lnTo>
                  <a:lnTo>
                    <a:pt x="10" y="302"/>
                  </a:lnTo>
                  <a:lnTo>
                    <a:pt x="18" y="325"/>
                  </a:lnTo>
                  <a:lnTo>
                    <a:pt x="27" y="345"/>
                  </a:lnTo>
                  <a:lnTo>
                    <a:pt x="39" y="365"/>
                  </a:lnTo>
                  <a:lnTo>
                    <a:pt x="53" y="381"/>
                  </a:lnTo>
                  <a:lnTo>
                    <a:pt x="68" y="398"/>
                  </a:lnTo>
                  <a:lnTo>
                    <a:pt x="85" y="413"/>
                  </a:lnTo>
                  <a:lnTo>
                    <a:pt x="101" y="427"/>
                  </a:lnTo>
                  <a:lnTo>
                    <a:pt x="121" y="439"/>
                  </a:lnTo>
                  <a:lnTo>
                    <a:pt x="141" y="448"/>
                  </a:lnTo>
                  <a:lnTo>
                    <a:pt x="162" y="456"/>
                  </a:lnTo>
                  <a:lnTo>
                    <a:pt x="185" y="462"/>
                  </a:lnTo>
                  <a:lnTo>
                    <a:pt x="208" y="465"/>
                  </a:lnTo>
                  <a:lnTo>
                    <a:pt x="232" y="466"/>
                  </a:lnTo>
                  <a:lnTo>
                    <a:pt x="232" y="466"/>
                  </a:lnTo>
                  <a:close/>
                  <a:moveTo>
                    <a:pt x="232" y="122"/>
                  </a:moveTo>
                  <a:lnTo>
                    <a:pt x="232" y="122"/>
                  </a:lnTo>
                  <a:lnTo>
                    <a:pt x="244" y="123"/>
                  </a:lnTo>
                  <a:lnTo>
                    <a:pt x="255" y="125"/>
                  </a:lnTo>
                  <a:lnTo>
                    <a:pt x="265" y="128"/>
                  </a:lnTo>
                  <a:lnTo>
                    <a:pt x="276" y="131"/>
                  </a:lnTo>
                  <a:lnTo>
                    <a:pt x="285" y="135"/>
                  </a:lnTo>
                  <a:lnTo>
                    <a:pt x="294" y="141"/>
                  </a:lnTo>
                  <a:lnTo>
                    <a:pt x="303" y="147"/>
                  </a:lnTo>
                  <a:lnTo>
                    <a:pt x="311" y="155"/>
                  </a:lnTo>
                  <a:lnTo>
                    <a:pt x="319" y="163"/>
                  </a:lnTo>
                  <a:lnTo>
                    <a:pt x="325" y="172"/>
                  </a:lnTo>
                  <a:lnTo>
                    <a:pt x="331" y="181"/>
                  </a:lnTo>
                  <a:lnTo>
                    <a:pt x="335" y="190"/>
                  </a:lnTo>
                  <a:lnTo>
                    <a:pt x="338" y="201"/>
                  </a:lnTo>
                  <a:lnTo>
                    <a:pt x="341" y="211"/>
                  </a:lnTo>
                  <a:lnTo>
                    <a:pt x="343" y="222"/>
                  </a:lnTo>
                  <a:lnTo>
                    <a:pt x="343" y="234"/>
                  </a:lnTo>
                  <a:lnTo>
                    <a:pt x="343" y="234"/>
                  </a:lnTo>
                  <a:lnTo>
                    <a:pt x="343" y="245"/>
                  </a:lnTo>
                  <a:lnTo>
                    <a:pt x="341" y="257"/>
                  </a:lnTo>
                  <a:lnTo>
                    <a:pt x="338" y="267"/>
                  </a:lnTo>
                  <a:lnTo>
                    <a:pt x="335" y="277"/>
                  </a:lnTo>
                  <a:lnTo>
                    <a:pt x="331" y="287"/>
                  </a:lnTo>
                  <a:lnTo>
                    <a:pt x="325" y="296"/>
                  </a:lnTo>
                  <a:lnTo>
                    <a:pt x="319" y="305"/>
                  </a:lnTo>
                  <a:lnTo>
                    <a:pt x="311" y="313"/>
                  </a:lnTo>
                  <a:lnTo>
                    <a:pt x="303" y="319"/>
                  </a:lnTo>
                  <a:lnTo>
                    <a:pt x="294" y="327"/>
                  </a:lnTo>
                  <a:lnTo>
                    <a:pt x="285" y="331"/>
                  </a:lnTo>
                  <a:lnTo>
                    <a:pt x="276" y="336"/>
                  </a:lnTo>
                  <a:lnTo>
                    <a:pt x="265" y="340"/>
                  </a:lnTo>
                  <a:lnTo>
                    <a:pt x="255" y="343"/>
                  </a:lnTo>
                  <a:lnTo>
                    <a:pt x="244" y="345"/>
                  </a:lnTo>
                  <a:lnTo>
                    <a:pt x="232" y="345"/>
                  </a:lnTo>
                  <a:lnTo>
                    <a:pt x="232" y="345"/>
                  </a:lnTo>
                  <a:lnTo>
                    <a:pt x="221" y="345"/>
                  </a:lnTo>
                  <a:lnTo>
                    <a:pt x="209" y="343"/>
                  </a:lnTo>
                  <a:lnTo>
                    <a:pt x="199" y="340"/>
                  </a:lnTo>
                  <a:lnTo>
                    <a:pt x="188" y="336"/>
                  </a:lnTo>
                  <a:lnTo>
                    <a:pt x="179" y="331"/>
                  </a:lnTo>
                  <a:lnTo>
                    <a:pt x="170" y="327"/>
                  </a:lnTo>
                  <a:lnTo>
                    <a:pt x="161" y="319"/>
                  </a:lnTo>
                  <a:lnTo>
                    <a:pt x="153" y="313"/>
                  </a:lnTo>
                  <a:lnTo>
                    <a:pt x="145" y="305"/>
                  </a:lnTo>
                  <a:lnTo>
                    <a:pt x="139" y="296"/>
                  </a:lnTo>
                  <a:lnTo>
                    <a:pt x="135" y="287"/>
                  </a:lnTo>
                  <a:lnTo>
                    <a:pt x="129" y="277"/>
                  </a:lnTo>
                  <a:lnTo>
                    <a:pt x="126" y="267"/>
                  </a:lnTo>
                  <a:lnTo>
                    <a:pt x="123" y="257"/>
                  </a:lnTo>
                  <a:lnTo>
                    <a:pt x="121" y="245"/>
                  </a:lnTo>
                  <a:lnTo>
                    <a:pt x="121" y="234"/>
                  </a:lnTo>
                  <a:lnTo>
                    <a:pt x="121" y="234"/>
                  </a:lnTo>
                  <a:lnTo>
                    <a:pt x="121" y="222"/>
                  </a:lnTo>
                  <a:lnTo>
                    <a:pt x="123" y="211"/>
                  </a:lnTo>
                  <a:lnTo>
                    <a:pt x="126" y="201"/>
                  </a:lnTo>
                  <a:lnTo>
                    <a:pt x="129" y="190"/>
                  </a:lnTo>
                  <a:lnTo>
                    <a:pt x="135" y="181"/>
                  </a:lnTo>
                  <a:lnTo>
                    <a:pt x="139" y="172"/>
                  </a:lnTo>
                  <a:lnTo>
                    <a:pt x="145" y="163"/>
                  </a:lnTo>
                  <a:lnTo>
                    <a:pt x="153" y="155"/>
                  </a:lnTo>
                  <a:lnTo>
                    <a:pt x="161" y="147"/>
                  </a:lnTo>
                  <a:lnTo>
                    <a:pt x="170" y="141"/>
                  </a:lnTo>
                  <a:lnTo>
                    <a:pt x="179" y="135"/>
                  </a:lnTo>
                  <a:lnTo>
                    <a:pt x="188" y="131"/>
                  </a:lnTo>
                  <a:lnTo>
                    <a:pt x="199" y="128"/>
                  </a:lnTo>
                  <a:lnTo>
                    <a:pt x="209" y="125"/>
                  </a:lnTo>
                  <a:lnTo>
                    <a:pt x="221" y="123"/>
                  </a:lnTo>
                  <a:lnTo>
                    <a:pt x="232" y="122"/>
                  </a:lnTo>
                  <a:lnTo>
                    <a:pt x="232" y="1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59" name="Freeform 101"/>
            <p:cNvSpPr>
              <a:spLocks noEditPoints="1"/>
            </p:cNvSpPr>
            <p:nvPr/>
          </p:nvSpPr>
          <p:spPr bwMode="auto">
            <a:xfrm>
              <a:off x="8177213" y="3749676"/>
              <a:ext cx="371475" cy="369888"/>
            </a:xfrm>
            <a:custGeom>
              <a:avLst/>
              <a:gdLst>
                <a:gd name="T0" fmla="*/ 257 w 466"/>
                <a:gd name="T1" fmla="*/ 464 h 466"/>
                <a:gd name="T2" fmla="*/ 323 w 466"/>
                <a:gd name="T3" fmla="*/ 448 h 466"/>
                <a:gd name="T4" fmla="*/ 381 w 466"/>
                <a:gd name="T5" fmla="*/ 413 h 466"/>
                <a:gd name="T6" fmla="*/ 425 w 466"/>
                <a:gd name="T7" fmla="*/ 363 h 466"/>
                <a:gd name="T8" fmla="*/ 456 w 466"/>
                <a:gd name="T9" fmla="*/ 302 h 466"/>
                <a:gd name="T10" fmla="*/ 466 w 466"/>
                <a:gd name="T11" fmla="*/ 232 h 466"/>
                <a:gd name="T12" fmla="*/ 462 w 466"/>
                <a:gd name="T13" fmla="*/ 186 h 466"/>
                <a:gd name="T14" fmla="*/ 437 w 466"/>
                <a:gd name="T15" fmla="*/ 121 h 466"/>
                <a:gd name="T16" fmla="*/ 398 w 466"/>
                <a:gd name="T17" fmla="*/ 68 h 466"/>
                <a:gd name="T18" fmla="*/ 343 w 466"/>
                <a:gd name="T19" fmla="*/ 28 h 466"/>
                <a:gd name="T20" fmla="*/ 279 w 466"/>
                <a:gd name="T21" fmla="*/ 4 h 466"/>
                <a:gd name="T22" fmla="*/ 232 w 466"/>
                <a:gd name="T23" fmla="*/ 0 h 466"/>
                <a:gd name="T24" fmla="*/ 164 w 466"/>
                <a:gd name="T25" fmla="*/ 10 h 466"/>
                <a:gd name="T26" fmla="*/ 103 w 466"/>
                <a:gd name="T27" fmla="*/ 39 h 466"/>
                <a:gd name="T28" fmla="*/ 53 w 466"/>
                <a:gd name="T29" fmla="*/ 85 h 466"/>
                <a:gd name="T30" fmla="*/ 18 w 466"/>
                <a:gd name="T31" fmla="*/ 142 h 466"/>
                <a:gd name="T32" fmla="*/ 1 w 466"/>
                <a:gd name="T33" fmla="*/ 209 h 466"/>
                <a:gd name="T34" fmla="*/ 1 w 466"/>
                <a:gd name="T35" fmla="*/ 256 h 466"/>
                <a:gd name="T36" fmla="*/ 18 w 466"/>
                <a:gd name="T37" fmla="*/ 323 h 466"/>
                <a:gd name="T38" fmla="*/ 53 w 466"/>
                <a:gd name="T39" fmla="*/ 381 h 466"/>
                <a:gd name="T40" fmla="*/ 103 w 466"/>
                <a:gd name="T41" fmla="*/ 426 h 466"/>
                <a:gd name="T42" fmla="*/ 164 w 466"/>
                <a:gd name="T43" fmla="*/ 455 h 466"/>
                <a:gd name="T44" fmla="*/ 232 w 466"/>
                <a:gd name="T45" fmla="*/ 466 h 466"/>
                <a:gd name="T46" fmla="*/ 232 w 466"/>
                <a:gd name="T47" fmla="*/ 121 h 466"/>
                <a:gd name="T48" fmla="*/ 266 w 466"/>
                <a:gd name="T49" fmla="*/ 126 h 466"/>
                <a:gd name="T50" fmla="*/ 295 w 466"/>
                <a:gd name="T51" fmla="*/ 141 h 466"/>
                <a:gd name="T52" fmla="*/ 319 w 466"/>
                <a:gd name="T53" fmla="*/ 162 h 466"/>
                <a:gd name="T54" fmla="*/ 336 w 466"/>
                <a:gd name="T55" fmla="*/ 189 h 466"/>
                <a:gd name="T56" fmla="*/ 343 w 466"/>
                <a:gd name="T57" fmla="*/ 221 h 466"/>
                <a:gd name="T58" fmla="*/ 343 w 466"/>
                <a:gd name="T59" fmla="*/ 244 h 466"/>
                <a:gd name="T60" fmla="*/ 336 w 466"/>
                <a:gd name="T61" fmla="*/ 276 h 466"/>
                <a:gd name="T62" fmla="*/ 319 w 466"/>
                <a:gd name="T63" fmla="*/ 303 h 466"/>
                <a:gd name="T64" fmla="*/ 295 w 466"/>
                <a:gd name="T65" fmla="*/ 325 h 466"/>
                <a:gd name="T66" fmla="*/ 266 w 466"/>
                <a:gd name="T67" fmla="*/ 338 h 466"/>
                <a:gd name="T68" fmla="*/ 232 w 466"/>
                <a:gd name="T69" fmla="*/ 344 h 466"/>
                <a:gd name="T70" fmla="*/ 210 w 466"/>
                <a:gd name="T71" fmla="*/ 341 h 466"/>
                <a:gd name="T72" fmla="*/ 179 w 466"/>
                <a:gd name="T73" fmla="*/ 331 h 466"/>
                <a:gd name="T74" fmla="*/ 153 w 466"/>
                <a:gd name="T75" fmla="*/ 311 h 466"/>
                <a:gd name="T76" fmla="*/ 135 w 466"/>
                <a:gd name="T77" fmla="*/ 285 h 466"/>
                <a:gd name="T78" fmla="*/ 123 w 466"/>
                <a:gd name="T79" fmla="*/ 255 h 466"/>
                <a:gd name="T80" fmla="*/ 121 w 466"/>
                <a:gd name="T81" fmla="*/ 232 h 466"/>
                <a:gd name="T82" fmla="*/ 126 w 466"/>
                <a:gd name="T83" fmla="*/ 200 h 466"/>
                <a:gd name="T84" fmla="*/ 140 w 466"/>
                <a:gd name="T85" fmla="*/ 170 h 466"/>
                <a:gd name="T86" fmla="*/ 162 w 466"/>
                <a:gd name="T87" fmla="*/ 147 h 466"/>
                <a:gd name="T88" fmla="*/ 190 w 466"/>
                <a:gd name="T89" fmla="*/ 130 h 466"/>
                <a:gd name="T90" fmla="*/ 222 w 466"/>
                <a:gd name="T91" fmla="*/ 121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466">
                  <a:moveTo>
                    <a:pt x="232" y="466"/>
                  </a:moveTo>
                  <a:lnTo>
                    <a:pt x="232" y="466"/>
                  </a:lnTo>
                  <a:lnTo>
                    <a:pt x="257" y="464"/>
                  </a:lnTo>
                  <a:lnTo>
                    <a:pt x="279" y="461"/>
                  </a:lnTo>
                  <a:lnTo>
                    <a:pt x="302" y="455"/>
                  </a:lnTo>
                  <a:lnTo>
                    <a:pt x="323" y="448"/>
                  </a:lnTo>
                  <a:lnTo>
                    <a:pt x="343" y="437"/>
                  </a:lnTo>
                  <a:lnTo>
                    <a:pt x="363" y="426"/>
                  </a:lnTo>
                  <a:lnTo>
                    <a:pt x="381" y="413"/>
                  </a:lnTo>
                  <a:lnTo>
                    <a:pt x="398" y="398"/>
                  </a:lnTo>
                  <a:lnTo>
                    <a:pt x="413" y="381"/>
                  </a:lnTo>
                  <a:lnTo>
                    <a:pt x="425" y="363"/>
                  </a:lnTo>
                  <a:lnTo>
                    <a:pt x="437" y="343"/>
                  </a:lnTo>
                  <a:lnTo>
                    <a:pt x="448" y="323"/>
                  </a:lnTo>
                  <a:lnTo>
                    <a:pt x="456" y="302"/>
                  </a:lnTo>
                  <a:lnTo>
                    <a:pt x="462" y="279"/>
                  </a:lnTo>
                  <a:lnTo>
                    <a:pt x="465" y="256"/>
                  </a:lnTo>
                  <a:lnTo>
                    <a:pt x="466" y="232"/>
                  </a:lnTo>
                  <a:lnTo>
                    <a:pt x="466" y="232"/>
                  </a:lnTo>
                  <a:lnTo>
                    <a:pt x="465" y="209"/>
                  </a:lnTo>
                  <a:lnTo>
                    <a:pt x="462" y="186"/>
                  </a:lnTo>
                  <a:lnTo>
                    <a:pt x="456" y="164"/>
                  </a:lnTo>
                  <a:lnTo>
                    <a:pt x="448" y="142"/>
                  </a:lnTo>
                  <a:lnTo>
                    <a:pt x="437" y="121"/>
                  </a:lnTo>
                  <a:lnTo>
                    <a:pt x="425" y="103"/>
                  </a:lnTo>
                  <a:lnTo>
                    <a:pt x="413" y="85"/>
                  </a:lnTo>
                  <a:lnTo>
                    <a:pt x="398" y="68"/>
                  </a:lnTo>
                  <a:lnTo>
                    <a:pt x="381" y="53"/>
                  </a:lnTo>
                  <a:lnTo>
                    <a:pt x="363" y="39"/>
                  </a:lnTo>
                  <a:lnTo>
                    <a:pt x="343" y="28"/>
                  </a:lnTo>
                  <a:lnTo>
                    <a:pt x="323" y="18"/>
                  </a:lnTo>
                  <a:lnTo>
                    <a:pt x="302" y="10"/>
                  </a:lnTo>
                  <a:lnTo>
                    <a:pt x="279" y="4"/>
                  </a:lnTo>
                  <a:lnTo>
                    <a:pt x="257" y="1"/>
                  </a:lnTo>
                  <a:lnTo>
                    <a:pt x="232" y="0"/>
                  </a:lnTo>
                  <a:lnTo>
                    <a:pt x="232" y="0"/>
                  </a:lnTo>
                  <a:lnTo>
                    <a:pt x="210" y="1"/>
                  </a:lnTo>
                  <a:lnTo>
                    <a:pt x="185" y="4"/>
                  </a:lnTo>
                  <a:lnTo>
                    <a:pt x="164" y="10"/>
                  </a:lnTo>
                  <a:lnTo>
                    <a:pt x="143" y="18"/>
                  </a:lnTo>
                  <a:lnTo>
                    <a:pt x="121" y="28"/>
                  </a:lnTo>
                  <a:lnTo>
                    <a:pt x="103" y="39"/>
                  </a:lnTo>
                  <a:lnTo>
                    <a:pt x="85" y="53"/>
                  </a:lnTo>
                  <a:lnTo>
                    <a:pt x="68" y="68"/>
                  </a:lnTo>
                  <a:lnTo>
                    <a:pt x="53" y="85"/>
                  </a:lnTo>
                  <a:lnTo>
                    <a:pt x="39" y="103"/>
                  </a:lnTo>
                  <a:lnTo>
                    <a:pt x="27" y="121"/>
                  </a:lnTo>
                  <a:lnTo>
                    <a:pt x="18" y="142"/>
                  </a:lnTo>
                  <a:lnTo>
                    <a:pt x="10" y="164"/>
                  </a:lnTo>
                  <a:lnTo>
                    <a:pt x="4" y="186"/>
                  </a:lnTo>
                  <a:lnTo>
                    <a:pt x="1" y="209"/>
                  </a:lnTo>
                  <a:lnTo>
                    <a:pt x="0" y="232"/>
                  </a:lnTo>
                  <a:lnTo>
                    <a:pt x="0" y="232"/>
                  </a:lnTo>
                  <a:lnTo>
                    <a:pt x="1" y="256"/>
                  </a:lnTo>
                  <a:lnTo>
                    <a:pt x="4" y="279"/>
                  </a:lnTo>
                  <a:lnTo>
                    <a:pt x="10" y="302"/>
                  </a:lnTo>
                  <a:lnTo>
                    <a:pt x="18" y="323"/>
                  </a:lnTo>
                  <a:lnTo>
                    <a:pt x="27" y="343"/>
                  </a:lnTo>
                  <a:lnTo>
                    <a:pt x="39" y="363"/>
                  </a:lnTo>
                  <a:lnTo>
                    <a:pt x="53" y="381"/>
                  </a:lnTo>
                  <a:lnTo>
                    <a:pt x="68" y="398"/>
                  </a:lnTo>
                  <a:lnTo>
                    <a:pt x="85" y="413"/>
                  </a:lnTo>
                  <a:lnTo>
                    <a:pt x="103" y="426"/>
                  </a:lnTo>
                  <a:lnTo>
                    <a:pt x="121" y="437"/>
                  </a:lnTo>
                  <a:lnTo>
                    <a:pt x="143" y="448"/>
                  </a:lnTo>
                  <a:lnTo>
                    <a:pt x="164" y="455"/>
                  </a:lnTo>
                  <a:lnTo>
                    <a:pt x="185" y="461"/>
                  </a:lnTo>
                  <a:lnTo>
                    <a:pt x="210" y="464"/>
                  </a:lnTo>
                  <a:lnTo>
                    <a:pt x="232" y="466"/>
                  </a:lnTo>
                  <a:lnTo>
                    <a:pt x="232" y="466"/>
                  </a:lnTo>
                  <a:close/>
                  <a:moveTo>
                    <a:pt x="232" y="121"/>
                  </a:moveTo>
                  <a:lnTo>
                    <a:pt x="232" y="121"/>
                  </a:lnTo>
                  <a:lnTo>
                    <a:pt x="244" y="121"/>
                  </a:lnTo>
                  <a:lnTo>
                    <a:pt x="255" y="123"/>
                  </a:lnTo>
                  <a:lnTo>
                    <a:pt x="266" y="126"/>
                  </a:lnTo>
                  <a:lnTo>
                    <a:pt x="276" y="130"/>
                  </a:lnTo>
                  <a:lnTo>
                    <a:pt x="285" y="135"/>
                  </a:lnTo>
                  <a:lnTo>
                    <a:pt x="295" y="141"/>
                  </a:lnTo>
                  <a:lnTo>
                    <a:pt x="304" y="147"/>
                  </a:lnTo>
                  <a:lnTo>
                    <a:pt x="311" y="154"/>
                  </a:lnTo>
                  <a:lnTo>
                    <a:pt x="319" y="162"/>
                  </a:lnTo>
                  <a:lnTo>
                    <a:pt x="325" y="170"/>
                  </a:lnTo>
                  <a:lnTo>
                    <a:pt x="331" y="179"/>
                  </a:lnTo>
                  <a:lnTo>
                    <a:pt x="336" y="189"/>
                  </a:lnTo>
                  <a:lnTo>
                    <a:pt x="339" y="200"/>
                  </a:lnTo>
                  <a:lnTo>
                    <a:pt x="342" y="211"/>
                  </a:lnTo>
                  <a:lnTo>
                    <a:pt x="343" y="221"/>
                  </a:lnTo>
                  <a:lnTo>
                    <a:pt x="345" y="232"/>
                  </a:lnTo>
                  <a:lnTo>
                    <a:pt x="345" y="232"/>
                  </a:lnTo>
                  <a:lnTo>
                    <a:pt x="343" y="244"/>
                  </a:lnTo>
                  <a:lnTo>
                    <a:pt x="342" y="255"/>
                  </a:lnTo>
                  <a:lnTo>
                    <a:pt x="339" y="265"/>
                  </a:lnTo>
                  <a:lnTo>
                    <a:pt x="336" y="276"/>
                  </a:lnTo>
                  <a:lnTo>
                    <a:pt x="331" y="285"/>
                  </a:lnTo>
                  <a:lnTo>
                    <a:pt x="325" y="294"/>
                  </a:lnTo>
                  <a:lnTo>
                    <a:pt x="319" y="303"/>
                  </a:lnTo>
                  <a:lnTo>
                    <a:pt x="311" y="311"/>
                  </a:lnTo>
                  <a:lnTo>
                    <a:pt x="304" y="319"/>
                  </a:lnTo>
                  <a:lnTo>
                    <a:pt x="295" y="325"/>
                  </a:lnTo>
                  <a:lnTo>
                    <a:pt x="285" y="331"/>
                  </a:lnTo>
                  <a:lnTo>
                    <a:pt x="276" y="335"/>
                  </a:lnTo>
                  <a:lnTo>
                    <a:pt x="266" y="338"/>
                  </a:lnTo>
                  <a:lnTo>
                    <a:pt x="255" y="341"/>
                  </a:lnTo>
                  <a:lnTo>
                    <a:pt x="244" y="343"/>
                  </a:lnTo>
                  <a:lnTo>
                    <a:pt x="232" y="344"/>
                  </a:lnTo>
                  <a:lnTo>
                    <a:pt x="232" y="344"/>
                  </a:lnTo>
                  <a:lnTo>
                    <a:pt x="222" y="343"/>
                  </a:lnTo>
                  <a:lnTo>
                    <a:pt x="210" y="341"/>
                  </a:lnTo>
                  <a:lnTo>
                    <a:pt x="199" y="338"/>
                  </a:lnTo>
                  <a:lnTo>
                    <a:pt x="190" y="335"/>
                  </a:lnTo>
                  <a:lnTo>
                    <a:pt x="179" y="331"/>
                  </a:lnTo>
                  <a:lnTo>
                    <a:pt x="170" y="325"/>
                  </a:lnTo>
                  <a:lnTo>
                    <a:pt x="162" y="319"/>
                  </a:lnTo>
                  <a:lnTo>
                    <a:pt x="153" y="311"/>
                  </a:lnTo>
                  <a:lnTo>
                    <a:pt x="147" y="303"/>
                  </a:lnTo>
                  <a:lnTo>
                    <a:pt x="140" y="294"/>
                  </a:lnTo>
                  <a:lnTo>
                    <a:pt x="135" y="285"/>
                  </a:lnTo>
                  <a:lnTo>
                    <a:pt x="131" y="276"/>
                  </a:lnTo>
                  <a:lnTo>
                    <a:pt x="126" y="265"/>
                  </a:lnTo>
                  <a:lnTo>
                    <a:pt x="123" y="255"/>
                  </a:lnTo>
                  <a:lnTo>
                    <a:pt x="121" y="244"/>
                  </a:lnTo>
                  <a:lnTo>
                    <a:pt x="121" y="232"/>
                  </a:lnTo>
                  <a:lnTo>
                    <a:pt x="121" y="232"/>
                  </a:lnTo>
                  <a:lnTo>
                    <a:pt x="121" y="221"/>
                  </a:lnTo>
                  <a:lnTo>
                    <a:pt x="123" y="211"/>
                  </a:lnTo>
                  <a:lnTo>
                    <a:pt x="126" y="200"/>
                  </a:lnTo>
                  <a:lnTo>
                    <a:pt x="131" y="189"/>
                  </a:lnTo>
                  <a:lnTo>
                    <a:pt x="135" y="179"/>
                  </a:lnTo>
                  <a:lnTo>
                    <a:pt x="140" y="170"/>
                  </a:lnTo>
                  <a:lnTo>
                    <a:pt x="147" y="162"/>
                  </a:lnTo>
                  <a:lnTo>
                    <a:pt x="153" y="154"/>
                  </a:lnTo>
                  <a:lnTo>
                    <a:pt x="162" y="147"/>
                  </a:lnTo>
                  <a:lnTo>
                    <a:pt x="170" y="141"/>
                  </a:lnTo>
                  <a:lnTo>
                    <a:pt x="179" y="135"/>
                  </a:lnTo>
                  <a:lnTo>
                    <a:pt x="190" y="130"/>
                  </a:lnTo>
                  <a:lnTo>
                    <a:pt x="199" y="126"/>
                  </a:lnTo>
                  <a:lnTo>
                    <a:pt x="210" y="123"/>
                  </a:lnTo>
                  <a:lnTo>
                    <a:pt x="222" y="121"/>
                  </a:lnTo>
                  <a:lnTo>
                    <a:pt x="232" y="121"/>
                  </a:lnTo>
                  <a:lnTo>
                    <a:pt x="232" y="1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60" name="Freeform 102"/>
            <p:cNvSpPr>
              <a:spLocks noEditPoints="1"/>
            </p:cNvSpPr>
            <p:nvPr/>
          </p:nvSpPr>
          <p:spPr bwMode="auto">
            <a:xfrm>
              <a:off x="8191501" y="4938713"/>
              <a:ext cx="369888" cy="371475"/>
            </a:xfrm>
            <a:custGeom>
              <a:avLst/>
              <a:gdLst>
                <a:gd name="T0" fmla="*/ 209 w 466"/>
                <a:gd name="T1" fmla="*/ 1 h 466"/>
                <a:gd name="T2" fmla="*/ 142 w 466"/>
                <a:gd name="T3" fmla="*/ 19 h 466"/>
                <a:gd name="T4" fmla="*/ 85 w 466"/>
                <a:gd name="T5" fmla="*/ 54 h 466"/>
                <a:gd name="T6" fmla="*/ 39 w 466"/>
                <a:gd name="T7" fmla="*/ 103 h 466"/>
                <a:gd name="T8" fmla="*/ 10 w 466"/>
                <a:gd name="T9" fmla="*/ 164 h 466"/>
                <a:gd name="T10" fmla="*/ 0 w 466"/>
                <a:gd name="T11" fmla="*/ 234 h 466"/>
                <a:gd name="T12" fmla="*/ 4 w 466"/>
                <a:gd name="T13" fmla="*/ 281 h 466"/>
                <a:gd name="T14" fmla="*/ 28 w 466"/>
                <a:gd name="T15" fmla="*/ 345 h 466"/>
                <a:gd name="T16" fmla="*/ 68 w 466"/>
                <a:gd name="T17" fmla="*/ 398 h 466"/>
                <a:gd name="T18" fmla="*/ 123 w 466"/>
                <a:gd name="T19" fmla="*/ 439 h 466"/>
                <a:gd name="T20" fmla="*/ 186 w 466"/>
                <a:gd name="T21" fmla="*/ 462 h 466"/>
                <a:gd name="T22" fmla="*/ 234 w 466"/>
                <a:gd name="T23" fmla="*/ 466 h 466"/>
                <a:gd name="T24" fmla="*/ 302 w 466"/>
                <a:gd name="T25" fmla="*/ 455 h 466"/>
                <a:gd name="T26" fmla="*/ 363 w 466"/>
                <a:gd name="T27" fmla="*/ 427 h 466"/>
                <a:gd name="T28" fmla="*/ 413 w 466"/>
                <a:gd name="T29" fmla="*/ 381 h 466"/>
                <a:gd name="T30" fmla="*/ 448 w 466"/>
                <a:gd name="T31" fmla="*/ 323 h 466"/>
                <a:gd name="T32" fmla="*/ 464 w 466"/>
                <a:gd name="T33" fmla="*/ 256 h 466"/>
                <a:gd name="T34" fmla="*/ 464 w 466"/>
                <a:gd name="T35" fmla="*/ 209 h 466"/>
                <a:gd name="T36" fmla="*/ 448 w 466"/>
                <a:gd name="T37" fmla="*/ 142 h 466"/>
                <a:gd name="T38" fmla="*/ 413 w 466"/>
                <a:gd name="T39" fmla="*/ 85 h 466"/>
                <a:gd name="T40" fmla="*/ 363 w 466"/>
                <a:gd name="T41" fmla="*/ 41 h 466"/>
                <a:gd name="T42" fmla="*/ 302 w 466"/>
                <a:gd name="T43" fmla="*/ 10 h 466"/>
                <a:gd name="T44" fmla="*/ 234 w 466"/>
                <a:gd name="T45" fmla="*/ 0 h 466"/>
                <a:gd name="T46" fmla="*/ 234 w 466"/>
                <a:gd name="T47" fmla="*/ 345 h 466"/>
                <a:gd name="T48" fmla="*/ 200 w 466"/>
                <a:gd name="T49" fmla="*/ 340 h 466"/>
                <a:gd name="T50" fmla="*/ 171 w 466"/>
                <a:gd name="T51" fmla="*/ 326 h 466"/>
                <a:gd name="T52" fmla="*/ 147 w 466"/>
                <a:gd name="T53" fmla="*/ 304 h 466"/>
                <a:gd name="T54" fmla="*/ 130 w 466"/>
                <a:gd name="T55" fmla="*/ 276 h 466"/>
                <a:gd name="T56" fmla="*/ 123 w 466"/>
                <a:gd name="T57" fmla="*/ 244 h 466"/>
                <a:gd name="T58" fmla="*/ 123 w 466"/>
                <a:gd name="T59" fmla="*/ 221 h 466"/>
                <a:gd name="T60" fmla="*/ 130 w 466"/>
                <a:gd name="T61" fmla="*/ 190 h 466"/>
                <a:gd name="T62" fmla="*/ 147 w 466"/>
                <a:gd name="T63" fmla="*/ 162 h 466"/>
                <a:gd name="T64" fmla="*/ 171 w 466"/>
                <a:gd name="T65" fmla="*/ 141 h 466"/>
                <a:gd name="T66" fmla="*/ 200 w 466"/>
                <a:gd name="T67" fmla="*/ 127 h 466"/>
                <a:gd name="T68" fmla="*/ 234 w 466"/>
                <a:gd name="T69" fmla="*/ 121 h 466"/>
                <a:gd name="T70" fmla="*/ 255 w 466"/>
                <a:gd name="T71" fmla="*/ 124 h 466"/>
                <a:gd name="T72" fmla="*/ 287 w 466"/>
                <a:gd name="T73" fmla="*/ 135 h 466"/>
                <a:gd name="T74" fmla="*/ 311 w 466"/>
                <a:gd name="T75" fmla="*/ 155 h 466"/>
                <a:gd name="T76" fmla="*/ 331 w 466"/>
                <a:gd name="T77" fmla="*/ 180 h 466"/>
                <a:gd name="T78" fmla="*/ 341 w 466"/>
                <a:gd name="T79" fmla="*/ 211 h 466"/>
                <a:gd name="T80" fmla="*/ 344 w 466"/>
                <a:gd name="T81" fmla="*/ 234 h 466"/>
                <a:gd name="T82" fmla="*/ 340 w 466"/>
                <a:gd name="T83" fmla="*/ 267 h 466"/>
                <a:gd name="T84" fmla="*/ 325 w 466"/>
                <a:gd name="T85" fmla="*/ 296 h 466"/>
                <a:gd name="T86" fmla="*/ 303 w 466"/>
                <a:gd name="T87" fmla="*/ 319 h 466"/>
                <a:gd name="T88" fmla="*/ 276 w 466"/>
                <a:gd name="T89" fmla="*/ 335 h 466"/>
                <a:gd name="T90" fmla="*/ 244 w 466"/>
                <a:gd name="T91" fmla="*/ 345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466">
                  <a:moveTo>
                    <a:pt x="234" y="0"/>
                  </a:moveTo>
                  <a:lnTo>
                    <a:pt x="234" y="0"/>
                  </a:lnTo>
                  <a:lnTo>
                    <a:pt x="209" y="1"/>
                  </a:lnTo>
                  <a:lnTo>
                    <a:pt x="186" y="6"/>
                  </a:lnTo>
                  <a:lnTo>
                    <a:pt x="164" y="10"/>
                  </a:lnTo>
                  <a:lnTo>
                    <a:pt x="142" y="19"/>
                  </a:lnTo>
                  <a:lnTo>
                    <a:pt x="123" y="29"/>
                  </a:lnTo>
                  <a:lnTo>
                    <a:pt x="103" y="41"/>
                  </a:lnTo>
                  <a:lnTo>
                    <a:pt x="85" y="54"/>
                  </a:lnTo>
                  <a:lnTo>
                    <a:pt x="68" y="68"/>
                  </a:lnTo>
                  <a:lnTo>
                    <a:pt x="53" y="85"/>
                  </a:lnTo>
                  <a:lnTo>
                    <a:pt x="39" y="103"/>
                  </a:lnTo>
                  <a:lnTo>
                    <a:pt x="28" y="123"/>
                  </a:lnTo>
                  <a:lnTo>
                    <a:pt x="18" y="142"/>
                  </a:lnTo>
                  <a:lnTo>
                    <a:pt x="10" y="164"/>
                  </a:lnTo>
                  <a:lnTo>
                    <a:pt x="4" y="187"/>
                  </a:lnTo>
                  <a:lnTo>
                    <a:pt x="1" y="209"/>
                  </a:lnTo>
                  <a:lnTo>
                    <a:pt x="0" y="234"/>
                  </a:lnTo>
                  <a:lnTo>
                    <a:pt x="0" y="234"/>
                  </a:lnTo>
                  <a:lnTo>
                    <a:pt x="1" y="256"/>
                  </a:lnTo>
                  <a:lnTo>
                    <a:pt x="4" y="281"/>
                  </a:lnTo>
                  <a:lnTo>
                    <a:pt x="10" y="302"/>
                  </a:lnTo>
                  <a:lnTo>
                    <a:pt x="18" y="323"/>
                  </a:lnTo>
                  <a:lnTo>
                    <a:pt x="28" y="345"/>
                  </a:lnTo>
                  <a:lnTo>
                    <a:pt x="39" y="364"/>
                  </a:lnTo>
                  <a:lnTo>
                    <a:pt x="53" y="381"/>
                  </a:lnTo>
                  <a:lnTo>
                    <a:pt x="68" y="398"/>
                  </a:lnTo>
                  <a:lnTo>
                    <a:pt x="85" y="413"/>
                  </a:lnTo>
                  <a:lnTo>
                    <a:pt x="103" y="427"/>
                  </a:lnTo>
                  <a:lnTo>
                    <a:pt x="123" y="439"/>
                  </a:lnTo>
                  <a:lnTo>
                    <a:pt x="142" y="448"/>
                  </a:lnTo>
                  <a:lnTo>
                    <a:pt x="164" y="455"/>
                  </a:lnTo>
                  <a:lnTo>
                    <a:pt x="186" y="462"/>
                  </a:lnTo>
                  <a:lnTo>
                    <a:pt x="209" y="465"/>
                  </a:lnTo>
                  <a:lnTo>
                    <a:pt x="234" y="466"/>
                  </a:lnTo>
                  <a:lnTo>
                    <a:pt x="234" y="466"/>
                  </a:lnTo>
                  <a:lnTo>
                    <a:pt x="256" y="465"/>
                  </a:lnTo>
                  <a:lnTo>
                    <a:pt x="279" y="462"/>
                  </a:lnTo>
                  <a:lnTo>
                    <a:pt x="302" y="455"/>
                  </a:lnTo>
                  <a:lnTo>
                    <a:pt x="323" y="448"/>
                  </a:lnTo>
                  <a:lnTo>
                    <a:pt x="344" y="439"/>
                  </a:lnTo>
                  <a:lnTo>
                    <a:pt x="363" y="427"/>
                  </a:lnTo>
                  <a:lnTo>
                    <a:pt x="381" y="413"/>
                  </a:lnTo>
                  <a:lnTo>
                    <a:pt x="398" y="398"/>
                  </a:lnTo>
                  <a:lnTo>
                    <a:pt x="413" y="381"/>
                  </a:lnTo>
                  <a:lnTo>
                    <a:pt x="426" y="364"/>
                  </a:lnTo>
                  <a:lnTo>
                    <a:pt x="437" y="345"/>
                  </a:lnTo>
                  <a:lnTo>
                    <a:pt x="448" y="323"/>
                  </a:lnTo>
                  <a:lnTo>
                    <a:pt x="455" y="302"/>
                  </a:lnTo>
                  <a:lnTo>
                    <a:pt x="461" y="281"/>
                  </a:lnTo>
                  <a:lnTo>
                    <a:pt x="464" y="256"/>
                  </a:lnTo>
                  <a:lnTo>
                    <a:pt x="466" y="234"/>
                  </a:lnTo>
                  <a:lnTo>
                    <a:pt x="466" y="234"/>
                  </a:lnTo>
                  <a:lnTo>
                    <a:pt x="464" y="209"/>
                  </a:lnTo>
                  <a:lnTo>
                    <a:pt x="461" y="187"/>
                  </a:lnTo>
                  <a:lnTo>
                    <a:pt x="455" y="164"/>
                  </a:lnTo>
                  <a:lnTo>
                    <a:pt x="448" y="142"/>
                  </a:lnTo>
                  <a:lnTo>
                    <a:pt x="437" y="123"/>
                  </a:lnTo>
                  <a:lnTo>
                    <a:pt x="426" y="103"/>
                  </a:lnTo>
                  <a:lnTo>
                    <a:pt x="413" y="85"/>
                  </a:lnTo>
                  <a:lnTo>
                    <a:pt x="398" y="68"/>
                  </a:lnTo>
                  <a:lnTo>
                    <a:pt x="381" y="54"/>
                  </a:lnTo>
                  <a:lnTo>
                    <a:pt x="363" y="41"/>
                  </a:lnTo>
                  <a:lnTo>
                    <a:pt x="344" y="29"/>
                  </a:lnTo>
                  <a:lnTo>
                    <a:pt x="323" y="19"/>
                  </a:lnTo>
                  <a:lnTo>
                    <a:pt x="302" y="10"/>
                  </a:lnTo>
                  <a:lnTo>
                    <a:pt x="279" y="6"/>
                  </a:lnTo>
                  <a:lnTo>
                    <a:pt x="256" y="1"/>
                  </a:lnTo>
                  <a:lnTo>
                    <a:pt x="234" y="0"/>
                  </a:lnTo>
                  <a:lnTo>
                    <a:pt x="234" y="0"/>
                  </a:lnTo>
                  <a:close/>
                  <a:moveTo>
                    <a:pt x="234" y="345"/>
                  </a:moveTo>
                  <a:lnTo>
                    <a:pt x="234" y="345"/>
                  </a:lnTo>
                  <a:lnTo>
                    <a:pt x="221" y="345"/>
                  </a:lnTo>
                  <a:lnTo>
                    <a:pt x="211" y="343"/>
                  </a:lnTo>
                  <a:lnTo>
                    <a:pt x="200" y="340"/>
                  </a:lnTo>
                  <a:lnTo>
                    <a:pt x="189" y="335"/>
                  </a:lnTo>
                  <a:lnTo>
                    <a:pt x="180" y="331"/>
                  </a:lnTo>
                  <a:lnTo>
                    <a:pt x="171" y="326"/>
                  </a:lnTo>
                  <a:lnTo>
                    <a:pt x="162" y="319"/>
                  </a:lnTo>
                  <a:lnTo>
                    <a:pt x="155" y="313"/>
                  </a:lnTo>
                  <a:lnTo>
                    <a:pt x="147" y="304"/>
                  </a:lnTo>
                  <a:lnTo>
                    <a:pt x="141" y="296"/>
                  </a:lnTo>
                  <a:lnTo>
                    <a:pt x="135" y="287"/>
                  </a:lnTo>
                  <a:lnTo>
                    <a:pt x="130" y="276"/>
                  </a:lnTo>
                  <a:lnTo>
                    <a:pt x="127" y="267"/>
                  </a:lnTo>
                  <a:lnTo>
                    <a:pt x="124" y="256"/>
                  </a:lnTo>
                  <a:lnTo>
                    <a:pt x="123" y="244"/>
                  </a:lnTo>
                  <a:lnTo>
                    <a:pt x="121" y="234"/>
                  </a:lnTo>
                  <a:lnTo>
                    <a:pt x="121" y="234"/>
                  </a:lnTo>
                  <a:lnTo>
                    <a:pt x="123" y="221"/>
                  </a:lnTo>
                  <a:lnTo>
                    <a:pt x="124" y="211"/>
                  </a:lnTo>
                  <a:lnTo>
                    <a:pt x="127" y="200"/>
                  </a:lnTo>
                  <a:lnTo>
                    <a:pt x="130" y="190"/>
                  </a:lnTo>
                  <a:lnTo>
                    <a:pt x="135" y="180"/>
                  </a:lnTo>
                  <a:lnTo>
                    <a:pt x="141" y="171"/>
                  </a:lnTo>
                  <a:lnTo>
                    <a:pt x="147" y="162"/>
                  </a:lnTo>
                  <a:lnTo>
                    <a:pt x="155" y="155"/>
                  </a:lnTo>
                  <a:lnTo>
                    <a:pt x="162" y="147"/>
                  </a:lnTo>
                  <a:lnTo>
                    <a:pt x="171" y="141"/>
                  </a:lnTo>
                  <a:lnTo>
                    <a:pt x="180" y="135"/>
                  </a:lnTo>
                  <a:lnTo>
                    <a:pt x="189" y="130"/>
                  </a:lnTo>
                  <a:lnTo>
                    <a:pt x="200" y="127"/>
                  </a:lnTo>
                  <a:lnTo>
                    <a:pt x="211" y="124"/>
                  </a:lnTo>
                  <a:lnTo>
                    <a:pt x="221" y="123"/>
                  </a:lnTo>
                  <a:lnTo>
                    <a:pt x="234" y="121"/>
                  </a:lnTo>
                  <a:lnTo>
                    <a:pt x="234" y="121"/>
                  </a:lnTo>
                  <a:lnTo>
                    <a:pt x="244" y="123"/>
                  </a:lnTo>
                  <a:lnTo>
                    <a:pt x="255" y="124"/>
                  </a:lnTo>
                  <a:lnTo>
                    <a:pt x="265" y="127"/>
                  </a:lnTo>
                  <a:lnTo>
                    <a:pt x="276" y="130"/>
                  </a:lnTo>
                  <a:lnTo>
                    <a:pt x="287" y="135"/>
                  </a:lnTo>
                  <a:lnTo>
                    <a:pt x="296" y="141"/>
                  </a:lnTo>
                  <a:lnTo>
                    <a:pt x="303" y="147"/>
                  </a:lnTo>
                  <a:lnTo>
                    <a:pt x="311" y="155"/>
                  </a:lnTo>
                  <a:lnTo>
                    <a:pt x="319" y="162"/>
                  </a:lnTo>
                  <a:lnTo>
                    <a:pt x="325" y="171"/>
                  </a:lnTo>
                  <a:lnTo>
                    <a:pt x="331" y="180"/>
                  </a:lnTo>
                  <a:lnTo>
                    <a:pt x="335" y="190"/>
                  </a:lnTo>
                  <a:lnTo>
                    <a:pt x="340" y="200"/>
                  </a:lnTo>
                  <a:lnTo>
                    <a:pt x="341" y="211"/>
                  </a:lnTo>
                  <a:lnTo>
                    <a:pt x="344" y="221"/>
                  </a:lnTo>
                  <a:lnTo>
                    <a:pt x="344" y="234"/>
                  </a:lnTo>
                  <a:lnTo>
                    <a:pt x="344" y="234"/>
                  </a:lnTo>
                  <a:lnTo>
                    <a:pt x="344" y="244"/>
                  </a:lnTo>
                  <a:lnTo>
                    <a:pt x="341" y="256"/>
                  </a:lnTo>
                  <a:lnTo>
                    <a:pt x="340" y="267"/>
                  </a:lnTo>
                  <a:lnTo>
                    <a:pt x="335" y="276"/>
                  </a:lnTo>
                  <a:lnTo>
                    <a:pt x="331" y="287"/>
                  </a:lnTo>
                  <a:lnTo>
                    <a:pt x="325" y="296"/>
                  </a:lnTo>
                  <a:lnTo>
                    <a:pt x="319" y="304"/>
                  </a:lnTo>
                  <a:lnTo>
                    <a:pt x="311" y="313"/>
                  </a:lnTo>
                  <a:lnTo>
                    <a:pt x="303" y="319"/>
                  </a:lnTo>
                  <a:lnTo>
                    <a:pt x="296" y="326"/>
                  </a:lnTo>
                  <a:lnTo>
                    <a:pt x="287" y="331"/>
                  </a:lnTo>
                  <a:lnTo>
                    <a:pt x="276" y="335"/>
                  </a:lnTo>
                  <a:lnTo>
                    <a:pt x="265" y="340"/>
                  </a:lnTo>
                  <a:lnTo>
                    <a:pt x="255" y="343"/>
                  </a:lnTo>
                  <a:lnTo>
                    <a:pt x="244" y="345"/>
                  </a:lnTo>
                  <a:lnTo>
                    <a:pt x="234" y="345"/>
                  </a:lnTo>
                  <a:lnTo>
                    <a:pt x="234" y="3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61" name="Freeform 103"/>
            <p:cNvSpPr>
              <a:spLocks noEditPoints="1"/>
            </p:cNvSpPr>
            <p:nvPr/>
          </p:nvSpPr>
          <p:spPr bwMode="auto">
            <a:xfrm>
              <a:off x="6167438" y="3844926"/>
              <a:ext cx="369888" cy="371475"/>
            </a:xfrm>
            <a:custGeom>
              <a:avLst/>
              <a:gdLst>
                <a:gd name="T0" fmla="*/ 210 w 466"/>
                <a:gd name="T1" fmla="*/ 1 h 466"/>
                <a:gd name="T2" fmla="*/ 143 w 466"/>
                <a:gd name="T3" fmla="*/ 18 h 466"/>
                <a:gd name="T4" fmla="*/ 85 w 466"/>
                <a:gd name="T5" fmla="*/ 53 h 466"/>
                <a:gd name="T6" fmla="*/ 40 w 466"/>
                <a:gd name="T7" fmla="*/ 103 h 466"/>
                <a:gd name="T8" fmla="*/ 11 w 466"/>
                <a:gd name="T9" fmla="*/ 164 h 466"/>
                <a:gd name="T10" fmla="*/ 0 w 466"/>
                <a:gd name="T11" fmla="*/ 234 h 466"/>
                <a:gd name="T12" fmla="*/ 5 w 466"/>
                <a:gd name="T13" fmla="*/ 281 h 466"/>
                <a:gd name="T14" fmla="*/ 29 w 466"/>
                <a:gd name="T15" fmla="*/ 344 h 466"/>
                <a:gd name="T16" fmla="*/ 68 w 466"/>
                <a:gd name="T17" fmla="*/ 398 h 466"/>
                <a:gd name="T18" fmla="*/ 122 w 466"/>
                <a:gd name="T19" fmla="*/ 439 h 466"/>
                <a:gd name="T20" fmla="*/ 187 w 466"/>
                <a:gd name="T21" fmla="*/ 461 h 466"/>
                <a:gd name="T22" fmla="*/ 232 w 466"/>
                <a:gd name="T23" fmla="*/ 466 h 466"/>
                <a:gd name="T24" fmla="*/ 302 w 466"/>
                <a:gd name="T25" fmla="*/ 455 h 466"/>
                <a:gd name="T26" fmla="*/ 363 w 466"/>
                <a:gd name="T27" fmla="*/ 426 h 466"/>
                <a:gd name="T28" fmla="*/ 413 w 466"/>
                <a:gd name="T29" fmla="*/ 381 h 466"/>
                <a:gd name="T30" fmla="*/ 448 w 466"/>
                <a:gd name="T31" fmla="*/ 323 h 466"/>
                <a:gd name="T32" fmla="*/ 465 w 466"/>
                <a:gd name="T33" fmla="*/ 256 h 466"/>
                <a:gd name="T34" fmla="*/ 465 w 466"/>
                <a:gd name="T35" fmla="*/ 209 h 466"/>
                <a:gd name="T36" fmla="*/ 448 w 466"/>
                <a:gd name="T37" fmla="*/ 142 h 466"/>
                <a:gd name="T38" fmla="*/ 413 w 466"/>
                <a:gd name="T39" fmla="*/ 85 h 466"/>
                <a:gd name="T40" fmla="*/ 363 w 466"/>
                <a:gd name="T41" fmla="*/ 41 h 466"/>
                <a:gd name="T42" fmla="*/ 302 w 466"/>
                <a:gd name="T43" fmla="*/ 10 h 466"/>
                <a:gd name="T44" fmla="*/ 232 w 466"/>
                <a:gd name="T45" fmla="*/ 0 h 466"/>
                <a:gd name="T46" fmla="*/ 232 w 466"/>
                <a:gd name="T47" fmla="*/ 344 h 466"/>
                <a:gd name="T48" fmla="*/ 201 w 466"/>
                <a:gd name="T49" fmla="*/ 340 h 466"/>
                <a:gd name="T50" fmla="*/ 170 w 466"/>
                <a:gd name="T51" fmla="*/ 326 h 466"/>
                <a:gd name="T52" fmla="*/ 147 w 466"/>
                <a:gd name="T53" fmla="*/ 303 h 466"/>
                <a:gd name="T54" fmla="*/ 131 w 466"/>
                <a:gd name="T55" fmla="*/ 276 h 466"/>
                <a:gd name="T56" fmla="*/ 122 w 466"/>
                <a:gd name="T57" fmla="*/ 244 h 466"/>
                <a:gd name="T58" fmla="*/ 122 w 466"/>
                <a:gd name="T59" fmla="*/ 221 h 466"/>
                <a:gd name="T60" fmla="*/ 131 w 466"/>
                <a:gd name="T61" fmla="*/ 189 h 466"/>
                <a:gd name="T62" fmla="*/ 147 w 466"/>
                <a:gd name="T63" fmla="*/ 162 h 466"/>
                <a:gd name="T64" fmla="*/ 170 w 466"/>
                <a:gd name="T65" fmla="*/ 141 h 466"/>
                <a:gd name="T66" fmla="*/ 201 w 466"/>
                <a:gd name="T67" fmla="*/ 127 h 466"/>
                <a:gd name="T68" fmla="*/ 232 w 466"/>
                <a:gd name="T69" fmla="*/ 121 h 466"/>
                <a:gd name="T70" fmla="*/ 255 w 466"/>
                <a:gd name="T71" fmla="*/ 124 h 466"/>
                <a:gd name="T72" fmla="*/ 286 w 466"/>
                <a:gd name="T73" fmla="*/ 135 h 466"/>
                <a:gd name="T74" fmla="*/ 311 w 466"/>
                <a:gd name="T75" fmla="*/ 155 h 466"/>
                <a:gd name="T76" fmla="*/ 331 w 466"/>
                <a:gd name="T77" fmla="*/ 180 h 466"/>
                <a:gd name="T78" fmla="*/ 342 w 466"/>
                <a:gd name="T79" fmla="*/ 211 h 466"/>
                <a:gd name="T80" fmla="*/ 345 w 466"/>
                <a:gd name="T81" fmla="*/ 234 h 466"/>
                <a:gd name="T82" fmla="*/ 340 w 466"/>
                <a:gd name="T83" fmla="*/ 267 h 466"/>
                <a:gd name="T84" fmla="*/ 325 w 466"/>
                <a:gd name="T85" fmla="*/ 296 h 466"/>
                <a:gd name="T86" fmla="*/ 304 w 466"/>
                <a:gd name="T87" fmla="*/ 319 h 466"/>
                <a:gd name="T88" fmla="*/ 277 w 466"/>
                <a:gd name="T89" fmla="*/ 335 h 466"/>
                <a:gd name="T90" fmla="*/ 245 w 466"/>
                <a:gd name="T91" fmla="*/ 34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466">
                  <a:moveTo>
                    <a:pt x="232" y="0"/>
                  </a:moveTo>
                  <a:lnTo>
                    <a:pt x="232" y="0"/>
                  </a:lnTo>
                  <a:lnTo>
                    <a:pt x="210" y="1"/>
                  </a:lnTo>
                  <a:lnTo>
                    <a:pt x="187" y="4"/>
                  </a:lnTo>
                  <a:lnTo>
                    <a:pt x="164" y="10"/>
                  </a:lnTo>
                  <a:lnTo>
                    <a:pt x="143" y="18"/>
                  </a:lnTo>
                  <a:lnTo>
                    <a:pt x="122" y="28"/>
                  </a:lnTo>
                  <a:lnTo>
                    <a:pt x="103" y="41"/>
                  </a:lnTo>
                  <a:lnTo>
                    <a:pt x="85" y="53"/>
                  </a:lnTo>
                  <a:lnTo>
                    <a:pt x="68" y="68"/>
                  </a:lnTo>
                  <a:lnTo>
                    <a:pt x="53" y="85"/>
                  </a:lnTo>
                  <a:lnTo>
                    <a:pt x="40" y="103"/>
                  </a:lnTo>
                  <a:lnTo>
                    <a:pt x="29" y="123"/>
                  </a:lnTo>
                  <a:lnTo>
                    <a:pt x="18" y="142"/>
                  </a:lnTo>
                  <a:lnTo>
                    <a:pt x="11" y="164"/>
                  </a:lnTo>
                  <a:lnTo>
                    <a:pt x="5" y="186"/>
                  </a:lnTo>
                  <a:lnTo>
                    <a:pt x="2" y="209"/>
                  </a:lnTo>
                  <a:lnTo>
                    <a:pt x="0" y="234"/>
                  </a:lnTo>
                  <a:lnTo>
                    <a:pt x="0" y="234"/>
                  </a:lnTo>
                  <a:lnTo>
                    <a:pt x="2" y="256"/>
                  </a:lnTo>
                  <a:lnTo>
                    <a:pt x="5" y="281"/>
                  </a:lnTo>
                  <a:lnTo>
                    <a:pt x="11" y="302"/>
                  </a:lnTo>
                  <a:lnTo>
                    <a:pt x="18" y="323"/>
                  </a:lnTo>
                  <a:lnTo>
                    <a:pt x="29" y="344"/>
                  </a:lnTo>
                  <a:lnTo>
                    <a:pt x="40" y="363"/>
                  </a:lnTo>
                  <a:lnTo>
                    <a:pt x="53" y="381"/>
                  </a:lnTo>
                  <a:lnTo>
                    <a:pt x="68" y="398"/>
                  </a:lnTo>
                  <a:lnTo>
                    <a:pt x="85" y="413"/>
                  </a:lnTo>
                  <a:lnTo>
                    <a:pt x="103" y="426"/>
                  </a:lnTo>
                  <a:lnTo>
                    <a:pt x="122" y="439"/>
                  </a:lnTo>
                  <a:lnTo>
                    <a:pt x="143" y="448"/>
                  </a:lnTo>
                  <a:lnTo>
                    <a:pt x="164" y="455"/>
                  </a:lnTo>
                  <a:lnTo>
                    <a:pt x="187" y="461"/>
                  </a:lnTo>
                  <a:lnTo>
                    <a:pt x="210" y="464"/>
                  </a:lnTo>
                  <a:lnTo>
                    <a:pt x="232" y="466"/>
                  </a:lnTo>
                  <a:lnTo>
                    <a:pt x="232" y="466"/>
                  </a:lnTo>
                  <a:lnTo>
                    <a:pt x="257" y="464"/>
                  </a:lnTo>
                  <a:lnTo>
                    <a:pt x="280" y="461"/>
                  </a:lnTo>
                  <a:lnTo>
                    <a:pt x="302" y="455"/>
                  </a:lnTo>
                  <a:lnTo>
                    <a:pt x="324" y="448"/>
                  </a:lnTo>
                  <a:lnTo>
                    <a:pt x="345" y="439"/>
                  </a:lnTo>
                  <a:lnTo>
                    <a:pt x="363" y="426"/>
                  </a:lnTo>
                  <a:lnTo>
                    <a:pt x="381" y="413"/>
                  </a:lnTo>
                  <a:lnTo>
                    <a:pt x="398" y="398"/>
                  </a:lnTo>
                  <a:lnTo>
                    <a:pt x="413" y="381"/>
                  </a:lnTo>
                  <a:lnTo>
                    <a:pt x="427" y="363"/>
                  </a:lnTo>
                  <a:lnTo>
                    <a:pt x="438" y="344"/>
                  </a:lnTo>
                  <a:lnTo>
                    <a:pt x="448" y="323"/>
                  </a:lnTo>
                  <a:lnTo>
                    <a:pt x="456" y="302"/>
                  </a:lnTo>
                  <a:lnTo>
                    <a:pt x="462" y="281"/>
                  </a:lnTo>
                  <a:lnTo>
                    <a:pt x="465" y="256"/>
                  </a:lnTo>
                  <a:lnTo>
                    <a:pt x="466" y="234"/>
                  </a:lnTo>
                  <a:lnTo>
                    <a:pt x="466" y="234"/>
                  </a:lnTo>
                  <a:lnTo>
                    <a:pt x="465" y="209"/>
                  </a:lnTo>
                  <a:lnTo>
                    <a:pt x="462" y="186"/>
                  </a:lnTo>
                  <a:lnTo>
                    <a:pt x="456" y="164"/>
                  </a:lnTo>
                  <a:lnTo>
                    <a:pt x="448" y="142"/>
                  </a:lnTo>
                  <a:lnTo>
                    <a:pt x="438" y="123"/>
                  </a:lnTo>
                  <a:lnTo>
                    <a:pt x="427" y="103"/>
                  </a:lnTo>
                  <a:lnTo>
                    <a:pt x="413" y="85"/>
                  </a:lnTo>
                  <a:lnTo>
                    <a:pt x="398" y="68"/>
                  </a:lnTo>
                  <a:lnTo>
                    <a:pt x="381" y="53"/>
                  </a:lnTo>
                  <a:lnTo>
                    <a:pt x="363" y="41"/>
                  </a:lnTo>
                  <a:lnTo>
                    <a:pt x="345" y="28"/>
                  </a:lnTo>
                  <a:lnTo>
                    <a:pt x="324" y="18"/>
                  </a:lnTo>
                  <a:lnTo>
                    <a:pt x="302" y="10"/>
                  </a:lnTo>
                  <a:lnTo>
                    <a:pt x="280" y="4"/>
                  </a:lnTo>
                  <a:lnTo>
                    <a:pt x="257" y="1"/>
                  </a:lnTo>
                  <a:lnTo>
                    <a:pt x="232" y="0"/>
                  </a:lnTo>
                  <a:lnTo>
                    <a:pt x="232" y="0"/>
                  </a:lnTo>
                  <a:close/>
                  <a:moveTo>
                    <a:pt x="232" y="344"/>
                  </a:moveTo>
                  <a:lnTo>
                    <a:pt x="232" y="344"/>
                  </a:lnTo>
                  <a:lnTo>
                    <a:pt x="222" y="344"/>
                  </a:lnTo>
                  <a:lnTo>
                    <a:pt x="211" y="343"/>
                  </a:lnTo>
                  <a:lnTo>
                    <a:pt x="201" y="340"/>
                  </a:lnTo>
                  <a:lnTo>
                    <a:pt x="190" y="335"/>
                  </a:lnTo>
                  <a:lnTo>
                    <a:pt x="181" y="331"/>
                  </a:lnTo>
                  <a:lnTo>
                    <a:pt x="170" y="326"/>
                  </a:lnTo>
                  <a:lnTo>
                    <a:pt x="163" y="319"/>
                  </a:lnTo>
                  <a:lnTo>
                    <a:pt x="155" y="313"/>
                  </a:lnTo>
                  <a:lnTo>
                    <a:pt x="147" y="303"/>
                  </a:lnTo>
                  <a:lnTo>
                    <a:pt x="141" y="296"/>
                  </a:lnTo>
                  <a:lnTo>
                    <a:pt x="135" y="287"/>
                  </a:lnTo>
                  <a:lnTo>
                    <a:pt x="131" y="276"/>
                  </a:lnTo>
                  <a:lnTo>
                    <a:pt x="126" y="267"/>
                  </a:lnTo>
                  <a:lnTo>
                    <a:pt x="125" y="256"/>
                  </a:lnTo>
                  <a:lnTo>
                    <a:pt x="122" y="244"/>
                  </a:lnTo>
                  <a:lnTo>
                    <a:pt x="122" y="234"/>
                  </a:lnTo>
                  <a:lnTo>
                    <a:pt x="122" y="234"/>
                  </a:lnTo>
                  <a:lnTo>
                    <a:pt x="122" y="221"/>
                  </a:lnTo>
                  <a:lnTo>
                    <a:pt x="125" y="211"/>
                  </a:lnTo>
                  <a:lnTo>
                    <a:pt x="126" y="200"/>
                  </a:lnTo>
                  <a:lnTo>
                    <a:pt x="131" y="189"/>
                  </a:lnTo>
                  <a:lnTo>
                    <a:pt x="135" y="180"/>
                  </a:lnTo>
                  <a:lnTo>
                    <a:pt x="141" y="171"/>
                  </a:lnTo>
                  <a:lnTo>
                    <a:pt x="147" y="162"/>
                  </a:lnTo>
                  <a:lnTo>
                    <a:pt x="155" y="155"/>
                  </a:lnTo>
                  <a:lnTo>
                    <a:pt x="163" y="147"/>
                  </a:lnTo>
                  <a:lnTo>
                    <a:pt x="170" y="141"/>
                  </a:lnTo>
                  <a:lnTo>
                    <a:pt x="181" y="135"/>
                  </a:lnTo>
                  <a:lnTo>
                    <a:pt x="190" y="130"/>
                  </a:lnTo>
                  <a:lnTo>
                    <a:pt x="201" y="127"/>
                  </a:lnTo>
                  <a:lnTo>
                    <a:pt x="211" y="124"/>
                  </a:lnTo>
                  <a:lnTo>
                    <a:pt x="222" y="123"/>
                  </a:lnTo>
                  <a:lnTo>
                    <a:pt x="232" y="121"/>
                  </a:lnTo>
                  <a:lnTo>
                    <a:pt x="232" y="121"/>
                  </a:lnTo>
                  <a:lnTo>
                    <a:pt x="245" y="123"/>
                  </a:lnTo>
                  <a:lnTo>
                    <a:pt x="255" y="124"/>
                  </a:lnTo>
                  <a:lnTo>
                    <a:pt x="266" y="127"/>
                  </a:lnTo>
                  <a:lnTo>
                    <a:pt x="277" y="130"/>
                  </a:lnTo>
                  <a:lnTo>
                    <a:pt x="286" y="135"/>
                  </a:lnTo>
                  <a:lnTo>
                    <a:pt x="295" y="141"/>
                  </a:lnTo>
                  <a:lnTo>
                    <a:pt x="304" y="147"/>
                  </a:lnTo>
                  <a:lnTo>
                    <a:pt x="311" y="155"/>
                  </a:lnTo>
                  <a:lnTo>
                    <a:pt x="319" y="162"/>
                  </a:lnTo>
                  <a:lnTo>
                    <a:pt x="325" y="171"/>
                  </a:lnTo>
                  <a:lnTo>
                    <a:pt x="331" y="180"/>
                  </a:lnTo>
                  <a:lnTo>
                    <a:pt x="336" y="189"/>
                  </a:lnTo>
                  <a:lnTo>
                    <a:pt x="340" y="200"/>
                  </a:lnTo>
                  <a:lnTo>
                    <a:pt x="342" y="211"/>
                  </a:lnTo>
                  <a:lnTo>
                    <a:pt x="345" y="221"/>
                  </a:lnTo>
                  <a:lnTo>
                    <a:pt x="345" y="234"/>
                  </a:lnTo>
                  <a:lnTo>
                    <a:pt x="345" y="234"/>
                  </a:lnTo>
                  <a:lnTo>
                    <a:pt x="345" y="244"/>
                  </a:lnTo>
                  <a:lnTo>
                    <a:pt x="342" y="256"/>
                  </a:lnTo>
                  <a:lnTo>
                    <a:pt x="340" y="267"/>
                  </a:lnTo>
                  <a:lnTo>
                    <a:pt x="336" y="276"/>
                  </a:lnTo>
                  <a:lnTo>
                    <a:pt x="331" y="287"/>
                  </a:lnTo>
                  <a:lnTo>
                    <a:pt x="325" y="296"/>
                  </a:lnTo>
                  <a:lnTo>
                    <a:pt x="319" y="303"/>
                  </a:lnTo>
                  <a:lnTo>
                    <a:pt x="311" y="313"/>
                  </a:lnTo>
                  <a:lnTo>
                    <a:pt x="304" y="319"/>
                  </a:lnTo>
                  <a:lnTo>
                    <a:pt x="295" y="326"/>
                  </a:lnTo>
                  <a:lnTo>
                    <a:pt x="286" y="331"/>
                  </a:lnTo>
                  <a:lnTo>
                    <a:pt x="277" y="335"/>
                  </a:lnTo>
                  <a:lnTo>
                    <a:pt x="266" y="340"/>
                  </a:lnTo>
                  <a:lnTo>
                    <a:pt x="255" y="343"/>
                  </a:lnTo>
                  <a:lnTo>
                    <a:pt x="245" y="344"/>
                  </a:lnTo>
                  <a:lnTo>
                    <a:pt x="232" y="344"/>
                  </a:lnTo>
                  <a:lnTo>
                    <a:pt x="232" y="3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63" name="Freeform 104"/>
            <p:cNvSpPr>
              <a:spLocks noEditPoints="1"/>
            </p:cNvSpPr>
            <p:nvPr/>
          </p:nvSpPr>
          <p:spPr bwMode="auto">
            <a:xfrm>
              <a:off x="6919913" y="5118101"/>
              <a:ext cx="369888" cy="369888"/>
            </a:xfrm>
            <a:custGeom>
              <a:avLst/>
              <a:gdLst>
                <a:gd name="T0" fmla="*/ 210 w 467"/>
                <a:gd name="T1" fmla="*/ 1 h 466"/>
                <a:gd name="T2" fmla="*/ 143 w 467"/>
                <a:gd name="T3" fmla="*/ 18 h 466"/>
                <a:gd name="T4" fmla="*/ 85 w 467"/>
                <a:gd name="T5" fmla="*/ 53 h 466"/>
                <a:gd name="T6" fmla="*/ 41 w 467"/>
                <a:gd name="T7" fmla="*/ 103 h 466"/>
                <a:gd name="T8" fmla="*/ 11 w 467"/>
                <a:gd name="T9" fmla="*/ 164 h 466"/>
                <a:gd name="T10" fmla="*/ 0 w 467"/>
                <a:gd name="T11" fmla="*/ 232 h 466"/>
                <a:gd name="T12" fmla="*/ 6 w 467"/>
                <a:gd name="T13" fmla="*/ 279 h 466"/>
                <a:gd name="T14" fmla="*/ 29 w 467"/>
                <a:gd name="T15" fmla="*/ 343 h 466"/>
                <a:gd name="T16" fmla="*/ 68 w 467"/>
                <a:gd name="T17" fmla="*/ 398 h 466"/>
                <a:gd name="T18" fmla="*/ 123 w 467"/>
                <a:gd name="T19" fmla="*/ 437 h 466"/>
                <a:gd name="T20" fmla="*/ 187 w 467"/>
                <a:gd name="T21" fmla="*/ 460 h 466"/>
                <a:gd name="T22" fmla="*/ 234 w 467"/>
                <a:gd name="T23" fmla="*/ 466 h 466"/>
                <a:gd name="T24" fmla="*/ 302 w 467"/>
                <a:gd name="T25" fmla="*/ 455 h 466"/>
                <a:gd name="T26" fmla="*/ 365 w 467"/>
                <a:gd name="T27" fmla="*/ 425 h 466"/>
                <a:gd name="T28" fmla="*/ 413 w 467"/>
                <a:gd name="T29" fmla="*/ 381 h 466"/>
                <a:gd name="T30" fmla="*/ 448 w 467"/>
                <a:gd name="T31" fmla="*/ 323 h 466"/>
                <a:gd name="T32" fmla="*/ 465 w 467"/>
                <a:gd name="T33" fmla="*/ 256 h 466"/>
                <a:gd name="T34" fmla="*/ 465 w 467"/>
                <a:gd name="T35" fmla="*/ 209 h 466"/>
                <a:gd name="T36" fmla="*/ 448 w 467"/>
                <a:gd name="T37" fmla="*/ 142 h 466"/>
                <a:gd name="T38" fmla="*/ 413 w 467"/>
                <a:gd name="T39" fmla="*/ 85 h 466"/>
                <a:gd name="T40" fmla="*/ 365 w 467"/>
                <a:gd name="T41" fmla="*/ 39 h 466"/>
                <a:gd name="T42" fmla="*/ 302 w 467"/>
                <a:gd name="T43" fmla="*/ 10 h 466"/>
                <a:gd name="T44" fmla="*/ 234 w 467"/>
                <a:gd name="T45" fmla="*/ 0 h 466"/>
                <a:gd name="T46" fmla="*/ 234 w 467"/>
                <a:gd name="T47" fmla="*/ 344 h 466"/>
                <a:gd name="T48" fmla="*/ 201 w 467"/>
                <a:gd name="T49" fmla="*/ 338 h 466"/>
                <a:gd name="T50" fmla="*/ 172 w 467"/>
                <a:gd name="T51" fmla="*/ 325 h 466"/>
                <a:gd name="T52" fmla="*/ 147 w 467"/>
                <a:gd name="T53" fmla="*/ 303 h 466"/>
                <a:gd name="T54" fmla="*/ 131 w 467"/>
                <a:gd name="T55" fmla="*/ 276 h 466"/>
                <a:gd name="T56" fmla="*/ 123 w 467"/>
                <a:gd name="T57" fmla="*/ 244 h 466"/>
                <a:gd name="T58" fmla="*/ 123 w 467"/>
                <a:gd name="T59" fmla="*/ 221 h 466"/>
                <a:gd name="T60" fmla="*/ 131 w 467"/>
                <a:gd name="T61" fmla="*/ 189 h 466"/>
                <a:gd name="T62" fmla="*/ 147 w 467"/>
                <a:gd name="T63" fmla="*/ 162 h 466"/>
                <a:gd name="T64" fmla="*/ 172 w 467"/>
                <a:gd name="T65" fmla="*/ 139 h 466"/>
                <a:gd name="T66" fmla="*/ 201 w 467"/>
                <a:gd name="T67" fmla="*/ 126 h 466"/>
                <a:gd name="T68" fmla="*/ 234 w 467"/>
                <a:gd name="T69" fmla="*/ 121 h 466"/>
                <a:gd name="T70" fmla="*/ 257 w 467"/>
                <a:gd name="T71" fmla="*/ 123 h 466"/>
                <a:gd name="T72" fmla="*/ 287 w 467"/>
                <a:gd name="T73" fmla="*/ 135 h 466"/>
                <a:gd name="T74" fmla="*/ 313 w 467"/>
                <a:gd name="T75" fmla="*/ 153 h 466"/>
                <a:gd name="T76" fmla="*/ 331 w 467"/>
                <a:gd name="T77" fmla="*/ 179 h 466"/>
                <a:gd name="T78" fmla="*/ 343 w 467"/>
                <a:gd name="T79" fmla="*/ 209 h 466"/>
                <a:gd name="T80" fmla="*/ 345 w 467"/>
                <a:gd name="T81" fmla="*/ 232 h 466"/>
                <a:gd name="T82" fmla="*/ 340 w 467"/>
                <a:gd name="T83" fmla="*/ 265 h 466"/>
                <a:gd name="T84" fmla="*/ 327 w 467"/>
                <a:gd name="T85" fmla="*/ 294 h 466"/>
                <a:gd name="T86" fmla="*/ 304 w 467"/>
                <a:gd name="T87" fmla="*/ 319 h 466"/>
                <a:gd name="T88" fmla="*/ 277 w 467"/>
                <a:gd name="T89" fmla="*/ 335 h 466"/>
                <a:gd name="T90" fmla="*/ 245 w 467"/>
                <a:gd name="T91" fmla="*/ 343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7" h="466">
                  <a:moveTo>
                    <a:pt x="234" y="0"/>
                  </a:moveTo>
                  <a:lnTo>
                    <a:pt x="234" y="0"/>
                  </a:lnTo>
                  <a:lnTo>
                    <a:pt x="210" y="1"/>
                  </a:lnTo>
                  <a:lnTo>
                    <a:pt x="187" y="4"/>
                  </a:lnTo>
                  <a:lnTo>
                    <a:pt x="164" y="10"/>
                  </a:lnTo>
                  <a:lnTo>
                    <a:pt x="143" y="18"/>
                  </a:lnTo>
                  <a:lnTo>
                    <a:pt x="123" y="27"/>
                  </a:lnTo>
                  <a:lnTo>
                    <a:pt x="103" y="39"/>
                  </a:lnTo>
                  <a:lnTo>
                    <a:pt x="85" y="53"/>
                  </a:lnTo>
                  <a:lnTo>
                    <a:pt x="68" y="68"/>
                  </a:lnTo>
                  <a:lnTo>
                    <a:pt x="55" y="85"/>
                  </a:lnTo>
                  <a:lnTo>
                    <a:pt x="41" y="103"/>
                  </a:lnTo>
                  <a:lnTo>
                    <a:pt x="29" y="121"/>
                  </a:lnTo>
                  <a:lnTo>
                    <a:pt x="20" y="142"/>
                  </a:lnTo>
                  <a:lnTo>
                    <a:pt x="11" y="164"/>
                  </a:lnTo>
                  <a:lnTo>
                    <a:pt x="6" y="185"/>
                  </a:lnTo>
                  <a:lnTo>
                    <a:pt x="2" y="209"/>
                  </a:lnTo>
                  <a:lnTo>
                    <a:pt x="0" y="232"/>
                  </a:lnTo>
                  <a:lnTo>
                    <a:pt x="0" y="232"/>
                  </a:lnTo>
                  <a:lnTo>
                    <a:pt x="2" y="256"/>
                  </a:lnTo>
                  <a:lnTo>
                    <a:pt x="6" y="279"/>
                  </a:lnTo>
                  <a:lnTo>
                    <a:pt x="11" y="302"/>
                  </a:lnTo>
                  <a:lnTo>
                    <a:pt x="20" y="323"/>
                  </a:lnTo>
                  <a:lnTo>
                    <a:pt x="29" y="343"/>
                  </a:lnTo>
                  <a:lnTo>
                    <a:pt x="41" y="363"/>
                  </a:lnTo>
                  <a:lnTo>
                    <a:pt x="55" y="381"/>
                  </a:lnTo>
                  <a:lnTo>
                    <a:pt x="68" y="398"/>
                  </a:lnTo>
                  <a:lnTo>
                    <a:pt x="85" y="413"/>
                  </a:lnTo>
                  <a:lnTo>
                    <a:pt x="103" y="425"/>
                  </a:lnTo>
                  <a:lnTo>
                    <a:pt x="123" y="437"/>
                  </a:lnTo>
                  <a:lnTo>
                    <a:pt x="143" y="448"/>
                  </a:lnTo>
                  <a:lnTo>
                    <a:pt x="164" y="455"/>
                  </a:lnTo>
                  <a:lnTo>
                    <a:pt x="187" y="460"/>
                  </a:lnTo>
                  <a:lnTo>
                    <a:pt x="210" y="464"/>
                  </a:lnTo>
                  <a:lnTo>
                    <a:pt x="234" y="466"/>
                  </a:lnTo>
                  <a:lnTo>
                    <a:pt x="234" y="466"/>
                  </a:lnTo>
                  <a:lnTo>
                    <a:pt x="257" y="464"/>
                  </a:lnTo>
                  <a:lnTo>
                    <a:pt x="281" y="460"/>
                  </a:lnTo>
                  <a:lnTo>
                    <a:pt x="302" y="455"/>
                  </a:lnTo>
                  <a:lnTo>
                    <a:pt x="324" y="448"/>
                  </a:lnTo>
                  <a:lnTo>
                    <a:pt x="345" y="437"/>
                  </a:lnTo>
                  <a:lnTo>
                    <a:pt x="365" y="425"/>
                  </a:lnTo>
                  <a:lnTo>
                    <a:pt x="381" y="413"/>
                  </a:lnTo>
                  <a:lnTo>
                    <a:pt x="398" y="398"/>
                  </a:lnTo>
                  <a:lnTo>
                    <a:pt x="413" y="381"/>
                  </a:lnTo>
                  <a:lnTo>
                    <a:pt x="427" y="363"/>
                  </a:lnTo>
                  <a:lnTo>
                    <a:pt x="439" y="343"/>
                  </a:lnTo>
                  <a:lnTo>
                    <a:pt x="448" y="323"/>
                  </a:lnTo>
                  <a:lnTo>
                    <a:pt x="456" y="302"/>
                  </a:lnTo>
                  <a:lnTo>
                    <a:pt x="462" y="279"/>
                  </a:lnTo>
                  <a:lnTo>
                    <a:pt x="465" y="256"/>
                  </a:lnTo>
                  <a:lnTo>
                    <a:pt x="467" y="232"/>
                  </a:lnTo>
                  <a:lnTo>
                    <a:pt x="467" y="232"/>
                  </a:lnTo>
                  <a:lnTo>
                    <a:pt x="465" y="209"/>
                  </a:lnTo>
                  <a:lnTo>
                    <a:pt x="462" y="185"/>
                  </a:lnTo>
                  <a:lnTo>
                    <a:pt x="456" y="164"/>
                  </a:lnTo>
                  <a:lnTo>
                    <a:pt x="448" y="142"/>
                  </a:lnTo>
                  <a:lnTo>
                    <a:pt x="439" y="121"/>
                  </a:lnTo>
                  <a:lnTo>
                    <a:pt x="427" y="103"/>
                  </a:lnTo>
                  <a:lnTo>
                    <a:pt x="413" y="85"/>
                  </a:lnTo>
                  <a:lnTo>
                    <a:pt x="398" y="68"/>
                  </a:lnTo>
                  <a:lnTo>
                    <a:pt x="381" y="53"/>
                  </a:lnTo>
                  <a:lnTo>
                    <a:pt x="365" y="39"/>
                  </a:lnTo>
                  <a:lnTo>
                    <a:pt x="345" y="27"/>
                  </a:lnTo>
                  <a:lnTo>
                    <a:pt x="324" y="18"/>
                  </a:lnTo>
                  <a:lnTo>
                    <a:pt x="302" y="10"/>
                  </a:lnTo>
                  <a:lnTo>
                    <a:pt x="281" y="4"/>
                  </a:lnTo>
                  <a:lnTo>
                    <a:pt x="257" y="1"/>
                  </a:lnTo>
                  <a:lnTo>
                    <a:pt x="234" y="0"/>
                  </a:lnTo>
                  <a:lnTo>
                    <a:pt x="234" y="0"/>
                  </a:lnTo>
                  <a:close/>
                  <a:moveTo>
                    <a:pt x="234" y="344"/>
                  </a:moveTo>
                  <a:lnTo>
                    <a:pt x="234" y="344"/>
                  </a:lnTo>
                  <a:lnTo>
                    <a:pt x="222" y="343"/>
                  </a:lnTo>
                  <a:lnTo>
                    <a:pt x="211" y="341"/>
                  </a:lnTo>
                  <a:lnTo>
                    <a:pt x="201" y="338"/>
                  </a:lnTo>
                  <a:lnTo>
                    <a:pt x="190" y="335"/>
                  </a:lnTo>
                  <a:lnTo>
                    <a:pt x="181" y="331"/>
                  </a:lnTo>
                  <a:lnTo>
                    <a:pt x="172" y="325"/>
                  </a:lnTo>
                  <a:lnTo>
                    <a:pt x="163" y="319"/>
                  </a:lnTo>
                  <a:lnTo>
                    <a:pt x="155" y="311"/>
                  </a:lnTo>
                  <a:lnTo>
                    <a:pt x="147" y="303"/>
                  </a:lnTo>
                  <a:lnTo>
                    <a:pt x="141" y="294"/>
                  </a:lnTo>
                  <a:lnTo>
                    <a:pt x="135" y="285"/>
                  </a:lnTo>
                  <a:lnTo>
                    <a:pt x="131" y="276"/>
                  </a:lnTo>
                  <a:lnTo>
                    <a:pt x="128" y="265"/>
                  </a:lnTo>
                  <a:lnTo>
                    <a:pt x="125" y="255"/>
                  </a:lnTo>
                  <a:lnTo>
                    <a:pt x="123" y="244"/>
                  </a:lnTo>
                  <a:lnTo>
                    <a:pt x="122" y="232"/>
                  </a:lnTo>
                  <a:lnTo>
                    <a:pt x="122" y="232"/>
                  </a:lnTo>
                  <a:lnTo>
                    <a:pt x="123" y="221"/>
                  </a:lnTo>
                  <a:lnTo>
                    <a:pt x="125" y="209"/>
                  </a:lnTo>
                  <a:lnTo>
                    <a:pt x="128" y="199"/>
                  </a:lnTo>
                  <a:lnTo>
                    <a:pt x="131" y="189"/>
                  </a:lnTo>
                  <a:lnTo>
                    <a:pt x="135" y="179"/>
                  </a:lnTo>
                  <a:lnTo>
                    <a:pt x="141" y="170"/>
                  </a:lnTo>
                  <a:lnTo>
                    <a:pt x="147" y="162"/>
                  </a:lnTo>
                  <a:lnTo>
                    <a:pt x="155" y="153"/>
                  </a:lnTo>
                  <a:lnTo>
                    <a:pt x="163" y="147"/>
                  </a:lnTo>
                  <a:lnTo>
                    <a:pt x="172" y="139"/>
                  </a:lnTo>
                  <a:lnTo>
                    <a:pt x="181" y="135"/>
                  </a:lnTo>
                  <a:lnTo>
                    <a:pt x="190" y="130"/>
                  </a:lnTo>
                  <a:lnTo>
                    <a:pt x="201" y="126"/>
                  </a:lnTo>
                  <a:lnTo>
                    <a:pt x="211" y="123"/>
                  </a:lnTo>
                  <a:lnTo>
                    <a:pt x="222" y="121"/>
                  </a:lnTo>
                  <a:lnTo>
                    <a:pt x="234" y="121"/>
                  </a:lnTo>
                  <a:lnTo>
                    <a:pt x="234" y="121"/>
                  </a:lnTo>
                  <a:lnTo>
                    <a:pt x="245" y="121"/>
                  </a:lnTo>
                  <a:lnTo>
                    <a:pt x="257" y="123"/>
                  </a:lnTo>
                  <a:lnTo>
                    <a:pt x="268" y="126"/>
                  </a:lnTo>
                  <a:lnTo>
                    <a:pt x="277" y="130"/>
                  </a:lnTo>
                  <a:lnTo>
                    <a:pt x="287" y="135"/>
                  </a:lnTo>
                  <a:lnTo>
                    <a:pt x="296" y="139"/>
                  </a:lnTo>
                  <a:lnTo>
                    <a:pt x="304" y="147"/>
                  </a:lnTo>
                  <a:lnTo>
                    <a:pt x="313" y="153"/>
                  </a:lnTo>
                  <a:lnTo>
                    <a:pt x="319" y="162"/>
                  </a:lnTo>
                  <a:lnTo>
                    <a:pt x="327" y="170"/>
                  </a:lnTo>
                  <a:lnTo>
                    <a:pt x="331" y="179"/>
                  </a:lnTo>
                  <a:lnTo>
                    <a:pt x="336" y="189"/>
                  </a:lnTo>
                  <a:lnTo>
                    <a:pt x="340" y="199"/>
                  </a:lnTo>
                  <a:lnTo>
                    <a:pt x="343" y="209"/>
                  </a:lnTo>
                  <a:lnTo>
                    <a:pt x="345" y="221"/>
                  </a:lnTo>
                  <a:lnTo>
                    <a:pt x="345" y="232"/>
                  </a:lnTo>
                  <a:lnTo>
                    <a:pt x="345" y="232"/>
                  </a:lnTo>
                  <a:lnTo>
                    <a:pt x="345" y="244"/>
                  </a:lnTo>
                  <a:lnTo>
                    <a:pt x="343" y="255"/>
                  </a:lnTo>
                  <a:lnTo>
                    <a:pt x="340" y="265"/>
                  </a:lnTo>
                  <a:lnTo>
                    <a:pt x="336" y="276"/>
                  </a:lnTo>
                  <a:lnTo>
                    <a:pt x="331" y="285"/>
                  </a:lnTo>
                  <a:lnTo>
                    <a:pt x="327" y="294"/>
                  </a:lnTo>
                  <a:lnTo>
                    <a:pt x="319" y="303"/>
                  </a:lnTo>
                  <a:lnTo>
                    <a:pt x="313" y="311"/>
                  </a:lnTo>
                  <a:lnTo>
                    <a:pt x="304" y="319"/>
                  </a:lnTo>
                  <a:lnTo>
                    <a:pt x="296" y="325"/>
                  </a:lnTo>
                  <a:lnTo>
                    <a:pt x="287" y="331"/>
                  </a:lnTo>
                  <a:lnTo>
                    <a:pt x="277" y="335"/>
                  </a:lnTo>
                  <a:lnTo>
                    <a:pt x="268" y="338"/>
                  </a:lnTo>
                  <a:lnTo>
                    <a:pt x="257" y="341"/>
                  </a:lnTo>
                  <a:lnTo>
                    <a:pt x="245" y="343"/>
                  </a:lnTo>
                  <a:lnTo>
                    <a:pt x="234" y="344"/>
                  </a:lnTo>
                  <a:lnTo>
                    <a:pt x="234" y="34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64" name="Rectangle 105"/>
            <p:cNvSpPr>
              <a:spLocks noChangeArrowheads="1"/>
            </p:cNvSpPr>
            <p:nvPr/>
          </p:nvSpPr>
          <p:spPr bwMode="auto">
            <a:xfrm>
              <a:off x="7138988" y="4348163"/>
              <a:ext cx="46038" cy="2365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65" name="Freeform 106"/>
            <p:cNvSpPr>
              <a:spLocks noEditPoints="1"/>
            </p:cNvSpPr>
            <p:nvPr/>
          </p:nvSpPr>
          <p:spPr bwMode="auto">
            <a:xfrm>
              <a:off x="7256463" y="4344988"/>
              <a:ext cx="207963" cy="242888"/>
            </a:xfrm>
            <a:custGeom>
              <a:avLst/>
              <a:gdLst>
                <a:gd name="T0" fmla="*/ 91 w 263"/>
                <a:gd name="T1" fmla="*/ 302 h 307"/>
                <a:gd name="T2" fmla="*/ 132 w 263"/>
                <a:gd name="T3" fmla="*/ 307 h 307"/>
                <a:gd name="T4" fmla="*/ 160 w 263"/>
                <a:gd name="T5" fmla="*/ 305 h 307"/>
                <a:gd name="T6" fmla="*/ 185 w 263"/>
                <a:gd name="T7" fmla="*/ 296 h 307"/>
                <a:gd name="T8" fmla="*/ 217 w 263"/>
                <a:gd name="T9" fmla="*/ 276 h 307"/>
                <a:gd name="T10" fmla="*/ 234 w 263"/>
                <a:gd name="T11" fmla="*/ 256 h 307"/>
                <a:gd name="T12" fmla="*/ 254 w 263"/>
                <a:gd name="T13" fmla="*/ 218 h 307"/>
                <a:gd name="T14" fmla="*/ 261 w 263"/>
                <a:gd name="T15" fmla="*/ 186 h 307"/>
                <a:gd name="T16" fmla="*/ 263 w 263"/>
                <a:gd name="T17" fmla="*/ 153 h 307"/>
                <a:gd name="T18" fmla="*/ 258 w 263"/>
                <a:gd name="T19" fmla="*/ 103 h 307"/>
                <a:gd name="T20" fmla="*/ 248 w 263"/>
                <a:gd name="T21" fmla="*/ 76 h 307"/>
                <a:gd name="T22" fmla="*/ 226 w 263"/>
                <a:gd name="T23" fmla="*/ 41 h 307"/>
                <a:gd name="T24" fmla="*/ 208 w 263"/>
                <a:gd name="T25" fmla="*/ 22 h 307"/>
                <a:gd name="T26" fmla="*/ 185 w 263"/>
                <a:gd name="T27" fmla="*/ 10 h 307"/>
                <a:gd name="T28" fmla="*/ 147 w 263"/>
                <a:gd name="T29" fmla="*/ 1 h 307"/>
                <a:gd name="T30" fmla="*/ 119 w 263"/>
                <a:gd name="T31" fmla="*/ 1 h 307"/>
                <a:gd name="T32" fmla="*/ 79 w 263"/>
                <a:gd name="T33" fmla="*/ 10 h 307"/>
                <a:gd name="T34" fmla="*/ 56 w 263"/>
                <a:gd name="T35" fmla="*/ 24 h 307"/>
                <a:gd name="T36" fmla="*/ 38 w 263"/>
                <a:gd name="T37" fmla="*/ 41 h 307"/>
                <a:gd name="T38" fmla="*/ 15 w 263"/>
                <a:gd name="T39" fmla="*/ 76 h 307"/>
                <a:gd name="T40" fmla="*/ 6 w 263"/>
                <a:gd name="T41" fmla="*/ 104 h 307"/>
                <a:gd name="T42" fmla="*/ 0 w 263"/>
                <a:gd name="T43" fmla="*/ 153 h 307"/>
                <a:gd name="T44" fmla="*/ 3 w 263"/>
                <a:gd name="T45" fmla="*/ 188 h 307"/>
                <a:gd name="T46" fmla="*/ 11 w 263"/>
                <a:gd name="T47" fmla="*/ 218 h 307"/>
                <a:gd name="T48" fmla="*/ 29 w 263"/>
                <a:gd name="T49" fmla="*/ 256 h 307"/>
                <a:gd name="T50" fmla="*/ 46 w 263"/>
                <a:gd name="T51" fmla="*/ 276 h 307"/>
                <a:gd name="T52" fmla="*/ 78 w 263"/>
                <a:gd name="T53" fmla="*/ 297 h 307"/>
                <a:gd name="T54" fmla="*/ 67 w 263"/>
                <a:gd name="T55" fmla="*/ 112 h 307"/>
                <a:gd name="T56" fmla="*/ 81 w 263"/>
                <a:gd name="T57" fmla="*/ 83 h 307"/>
                <a:gd name="T58" fmla="*/ 103 w 263"/>
                <a:gd name="T59" fmla="*/ 65 h 307"/>
                <a:gd name="T60" fmla="*/ 131 w 263"/>
                <a:gd name="T61" fmla="*/ 59 h 307"/>
                <a:gd name="T62" fmla="*/ 160 w 263"/>
                <a:gd name="T63" fmla="*/ 65 h 307"/>
                <a:gd name="T64" fmla="*/ 182 w 263"/>
                <a:gd name="T65" fmla="*/ 83 h 307"/>
                <a:gd name="T66" fmla="*/ 196 w 263"/>
                <a:gd name="T67" fmla="*/ 114 h 307"/>
                <a:gd name="T68" fmla="*/ 202 w 263"/>
                <a:gd name="T69" fmla="*/ 153 h 307"/>
                <a:gd name="T70" fmla="*/ 198 w 263"/>
                <a:gd name="T71" fmla="*/ 194 h 307"/>
                <a:gd name="T72" fmla="*/ 182 w 263"/>
                <a:gd name="T73" fmla="*/ 223 h 307"/>
                <a:gd name="T74" fmla="*/ 161 w 263"/>
                <a:gd name="T75" fmla="*/ 241 h 307"/>
                <a:gd name="T76" fmla="*/ 132 w 263"/>
                <a:gd name="T77" fmla="*/ 247 h 307"/>
                <a:gd name="T78" fmla="*/ 103 w 263"/>
                <a:gd name="T79" fmla="*/ 241 h 307"/>
                <a:gd name="T80" fmla="*/ 82 w 263"/>
                <a:gd name="T81" fmla="*/ 223 h 307"/>
                <a:gd name="T82" fmla="*/ 67 w 263"/>
                <a:gd name="T83" fmla="*/ 193 h 307"/>
                <a:gd name="T84" fmla="*/ 62 w 263"/>
                <a:gd name="T85" fmla="*/ 153 h 307"/>
                <a:gd name="T86" fmla="*/ 67 w 263"/>
                <a:gd name="T87" fmla="*/ 112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3" h="307">
                  <a:moveTo>
                    <a:pt x="78" y="297"/>
                  </a:moveTo>
                  <a:lnTo>
                    <a:pt x="78" y="297"/>
                  </a:lnTo>
                  <a:lnTo>
                    <a:pt x="91" y="302"/>
                  </a:lnTo>
                  <a:lnTo>
                    <a:pt x="103" y="305"/>
                  </a:lnTo>
                  <a:lnTo>
                    <a:pt x="117" y="307"/>
                  </a:lnTo>
                  <a:lnTo>
                    <a:pt x="132" y="307"/>
                  </a:lnTo>
                  <a:lnTo>
                    <a:pt x="132" y="307"/>
                  </a:lnTo>
                  <a:lnTo>
                    <a:pt x="146" y="307"/>
                  </a:lnTo>
                  <a:lnTo>
                    <a:pt x="160" y="305"/>
                  </a:lnTo>
                  <a:lnTo>
                    <a:pt x="172" y="300"/>
                  </a:lnTo>
                  <a:lnTo>
                    <a:pt x="185" y="296"/>
                  </a:lnTo>
                  <a:lnTo>
                    <a:pt x="185" y="296"/>
                  </a:lnTo>
                  <a:lnTo>
                    <a:pt x="196" y="291"/>
                  </a:lnTo>
                  <a:lnTo>
                    <a:pt x="207" y="284"/>
                  </a:lnTo>
                  <a:lnTo>
                    <a:pt x="217" y="276"/>
                  </a:lnTo>
                  <a:lnTo>
                    <a:pt x="226" y="265"/>
                  </a:lnTo>
                  <a:lnTo>
                    <a:pt x="226" y="265"/>
                  </a:lnTo>
                  <a:lnTo>
                    <a:pt x="234" y="256"/>
                  </a:lnTo>
                  <a:lnTo>
                    <a:pt x="242" y="244"/>
                  </a:lnTo>
                  <a:lnTo>
                    <a:pt x="248" y="232"/>
                  </a:lnTo>
                  <a:lnTo>
                    <a:pt x="254" y="218"/>
                  </a:lnTo>
                  <a:lnTo>
                    <a:pt x="254" y="218"/>
                  </a:lnTo>
                  <a:lnTo>
                    <a:pt x="258" y="203"/>
                  </a:lnTo>
                  <a:lnTo>
                    <a:pt x="261" y="186"/>
                  </a:lnTo>
                  <a:lnTo>
                    <a:pt x="263" y="171"/>
                  </a:lnTo>
                  <a:lnTo>
                    <a:pt x="263" y="153"/>
                  </a:lnTo>
                  <a:lnTo>
                    <a:pt x="263" y="153"/>
                  </a:lnTo>
                  <a:lnTo>
                    <a:pt x="263" y="135"/>
                  </a:lnTo>
                  <a:lnTo>
                    <a:pt x="261" y="118"/>
                  </a:lnTo>
                  <a:lnTo>
                    <a:pt x="258" y="103"/>
                  </a:lnTo>
                  <a:lnTo>
                    <a:pt x="254" y="88"/>
                  </a:lnTo>
                  <a:lnTo>
                    <a:pt x="254" y="88"/>
                  </a:lnTo>
                  <a:lnTo>
                    <a:pt x="248" y="76"/>
                  </a:lnTo>
                  <a:lnTo>
                    <a:pt x="242" y="62"/>
                  </a:lnTo>
                  <a:lnTo>
                    <a:pt x="236" y="51"/>
                  </a:lnTo>
                  <a:lnTo>
                    <a:pt x="226" y="41"/>
                  </a:lnTo>
                  <a:lnTo>
                    <a:pt x="226" y="41"/>
                  </a:lnTo>
                  <a:lnTo>
                    <a:pt x="217" y="31"/>
                  </a:lnTo>
                  <a:lnTo>
                    <a:pt x="208" y="22"/>
                  </a:lnTo>
                  <a:lnTo>
                    <a:pt x="198" y="16"/>
                  </a:lnTo>
                  <a:lnTo>
                    <a:pt x="185" y="10"/>
                  </a:lnTo>
                  <a:lnTo>
                    <a:pt x="185" y="10"/>
                  </a:lnTo>
                  <a:lnTo>
                    <a:pt x="173" y="6"/>
                  </a:lnTo>
                  <a:lnTo>
                    <a:pt x="160" y="3"/>
                  </a:lnTo>
                  <a:lnTo>
                    <a:pt x="147" y="1"/>
                  </a:lnTo>
                  <a:lnTo>
                    <a:pt x="132" y="0"/>
                  </a:lnTo>
                  <a:lnTo>
                    <a:pt x="132" y="0"/>
                  </a:lnTo>
                  <a:lnTo>
                    <a:pt x="119" y="1"/>
                  </a:lnTo>
                  <a:lnTo>
                    <a:pt x="105" y="3"/>
                  </a:lnTo>
                  <a:lnTo>
                    <a:pt x="91" y="6"/>
                  </a:lnTo>
                  <a:lnTo>
                    <a:pt x="79" y="10"/>
                  </a:lnTo>
                  <a:lnTo>
                    <a:pt x="79" y="10"/>
                  </a:lnTo>
                  <a:lnTo>
                    <a:pt x="67" y="16"/>
                  </a:lnTo>
                  <a:lnTo>
                    <a:pt x="56" y="24"/>
                  </a:lnTo>
                  <a:lnTo>
                    <a:pt x="47" y="31"/>
                  </a:lnTo>
                  <a:lnTo>
                    <a:pt x="38" y="41"/>
                  </a:lnTo>
                  <a:lnTo>
                    <a:pt x="38" y="41"/>
                  </a:lnTo>
                  <a:lnTo>
                    <a:pt x="29" y="51"/>
                  </a:lnTo>
                  <a:lnTo>
                    <a:pt x="21" y="63"/>
                  </a:lnTo>
                  <a:lnTo>
                    <a:pt x="15" y="76"/>
                  </a:lnTo>
                  <a:lnTo>
                    <a:pt x="11" y="89"/>
                  </a:lnTo>
                  <a:lnTo>
                    <a:pt x="11" y="89"/>
                  </a:lnTo>
                  <a:lnTo>
                    <a:pt x="6" y="104"/>
                  </a:lnTo>
                  <a:lnTo>
                    <a:pt x="3" y="120"/>
                  </a:lnTo>
                  <a:lnTo>
                    <a:pt x="2" y="136"/>
                  </a:lnTo>
                  <a:lnTo>
                    <a:pt x="0" y="153"/>
                  </a:lnTo>
                  <a:lnTo>
                    <a:pt x="0" y="153"/>
                  </a:lnTo>
                  <a:lnTo>
                    <a:pt x="2" y="171"/>
                  </a:lnTo>
                  <a:lnTo>
                    <a:pt x="3" y="188"/>
                  </a:lnTo>
                  <a:lnTo>
                    <a:pt x="6" y="203"/>
                  </a:lnTo>
                  <a:lnTo>
                    <a:pt x="11" y="218"/>
                  </a:lnTo>
                  <a:lnTo>
                    <a:pt x="11" y="218"/>
                  </a:lnTo>
                  <a:lnTo>
                    <a:pt x="15" y="232"/>
                  </a:lnTo>
                  <a:lnTo>
                    <a:pt x="21" y="244"/>
                  </a:lnTo>
                  <a:lnTo>
                    <a:pt x="29" y="256"/>
                  </a:lnTo>
                  <a:lnTo>
                    <a:pt x="36" y="267"/>
                  </a:lnTo>
                  <a:lnTo>
                    <a:pt x="36" y="267"/>
                  </a:lnTo>
                  <a:lnTo>
                    <a:pt x="46" y="276"/>
                  </a:lnTo>
                  <a:lnTo>
                    <a:pt x="56" y="284"/>
                  </a:lnTo>
                  <a:lnTo>
                    <a:pt x="67" y="291"/>
                  </a:lnTo>
                  <a:lnTo>
                    <a:pt x="78" y="297"/>
                  </a:lnTo>
                  <a:lnTo>
                    <a:pt x="78" y="297"/>
                  </a:lnTo>
                  <a:close/>
                  <a:moveTo>
                    <a:pt x="67" y="112"/>
                  </a:moveTo>
                  <a:lnTo>
                    <a:pt x="67" y="112"/>
                  </a:lnTo>
                  <a:lnTo>
                    <a:pt x="73" y="97"/>
                  </a:lnTo>
                  <a:lnTo>
                    <a:pt x="81" y="83"/>
                  </a:lnTo>
                  <a:lnTo>
                    <a:pt x="81" y="83"/>
                  </a:lnTo>
                  <a:lnTo>
                    <a:pt x="91" y="73"/>
                  </a:lnTo>
                  <a:lnTo>
                    <a:pt x="103" y="65"/>
                  </a:lnTo>
                  <a:lnTo>
                    <a:pt x="103" y="65"/>
                  </a:lnTo>
                  <a:lnTo>
                    <a:pt x="117" y="60"/>
                  </a:lnTo>
                  <a:lnTo>
                    <a:pt x="131" y="59"/>
                  </a:lnTo>
                  <a:lnTo>
                    <a:pt x="131" y="59"/>
                  </a:lnTo>
                  <a:lnTo>
                    <a:pt x="146" y="60"/>
                  </a:lnTo>
                  <a:lnTo>
                    <a:pt x="160" y="65"/>
                  </a:lnTo>
                  <a:lnTo>
                    <a:pt x="160" y="65"/>
                  </a:lnTo>
                  <a:lnTo>
                    <a:pt x="172" y="73"/>
                  </a:lnTo>
                  <a:lnTo>
                    <a:pt x="182" y="83"/>
                  </a:lnTo>
                  <a:lnTo>
                    <a:pt x="182" y="83"/>
                  </a:lnTo>
                  <a:lnTo>
                    <a:pt x="190" y="97"/>
                  </a:lnTo>
                  <a:lnTo>
                    <a:pt x="196" y="114"/>
                  </a:lnTo>
                  <a:lnTo>
                    <a:pt x="196" y="114"/>
                  </a:lnTo>
                  <a:lnTo>
                    <a:pt x="201" y="132"/>
                  </a:lnTo>
                  <a:lnTo>
                    <a:pt x="202" y="153"/>
                  </a:lnTo>
                  <a:lnTo>
                    <a:pt x="202" y="153"/>
                  </a:lnTo>
                  <a:lnTo>
                    <a:pt x="201" y="176"/>
                  </a:lnTo>
                  <a:lnTo>
                    <a:pt x="198" y="194"/>
                  </a:lnTo>
                  <a:lnTo>
                    <a:pt x="198" y="194"/>
                  </a:lnTo>
                  <a:lnTo>
                    <a:pt x="191" y="211"/>
                  </a:lnTo>
                  <a:lnTo>
                    <a:pt x="182" y="223"/>
                  </a:lnTo>
                  <a:lnTo>
                    <a:pt x="182" y="223"/>
                  </a:lnTo>
                  <a:lnTo>
                    <a:pt x="173" y="234"/>
                  </a:lnTo>
                  <a:lnTo>
                    <a:pt x="161" y="241"/>
                  </a:lnTo>
                  <a:lnTo>
                    <a:pt x="161" y="241"/>
                  </a:lnTo>
                  <a:lnTo>
                    <a:pt x="147" y="246"/>
                  </a:lnTo>
                  <a:lnTo>
                    <a:pt x="132" y="247"/>
                  </a:lnTo>
                  <a:lnTo>
                    <a:pt x="132" y="247"/>
                  </a:lnTo>
                  <a:lnTo>
                    <a:pt x="117" y="246"/>
                  </a:lnTo>
                  <a:lnTo>
                    <a:pt x="103" y="241"/>
                  </a:lnTo>
                  <a:lnTo>
                    <a:pt x="103" y="241"/>
                  </a:lnTo>
                  <a:lnTo>
                    <a:pt x="91" y="234"/>
                  </a:lnTo>
                  <a:lnTo>
                    <a:pt x="82" y="223"/>
                  </a:lnTo>
                  <a:lnTo>
                    <a:pt x="82" y="223"/>
                  </a:lnTo>
                  <a:lnTo>
                    <a:pt x="73" y="209"/>
                  </a:lnTo>
                  <a:lnTo>
                    <a:pt x="67" y="193"/>
                  </a:lnTo>
                  <a:lnTo>
                    <a:pt x="67" y="193"/>
                  </a:lnTo>
                  <a:lnTo>
                    <a:pt x="64" y="174"/>
                  </a:lnTo>
                  <a:lnTo>
                    <a:pt x="62" y="153"/>
                  </a:lnTo>
                  <a:lnTo>
                    <a:pt x="62" y="153"/>
                  </a:lnTo>
                  <a:lnTo>
                    <a:pt x="62" y="132"/>
                  </a:lnTo>
                  <a:lnTo>
                    <a:pt x="67" y="112"/>
                  </a:lnTo>
                  <a:lnTo>
                    <a:pt x="67" y="1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66" name="Freeform 107"/>
            <p:cNvSpPr>
              <a:spLocks/>
            </p:cNvSpPr>
            <p:nvPr/>
          </p:nvSpPr>
          <p:spPr bwMode="auto">
            <a:xfrm>
              <a:off x="7499351" y="4348163"/>
              <a:ext cx="184150" cy="236538"/>
            </a:xfrm>
            <a:custGeom>
              <a:avLst/>
              <a:gdLst>
                <a:gd name="T0" fmla="*/ 144 w 231"/>
                <a:gd name="T1" fmla="*/ 298 h 298"/>
                <a:gd name="T2" fmla="*/ 144 w 231"/>
                <a:gd name="T3" fmla="*/ 59 h 298"/>
                <a:gd name="T4" fmla="*/ 231 w 231"/>
                <a:gd name="T5" fmla="*/ 59 h 298"/>
                <a:gd name="T6" fmla="*/ 231 w 231"/>
                <a:gd name="T7" fmla="*/ 0 h 298"/>
                <a:gd name="T8" fmla="*/ 0 w 231"/>
                <a:gd name="T9" fmla="*/ 0 h 298"/>
                <a:gd name="T10" fmla="*/ 0 w 231"/>
                <a:gd name="T11" fmla="*/ 59 h 298"/>
                <a:gd name="T12" fmla="*/ 85 w 231"/>
                <a:gd name="T13" fmla="*/ 59 h 298"/>
                <a:gd name="T14" fmla="*/ 85 w 231"/>
                <a:gd name="T15" fmla="*/ 298 h 298"/>
                <a:gd name="T16" fmla="*/ 144 w 231"/>
                <a:gd name="T17"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298">
                  <a:moveTo>
                    <a:pt x="144" y="298"/>
                  </a:moveTo>
                  <a:lnTo>
                    <a:pt x="144" y="59"/>
                  </a:lnTo>
                  <a:lnTo>
                    <a:pt x="231" y="59"/>
                  </a:lnTo>
                  <a:lnTo>
                    <a:pt x="231" y="0"/>
                  </a:lnTo>
                  <a:lnTo>
                    <a:pt x="0" y="0"/>
                  </a:lnTo>
                  <a:lnTo>
                    <a:pt x="0" y="59"/>
                  </a:lnTo>
                  <a:lnTo>
                    <a:pt x="85" y="59"/>
                  </a:lnTo>
                  <a:lnTo>
                    <a:pt x="85" y="298"/>
                  </a:lnTo>
                  <a:lnTo>
                    <a:pt x="144"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grpSp>
      <p:grpSp>
        <p:nvGrpSpPr>
          <p:cNvPr id="167" name="Gruppieren 175"/>
          <p:cNvGrpSpPr/>
          <p:nvPr/>
        </p:nvGrpSpPr>
        <p:grpSpPr>
          <a:xfrm>
            <a:off x="11070822" y="1283278"/>
            <a:ext cx="460529" cy="639482"/>
            <a:chOff x="6264275" y="-149225"/>
            <a:chExt cx="1139825" cy="1582738"/>
          </a:xfrm>
          <a:solidFill>
            <a:schemeClr val="tx1"/>
          </a:solidFill>
        </p:grpSpPr>
        <p:sp>
          <p:nvSpPr>
            <p:cNvPr id="168" name="Freeform 11"/>
            <p:cNvSpPr>
              <a:spLocks/>
            </p:cNvSpPr>
            <p:nvPr/>
          </p:nvSpPr>
          <p:spPr bwMode="auto">
            <a:xfrm>
              <a:off x="6650038" y="277813"/>
              <a:ext cx="128588" cy="128588"/>
            </a:xfrm>
            <a:custGeom>
              <a:avLst/>
              <a:gdLst>
                <a:gd name="T0" fmla="*/ 81 w 81"/>
                <a:gd name="T1" fmla="*/ 40 h 81"/>
                <a:gd name="T2" fmla="*/ 41 w 81"/>
                <a:gd name="T3" fmla="*/ 0 h 81"/>
                <a:gd name="T4" fmla="*/ 0 w 81"/>
                <a:gd name="T5" fmla="*/ 40 h 81"/>
                <a:gd name="T6" fmla="*/ 41 w 81"/>
                <a:gd name="T7" fmla="*/ 81 h 81"/>
                <a:gd name="T8" fmla="*/ 81 w 81"/>
                <a:gd name="T9" fmla="*/ 40 h 81"/>
              </a:gdLst>
              <a:ahLst/>
              <a:cxnLst>
                <a:cxn ang="0">
                  <a:pos x="T0" y="T1"/>
                </a:cxn>
                <a:cxn ang="0">
                  <a:pos x="T2" y="T3"/>
                </a:cxn>
                <a:cxn ang="0">
                  <a:pos x="T4" y="T5"/>
                </a:cxn>
                <a:cxn ang="0">
                  <a:pos x="T6" y="T7"/>
                </a:cxn>
                <a:cxn ang="0">
                  <a:pos x="T8" y="T9"/>
                </a:cxn>
              </a:cxnLst>
              <a:rect l="0" t="0" r="r" b="b"/>
              <a:pathLst>
                <a:path w="81" h="81">
                  <a:moveTo>
                    <a:pt x="81" y="40"/>
                  </a:moveTo>
                  <a:lnTo>
                    <a:pt x="41" y="0"/>
                  </a:lnTo>
                  <a:lnTo>
                    <a:pt x="0" y="40"/>
                  </a:lnTo>
                  <a:lnTo>
                    <a:pt x="41" y="81"/>
                  </a:lnTo>
                  <a:lnTo>
                    <a:pt x="81"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69" name="Rectangle 12"/>
            <p:cNvSpPr>
              <a:spLocks noChangeArrowheads="1"/>
            </p:cNvSpPr>
            <p:nvPr/>
          </p:nvSpPr>
          <p:spPr bwMode="auto">
            <a:xfrm>
              <a:off x="6786563" y="1176338"/>
              <a:ext cx="114300"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0" name="Rectangle 13"/>
            <p:cNvSpPr>
              <a:spLocks noChangeArrowheads="1"/>
            </p:cNvSpPr>
            <p:nvPr/>
          </p:nvSpPr>
          <p:spPr bwMode="auto">
            <a:xfrm>
              <a:off x="6786563" y="1320800"/>
              <a:ext cx="114300" cy="112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1" name="Freeform 14"/>
            <p:cNvSpPr>
              <a:spLocks/>
            </p:cNvSpPr>
            <p:nvPr/>
          </p:nvSpPr>
          <p:spPr bwMode="auto">
            <a:xfrm>
              <a:off x="6384925" y="466725"/>
              <a:ext cx="915988" cy="679450"/>
            </a:xfrm>
            <a:custGeom>
              <a:avLst/>
              <a:gdLst>
                <a:gd name="T0" fmla="*/ 224 w 242"/>
                <a:gd name="T1" fmla="*/ 6 h 180"/>
                <a:gd name="T2" fmla="*/ 169 w 242"/>
                <a:gd name="T3" fmla="*/ 15 h 180"/>
                <a:gd name="T4" fmla="*/ 131 w 242"/>
                <a:gd name="T5" fmla="*/ 105 h 180"/>
                <a:gd name="T6" fmla="*/ 131 w 242"/>
                <a:gd name="T7" fmla="*/ 149 h 180"/>
                <a:gd name="T8" fmla="*/ 121 w 242"/>
                <a:gd name="T9" fmla="*/ 151 h 180"/>
                <a:gd name="T10" fmla="*/ 110 w 242"/>
                <a:gd name="T11" fmla="*/ 149 h 180"/>
                <a:gd name="T12" fmla="*/ 110 w 242"/>
                <a:gd name="T13" fmla="*/ 105 h 180"/>
                <a:gd name="T14" fmla="*/ 27 w 242"/>
                <a:gd name="T15" fmla="*/ 8 h 180"/>
                <a:gd name="T16" fmla="*/ 18 w 242"/>
                <a:gd name="T17" fmla="*/ 6 h 180"/>
                <a:gd name="T18" fmla="*/ 0 w 242"/>
                <a:gd name="T19" fmla="*/ 0 h 180"/>
                <a:gd name="T20" fmla="*/ 94 w 242"/>
                <a:gd name="T21" fmla="*/ 111 h 180"/>
                <a:gd name="T22" fmla="*/ 94 w 242"/>
                <a:gd name="T23" fmla="*/ 152 h 180"/>
                <a:gd name="T24" fmla="*/ 105 w 242"/>
                <a:gd name="T25" fmla="*/ 165 h 180"/>
                <a:gd name="T26" fmla="*/ 106 w 242"/>
                <a:gd name="T27" fmla="*/ 165 h 180"/>
                <a:gd name="T28" fmla="*/ 106 w 242"/>
                <a:gd name="T29" fmla="*/ 180 h 180"/>
                <a:gd name="T30" fmla="*/ 136 w 242"/>
                <a:gd name="T31" fmla="*/ 180 h 180"/>
                <a:gd name="T32" fmla="*/ 136 w 242"/>
                <a:gd name="T33" fmla="*/ 165 h 180"/>
                <a:gd name="T34" fmla="*/ 136 w 242"/>
                <a:gd name="T35" fmla="*/ 165 h 180"/>
                <a:gd name="T36" fmla="*/ 147 w 242"/>
                <a:gd name="T37" fmla="*/ 152 h 180"/>
                <a:gd name="T38" fmla="*/ 147 w 242"/>
                <a:gd name="T39" fmla="*/ 111 h 180"/>
                <a:gd name="T40" fmla="*/ 242 w 242"/>
                <a:gd name="T41" fmla="*/ 0 h 180"/>
                <a:gd name="T42" fmla="*/ 224 w 242"/>
                <a:gd name="T43" fmla="*/ 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2" h="180">
                  <a:moveTo>
                    <a:pt x="224" y="6"/>
                  </a:moveTo>
                  <a:cubicBezTo>
                    <a:pt x="208" y="10"/>
                    <a:pt x="189" y="13"/>
                    <a:pt x="169" y="15"/>
                  </a:cubicBezTo>
                  <a:cubicBezTo>
                    <a:pt x="131" y="105"/>
                    <a:pt x="131" y="105"/>
                    <a:pt x="131" y="105"/>
                  </a:cubicBezTo>
                  <a:cubicBezTo>
                    <a:pt x="131" y="149"/>
                    <a:pt x="131" y="149"/>
                    <a:pt x="131" y="149"/>
                  </a:cubicBezTo>
                  <a:cubicBezTo>
                    <a:pt x="129" y="150"/>
                    <a:pt x="125" y="151"/>
                    <a:pt x="121" y="151"/>
                  </a:cubicBezTo>
                  <a:cubicBezTo>
                    <a:pt x="116" y="151"/>
                    <a:pt x="112" y="150"/>
                    <a:pt x="110" y="149"/>
                  </a:cubicBezTo>
                  <a:cubicBezTo>
                    <a:pt x="110" y="105"/>
                    <a:pt x="110" y="105"/>
                    <a:pt x="110" y="105"/>
                  </a:cubicBezTo>
                  <a:cubicBezTo>
                    <a:pt x="27" y="8"/>
                    <a:pt x="27" y="8"/>
                    <a:pt x="27" y="8"/>
                  </a:cubicBezTo>
                  <a:cubicBezTo>
                    <a:pt x="24" y="7"/>
                    <a:pt x="21" y="7"/>
                    <a:pt x="18" y="6"/>
                  </a:cubicBezTo>
                  <a:cubicBezTo>
                    <a:pt x="11" y="4"/>
                    <a:pt x="5" y="2"/>
                    <a:pt x="0" y="0"/>
                  </a:cubicBezTo>
                  <a:cubicBezTo>
                    <a:pt x="94" y="111"/>
                    <a:pt x="94" y="111"/>
                    <a:pt x="94" y="111"/>
                  </a:cubicBezTo>
                  <a:cubicBezTo>
                    <a:pt x="94" y="152"/>
                    <a:pt x="94" y="152"/>
                    <a:pt x="94" y="152"/>
                  </a:cubicBezTo>
                  <a:cubicBezTo>
                    <a:pt x="94" y="155"/>
                    <a:pt x="96" y="161"/>
                    <a:pt x="105" y="165"/>
                  </a:cubicBezTo>
                  <a:cubicBezTo>
                    <a:pt x="105" y="165"/>
                    <a:pt x="106" y="165"/>
                    <a:pt x="106" y="165"/>
                  </a:cubicBezTo>
                  <a:cubicBezTo>
                    <a:pt x="106" y="180"/>
                    <a:pt x="106" y="180"/>
                    <a:pt x="106" y="180"/>
                  </a:cubicBezTo>
                  <a:cubicBezTo>
                    <a:pt x="136" y="180"/>
                    <a:pt x="136" y="180"/>
                    <a:pt x="136" y="180"/>
                  </a:cubicBezTo>
                  <a:cubicBezTo>
                    <a:pt x="136" y="165"/>
                    <a:pt x="136" y="165"/>
                    <a:pt x="136" y="165"/>
                  </a:cubicBezTo>
                  <a:cubicBezTo>
                    <a:pt x="136" y="165"/>
                    <a:pt x="136" y="165"/>
                    <a:pt x="136" y="165"/>
                  </a:cubicBezTo>
                  <a:cubicBezTo>
                    <a:pt x="145" y="161"/>
                    <a:pt x="147" y="155"/>
                    <a:pt x="147" y="152"/>
                  </a:cubicBezTo>
                  <a:cubicBezTo>
                    <a:pt x="147" y="111"/>
                    <a:pt x="147" y="111"/>
                    <a:pt x="147" y="111"/>
                  </a:cubicBezTo>
                  <a:cubicBezTo>
                    <a:pt x="242" y="0"/>
                    <a:pt x="242" y="0"/>
                    <a:pt x="242" y="0"/>
                  </a:cubicBezTo>
                  <a:cubicBezTo>
                    <a:pt x="236" y="2"/>
                    <a:pt x="230" y="4"/>
                    <a:pt x="224"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2" name="Rectangle 15"/>
            <p:cNvSpPr>
              <a:spLocks noChangeArrowheads="1"/>
            </p:cNvSpPr>
            <p:nvPr/>
          </p:nvSpPr>
          <p:spPr bwMode="auto">
            <a:xfrm>
              <a:off x="6450013" y="157163"/>
              <a:ext cx="150813" cy="1539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3" name="Rectangle 16"/>
            <p:cNvSpPr>
              <a:spLocks noChangeArrowheads="1"/>
            </p:cNvSpPr>
            <p:nvPr/>
          </p:nvSpPr>
          <p:spPr bwMode="auto">
            <a:xfrm>
              <a:off x="6778625" y="-53975"/>
              <a:ext cx="152400" cy="150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4" name="Freeform 17"/>
            <p:cNvSpPr>
              <a:spLocks/>
            </p:cNvSpPr>
            <p:nvPr/>
          </p:nvSpPr>
          <p:spPr bwMode="auto">
            <a:xfrm>
              <a:off x="6551613" y="-34925"/>
              <a:ext cx="163513" cy="161925"/>
            </a:xfrm>
            <a:custGeom>
              <a:avLst/>
              <a:gdLst>
                <a:gd name="T0" fmla="*/ 103 w 103"/>
                <a:gd name="T1" fmla="*/ 52 h 102"/>
                <a:gd name="T2" fmla="*/ 50 w 103"/>
                <a:gd name="T3" fmla="*/ 0 h 102"/>
                <a:gd name="T4" fmla="*/ 0 w 103"/>
                <a:gd name="T5" fmla="*/ 52 h 102"/>
                <a:gd name="T6" fmla="*/ 50 w 103"/>
                <a:gd name="T7" fmla="*/ 102 h 102"/>
                <a:gd name="T8" fmla="*/ 103 w 103"/>
                <a:gd name="T9" fmla="*/ 52 h 102"/>
              </a:gdLst>
              <a:ahLst/>
              <a:cxnLst>
                <a:cxn ang="0">
                  <a:pos x="T0" y="T1"/>
                </a:cxn>
                <a:cxn ang="0">
                  <a:pos x="T2" y="T3"/>
                </a:cxn>
                <a:cxn ang="0">
                  <a:pos x="T4" y="T5"/>
                </a:cxn>
                <a:cxn ang="0">
                  <a:pos x="T6" y="T7"/>
                </a:cxn>
                <a:cxn ang="0">
                  <a:pos x="T8" y="T9"/>
                </a:cxn>
              </a:cxnLst>
              <a:rect l="0" t="0" r="r" b="b"/>
              <a:pathLst>
                <a:path w="103" h="102">
                  <a:moveTo>
                    <a:pt x="103" y="52"/>
                  </a:moveTo>
                  <a:lnTo>
                    <a:pt x="50" y="0"/>
                  </a:lnTo>
                  <a:lnTo>
                    <a:pt x="0" y="52"/>
                  </a:lnTo>
                  <a:lnTo>
                    <a:pt x="50" y="102"/>
                  </a:lnTo>
                  <a:lnTo>
                    <a:pt x="103"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5" name="Rectangle 18"/>
            <p:cNvSpPr>
              <a:spLocks noChangeArrowheads="1"/>
            </p:cNvSpPr>
            <p:nvPr/>
          </p:nvSpPr>
          <p:spPr bwMode="auto">
            <a:xfrm>
              <a:off x="6264275" y="-92075"/>
              <a:ext cx="193675" cy="1920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6" name="Rectangle 19"/>
            <p:cNvSpPr>
              <a:spLocks noChangeArrowheads="1"/>
            </p:cNvSpPr>
            <p:nvPr/>
          </p:nvSpPr>
          <p:spPr bwMode="auto">
            <a:xfrm>
              <a:off x="7016750" y="-149225"/>
              <a:ext cx="227013" cy="2270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7" name="Rectangle 20"/>
            <p:cNvSpPr>
              <a:spLocks noChangeArrowheads="1"/>
            </p:cNvSpPr>
            <p:nvPr/>
          </p:nvSpPr>
          <p:spPr bwMode="auto">
            <a:xfrm>
              <a:off x="6937375" y="141288"/>
              <a:ext cx="95250" cy="952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8" name="Freeform 21"/>
            <p:cNvSpPr>
              <a:spLocks/>
            </p:cNvSpPr>
            <p:nvPr/>
          </p:nvSpPr>
          <p:spPr bwMode="auto">
            <a:xfrm>
              <a:off x="6630988" y="176213"/>
              <a:ext cx="276225" cy="71438"/>
            </a:xfrm>
            <a:custGeom>
              <a:avLst/>
              <a:gdLst>
                <a:gd name="T0" fmla="*/ 73 w 73"/>
                <a:gd name="T1" fmla="*/ 16 h 19"/>
                <a:gd name="T2" fmla="*/ 73 w 73"/>
                <a:gd name="T3" fmla="*/ 16 h 19"/>
                <a:gd name="T4" fmla="*/ 73 w 73"/>
                <a:gd name="T5" fmla="*/ 0 h 19"/>
                <a:gd name="T6" fmla="*/ 56 w 73"/>
                <a:gd name="T7" fmla="*/ 0 h 19"/>
                <a:gd name="T8" fmla="*/ 0 w 73"/>
                <a:gd name="T9" fmla="*/ 3 h 19"/>
                <a:gd name="T10" fmla="*/ 0 w 73"/>
                <a:gd name="T11" fmla="*/ 19 h 19"/>
                <a:gd name="T12" fmla="*/ 56 w 73"/>
                <a:gd name="T13" fmla="*/ 16 h 19"/>
                <a:gd name="T14" fmla="*/ 73 w 73"/>
                <a:gd name="T15" fmla="*/ 1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19">
                  <a:moveTo>
                    <a:pt x="73" y="16"/>
                  </a:moveTo>
                  <a:cubicBezTo>
                    <a:pt x="73" y="16"/>
                    <a:pt x="73" y="16"/>
                    <a:pt x="73" y="16"/>
                  </a:cubicBezTo>
                  <a:cubicBezTo>
                    <a:pt x="73" y="0"/>
                    <a:pt x="73" y="0"/>
                    <a:pt x="73" y="0"/>
                  </a:cubicBezTo>
                  <a:cubicBezTo>
                    <a:pt x="67" y="0"/>
                    <a:pt x="62" y="0"/>
                    <a:pt x="56" y="0"/>
                  </a:cubicBezTo>
                  <a:cubicBezTo>
                    <a:pt x="36" y="0"/>
                    <a:pt x="18" y="1"/>
                    <a:pt x="0" y="3"/>
                  </a:cubicBezTo>
                  <a:cubicBezTo>
                    <a:pt x="0" y="19"/>
                    <a:pt x="0" y="19"/>
                    <a:pt x="0" y="19"/>
                  </a:cubicBezTo>
                  <a:cubicBezTo>
                    <a:pt x="18" y="17"/>
                    <a:pt x="36" y="16"/>
                    <a:pt x="56" y="16"/>
                  </a:cubicBezTo>
                  <a:cubicBezTo>
                    <a:pt x="62" y="16"/>
                    <a:pt x="67" y="16"/>
                    <a:pt x="7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79" name="Rectangle 22"/>
            <p:cNvSpPr>
              <a:spLocks noChangeArrowheads="1"/>
            </p:cNvSpPr>
            <p:nvPr/>
          </p:nvSpPr>
          <p:spPr bwMode="auto">
            <a:xfrm>
              <a:off x="7040563" y="296863"/>
              <a:ext cx="90488"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
          <p:nvSpPr>
            <p:cNvPr id="180" name="Freeform 23"/>
            <p:cNvSpPr>
              <a:spLocks/>
            </p:cNvSpPr>
            <p:nvPr/>
          </p:nvSpPr>
          <p:spPr bwMode="auto">
            <a:xfrm>
              <a:off x="6280150" y="187325"/>
              <a:ext cx="1123950" cy="312738"/>
            </a:xfrm>
            <a:custGeom>
              <a:avLst/>
              <a:gdLst>
                <a:gd name="T0" fmla="*/ 250 w 297"/>
                <a:gd name="T1" fmla="*/ 7 h 83"/>
                <a:gd name="T2" fmla="*/ 207 w 297"/>
                <a:gd name="T3" fmla="*/ 0 h 83"/>
                <a:gd name="T4" fmla="*/ 207 w 297"/>
                <a:gd name="T5" fmla="*/ 13 h 83"/>
                <a:gd name="T6" fmla="*/ 207 w 297"/>
                <a:gd name="T7" fmla="*/ 16 h 83"/>
                <a:gd name="T8" fmla="*/ 246 w 297"/>
                <a:gd name="T9" fmla="*/ 23 h 83"/>
                <a:gd name="T10" fmla="*/ 281 w 297"/>
                <a:gd name="T11" fmla="*/ 40 h 83"/>
                <a:gd name="T12" fmla="*/ 246 w 297"/>
                <a:gd name="T13" fmla="*/ 57 h 83"/>
                <a:gd name="T14" fmla="*/ 184 w 297"/>
                <a:gd name="T15" fmla="*/ 65 h 83"/>
                <a:gd name="T16" fmla="*/ 184 w 297"/>
                <a:gd name="T17" fmla="*/ 37 h 83"/>
                <a:gd name="T18" fmla="*/ 143 w 297"/>
                <a:gd name="T19" fmla="*/ 37 h 83"/>
                <a:gd name="T20" fmla="*/ 143 w 297"/>
                <a:gd name="T21" fmla="*/ 66 h 83"/>
                <a:gd name="T22" fmla="*/ 51 w 297"/>
                <a:gd name="T23" fmla="*/ 57 h 83"/>
                <a:gd name="T24" fmla="*/ 16 w 297"/>
                <a:gd name="T25" fmla="*/ 40 h 83"/>
                <a:gd name="T26" fmla="*/ 37 w 297"/>
                <a:gd name="T27" fmla="*/ 27 h 83"/>
                <a:gd name="T28" fmla="*/ 37 w 297"/>
                <a:gd name="T29" fmla="*/ 10 h 83"/>
                <a:gd name="T30" fmla="*/ 0 w 297"/>
                <a:gd name="T31" fmla="*/ 40 h 83"/>
                <a:gd name="T32" fmla="*/ 48 w 297"/>
                <a:gd name="T33" fmla="*/ 72 h 83"/>
                <a:gd name="T34" fmla="*/ 149 w 297"/>
                <a:gd name="T35" fmla="*/ 83 h 83"/>
                <a:gd name="T36" fmla="*/ 250 w 297"/>
                <a:gd name="T37" fmla="*/ 72 h 83"/>
                <a:gd name="T38" fmla="*/ 297 w 297"/>
                <a:gd name="T39" fmla="*/ 40 h 83"/>
                <a:gd name="T40" fmla="*/ 250 w 297"/>
                <a:gd name="T41"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7" h="83">
                  <a:moveTo>
                    <a:pt x="250" y="7"/>
                  </a:moveTo>
                  <a:cubicBezTo>
                    <a:pt x="237" y="4"/>
                    <a:pt x="223" y="2"/>
                    <a:pt x="207" y="0"/>
                  </a:cubicBezTo>
                  <a:cubicBezTo>
                    <a:pt x="207" y="13"/>
                    <a:pt x="207" y="13"/>
                    <a:pt x="207" y="13"/>
                  </a:cubicBezTo>
                  <a:cubicBezTo>
                    <a:pt x="207" y="16"/>
                    <a:pt x="207" y="16"/>
                    <a:pt x="207" y="16"/>
                  </a:cubicBezTo>
                  <a:cubicBezTo>
                    <a:pt x="221" y="18"/>
                    <a:pt x="234" y="20"/>
                    <a:pt x="246" y="23"/>
                  </a:cubicBezTo>
                  <a:cubicBezTo>
                    <a:pt x="275" y="30"/>
                    <a:pt x="281" y="38"/>
                    <a:pt x="281" y="40"/>
                  </a:cubicBezTo>
                  <a:cubicBezTo>
                    <a:pt x="281" y="41"/>
                    <a:pt x="275" y="49"/>
                    <a:pt x="246" y="57"/>
                  </a:cubicBezTo>
                  <a:cubicBezTo>
                    <a:pt x="228" y="61"/>
                    <a:pt x="207" y="64"/>
                    <a:pt x="184" y="65"/>
                  </a:cubicBezTo>
                  <a:cubicBezTo>
                    <a:pt x="184" y="37"/>
                    <a:pt x="184" y="37"/>
                    <a:pt x="184" y="37"/>
                  </a:cubicBezTo>
                  <a:cubicBezTo>
                    <a:pt x="143" y="37"/>
                    <a:pt x="143" y="37"/>
                    <a:pt x="143" y="37"/>
                  </a:cubicBezTo>
                  <a:cubicBezTo>
                    <a:pt x="143" y="66"/>
                    <a:pt x="143" y="66"/>
                    <a:pt x="143" y="66"/>
                  </a:cubicBezTo>
                  <a:cubicBezTo>
                    <a:pt x="108" y="66"/>
                    <a:pt x="76" y="63"/>
                    <a:pt x="51" y="57"/>
                  </a:cubicBezTo>
                  <a:cubicBezTo>
                    <a:pt x="22" y="49"/>
                    <a:pt x="16" y="41"/>
                    <a:pt x="16" y="40"/>
                  </a:cubicBezTo>
                  <a:cubicBezTo>
                    <a:pt x="16" y="38"/>
                    <a:pt x="20" y="33"/>
                    <a:pt x="37" y="27"/>
                  </a:cubicBezTo>
                  <a:cubicBezTo>
                    <a:pt x="37" y="10"/>
                    <a:pt x="37" y="10"/>
                    <a:pt x="37" y="10"/>
                  </a:cubicBezTo>
                  <a:cubicBezTo>
                    <a:pt x="13" y="18"/>
                    <a:pt x="0" y="28"/>
                    <a:pt x="0" y="40"/>
                  </a:cubicBezTo>
                  <a:cubicBezTo>
                    <a:pt x="0" y="53"/>
                    <a:pt x="16" y="64"/>
                    <a:pt x="48" y="72"/>
                  </a:cubicBezTo>
                  <a:cubicBezTo>
                    <a:pt x="75" y="79"/>
                    <a:pt x="111" y="83"/>
                    <a:pt x="149" y="83"/>
                  </a:cubicBezTo>
                  <a:cubicBezTo>
                    <a:pt x="187" y="83"/>
                    <a:pt x="223" y="79"/>
                    <a:pt x="250" y="72"/>
                  </a:cubicBezTo>
                  <a:cubicBezTo>
                    <a:pt x="281" y="64"/>
                    <a:pt x="297" y="53"/>
                    <a:pt x="297" y="40"/>
                  </a:cubicBezTo>
                  <a:cubicBezTo>
                    <a:pt x="297" y="26"/>
                    <a:pt x="281" y="15"/>
                    <a:pt x="25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grpSp>
      <p:grpSp>
        <p:nvGrpSpPr>
          <p:cNvPr id="181" name="Group 180"/>
          <p:cNvGrpSpPr/>
          <p:nvPr/>
        </p:nvGrpSpPr>
        <p:grpSpPr>
          <a:xfrm>
            <a:off x="966477" y="5387333"/>
            <a:ext cx="481787" cy="526454"/>
            <a:chOff x="9845282" y="4057421"/>
            <a:chExt cx="479426" cy="476250"/>
          </a:xfrm>
          <a:solidFill>
            <a:schemeClr val="accent4"/>
          </a:solidFill>
        </p:grpSpPr>
        <p:sp>
          <p:nvSpPr>
            <p:cNvPr id="182" name="Freeform 728"/>
            <p:cNvSpPr>
              <a:spLocks/>
            </p:cNvSpPr>
            <p:nvPr/>
          </p:nvSpPr>
          <p:spPr bwMode="auto">
            <a:xfrm>
              <a:off x="10242157" y="4132033"/>
              <a:ext cx="34925" cy="34925"/>
            </a:xfrm>
            <a:custGeom>
              <a:avLst/>
              <a:gdLst>
                <a:gd name="T0" fmla="*/ 22 w 22"/>
                <a:gd name="T1" fmla="*/ 11 h 22"/>
                <a:gd name="T2" fmla="*/ 22 w 22"/>
                <a:gd name="T3" fmla="*/ 11 h 22"/>
                <a:gd name="T4" fmla="*/ 21 w 22"/>
                <a:gd name="T5" fmla="*/ 15 h 22"/>
                <a:gd name="T6" fmla="*/ 19 w 22"/>
                <a:gd name="T7" fmla="*/ 19 h 22"/>
                <a:gd name="T8" fmla="*/ 15 w 22"/>
                <a:gd name="T9" fmla="*/ 22 h 22"/>
                <a:gd name="T10" fmla="*/ 11 w 22"/>
                <a:gd name="T11" fmla="*/ 22 h 22"/>
                <a:gd name="T12" fmla="*/ 11 w 22"/>
                <a:gd name="T13" fmla="*/ 22 h 22"/>
                <a:gd name="T14" fmla="*/ 7 w 22"/>
                <a:gd name="T15" fmla="*/ 22 h 22"/>
                <a:gd name="T16" fmla="*/ 3 w 22"/>
                <a:gd name="T17" fmla="*/ 19 h 22"/>
                <a:gd name="T18" fmla="*/ 0 w 22"/>
                <a:gd name="T19" fmla="*/ 15 h 22"/>
                <a:gd name="T20" fmla="*/ 0 w 22"/>
                <a:gd name="T21" fmla="*/ 11 h 22"/>
                <a:gd name="T22" fmla="*/ 0 w 22"/>
                <a:gd name="T23" fmla="*/ 11 h 22"/>
                <a:gd name="T24" fmla="*/ 0 w 22"/>
                <a:gd name="T25" fmla="*/ 7 h 22"/>
                <a:gd name="T26" fmla="*/ 3 w 22"/>
                <a:gd name="T27" fmla="*/ 3 h 22"/>
                <a:gd name="T28" fmla="*/ 7 w 22"/>
                <a:gd name="T29" fmla="*/ 0 h 22"/>
                <a:gd name="T30" fmla="*/ 11 w 22"/>
                <a:gd name="T31" fmla="*/ 0 h 22"/>
                <a:gd name="T32" fmla="*/ 11 w 22"/>
                <a:gd name="T33" fmla="*/ 0 h 22"/>
                <a:gd name="T34" fmla="*/ 15 w 22"/>
                <a:gd name="T35" fmla="*/ 0 h 22"/>
                <a:gd name="T36" fmla="*/ 19 w 22"/>
                <a:gd name="T37" fmla="*/ 3 h 22"/>
                <a:gd name="T38" fmla="*/ 21 w 22"/>
                <a:gd name="T39" fmla="*/ 7 h 22"/>
                <a:gd name="T40" fmla="*/ 22 w 22"/>
                <a:gd name="T41" fmla="*/ 11 h 22"/>
                <a:gd name="T42" fmla="*/ 22 w 22"/>
                <a:gd name="T43"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22">
                  <a:moveTo>
                    <a:pt x="22" y="11"/>
                  </a:moveTo>
                  <a:lnTo>
                    <a:pt x="22" y="11"/>
                  </a:lnTo>
                  <a:lnTo>
                    <a:pt x="21" y="15"/>
                  </a:lnTo>
                  <a:lnTo>
                    <a:pt x="19" y="19"/>
                  </a:lnTo>
                  <a:lnTo>
                    <a:pt x="15" y="22"/>
                  </a:lnTo>
                  <a:lnTo>
                    <a:pt x="11" y="22"/>
                  </a:lnTo>
                  <a:lnTo>
                    <a:pt x="11" y="22"/>
                  </a:lnTo>
                  <a:lnTo>
                    <a:pt x="7" y="22"/>
                  </a:lnTo>
                  <a:lnTo>
                    <a:pt x="3" y="19"/>
                  </a:lnTo>
                  <a:lnTo>
                    <a:pt x="0" y="15"/>
                  </a:lnTo>
                  <a:lnTo>
                    <a:pt x="0" y="11"/>
                  </a:lnTo>
                  <a:lnTo>
                    <a:pt x="0" y="11"/>
                  </a:lnTo>
                  <a:lnTo>
                    <a:pt x="0" y="7"/>
                  </a:lnTo>
                  <a:lnTo>
                    <a:pt x="3" y="3"/>
                  </a:lnTo>
                  <a:lnTo>
                    <a:pt x="7" y="0"/>
                  </a:lnTo>
                  <a:lnTo>
                    <a:pt x="11" y="0"/>
                  </a:lnTo>
                  <a:lnTo>
                    <a:pt x="11" y="0"/>
                  </a:lnTo>
                  <a:lnTo>
                    <a:pt x="15" y="0"/>
                  </a:lnTo>
                  <a:lnTo>
                    <a:pt x="19" y="3"/>
                  </a:lnTo>
                  <a:lnTo>
                    <a:pt x="21" y="7"/>
                  </a:lnTo>
                  <a:lnTo>
                    <a:pt x="22" y="11"/>
                  </a:lnTo>
                  <a:lnTo>
                    <a:pt x="22" y="11"/>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83" name="Freeform 729"/>
            <p:cNvSpPr>
              <a:spLocks noEditPoints="1"/>
            </p:cNvSpPr>
            <p:nvPr/>
          </p:nvSpPr>
          <p:spPr bwMode="auto">
            <a:xfrm>
              <a:off x="9910370" y="4190771"/>
              <a:ext cx="414338" cy="214313"/>
            </a:xfrm>
            <a:custGeom>
              <a:avLst/>
              <a:gdLst>
                <a:gd name="T0" fmla="*/ 48 w 261"/>
                <a:gd name="T1" fmla="*/ 84 h 135"/>
                <a:gd name="T2" fmla="*/ 33 w 261"/>
                <a:gd name="T3" fmla="*/ 91 h 135"/>
                <a:gd name="T4" fmla="*/ 13 w 261"/>
                <a:gd name="T5" fmla="*/ 87 h 135"/>
                <a:gd name="T6" fmla="*/ 0 w 261"/>
                <a:gd name="T7" fmla="*/ 69 h 135"/>
                <a:gd name="T8" fmla="*/ 3 w 261"/>
                <a:gd name="T9" fmla="*/ 52 h 135"/>
                <a:gd name="T10" fmla="*/ 18 w 261"/>
                <a:gd name="T11" fmla="*/ 37 h 135"/>
                <a:gd name="T12" fmla="*/ 35 w 261"/>
                <a:gd name="T13" fmla="*/ 36 h 135"/>
                <a:gd name="T14" fmla="*/ 52 w 261"/>
                <a:gd name="T15" fmla="*/ 48 h 135"/>
                <a:gd name="T16" fmla="*/ 57 w 261"/>
                <a:gd name="T17" fmla="*/ 68 h 135"/>
                <a:gd name="T18" fmla="*/ 99 w 261"/>
                <a:gd name="T19" fmla="*/ 69 h 135"/>
                <a:gd name="T20" fmla="*/ 124 w 261"/>
                <a:gd name="T21" fmla="*/ 62 h 135"/>
                <a:gd name="T22" fmla="*/ 179 w 261"/>
                <a:gd name="T23" fmla="*/ 58 h 135"/>
                <a:gd name="T24" fmla="*/ 176 w 261"/>
                <a:gd name="T25" fmla="*/ 43 h 135"/>
                <a:gd name="T26" fmla="*/ 189 w 261"/>
                <a:gd name="T27" fmla="*/ 13 h 135"/>
                <a:gd name="T28" fmla="*/ 211 w 261"/>
                <a:gd name="T29" fmla="*/ 0 h 135"/>
                <a:gd name="T30" fmla="*/ 244 w 261"/>
                <a:gd name="T31" fmla="*/ 7 h 135"/>
                <a:gd name="T32" fmla="*/ 261 w 261"/>
                <a:gd name="T33" fmla="*/ 35 h 135"/>
                <a:gd name="T34" fmla="*/ 259 w 261"/>
                <a:gd name="T35" fmla="*/ 61 h 135"/>
                <a:gd name="T36" fmla="*/ 235 w 261"/>
                <a:gd name="T37" fmla="*/ 83 h 135"/>
                <a:gd name="T38" fmla="*/ 215 w 261"/>
                <a:gd name="T39" fmla="*/ 85 h 135"/>
                <a:gd name="T40" fmla="*/ 154 w 261"/>
                <a:gd name="T41" fmla="*/ 87 h 135"/>
                <a:gd name="T42" fmla="*/ 157 w 261"/>
                <a:gd name="T43" fmla="*/ 99 h 135"/>
                <a:gd name="T44" fmla="*/ 146 w 261"/>
                <a:gd name="T45" fmla="*/ 124 h 135"/>
                <a:gd name="T46" fmla="*/ 127 w 261"/>
                <a:gd name="T47" fmla="*/ 135 h 135"/>
                <a:gd name="T48" fmla="*/ 99 w 261"/>
                <a:gd name="T49" fmla="*/ 128 h 135"/>
                <a:gd name="T50" fmla="*/ 84 w 261"/>
                <a:gd name="T51" fmla="*/ 106 h 135"/>
                <a:gd name="T52" fmla="*/ 84 w 261"/>
                <a:gd name="T53" fmla="*/ 92 h 135"/>
                <a:gd name="T54" fmla="*/ 239 w 261"/>
                <a:gd name="T55" fmla="*/ 29 h 135"/>
                <a:gd name="T56" fmla="*/ 224 w 261"/>
                <a:gd name="T57" fmla="*/ 20 h 135"/>
                <a:gd name="T58" fmla="*/ 209 w 261"/>
                <a:gd name="T59" fmla="*/ 20 h 135"/>
                <a:gd name="T60" fmla="*/ 195 w 261"/>
                <a:gd name="T61" fmla="*/ 33 h 135"/>
                <a:gd name="T62" fmla="*/ 194 w 261"/>
                <a:gd name="T63" fmla="*/ 47 h 135"/>
                <a:gd name="T64" fmla="*/ 205 w 261"/>
                <a:gd name="T65" fmla="*/ 63 h 135"/>
                <a:gd name="T66" fmla="*/ 223 w 261"/>
                <a:gd name="T67" fmla="*/ 68 h 135"/>
                <a:gd name="T68" fmla="*/ 237 w 261"/>
                <a:gd name="T69" fmla="*/ 61 h 135"/>
                <a:gd name="T70" fmla="*/ 244 w 261"/>
                <a:gd name="T71" fmla="*/ 43 h 135"/>
                <a:gd name="T72" fmla="*/ 99 w 261"/>
                <a:gd name="T73" fmla="*/ 102 h 135"/>
                <a:gd name="T74" fmla="*/ 116 w 261"/>
                <a:gd name="T75" fmla="*/ 118 h 135"/>
                <a:gd name="T76" fmla="*/ 128 w 261"/>
                <a:gd name="T77" fmla="*/ 118 h 135"/>
                <a:gd name="T78" fmla="*/ 142 w 261"/>
                <a:gd name="T79" fmla="*/ 99 h 135"/>
                <a:gd name="T80" fmla="*/ 138 w 261"/>
                <a:gd name="T81" fmla="*/ 87 h 135"/>
                <a:gd name="T82" fmla="*/ 117 w 261"/>
                <a:gd name="T83" fmla="*/ 79 h 135"/>
                <a:gd name="T84" fmla="*/ 103 w 261"/>
                <a:gd name="T85" fmla="*/ 87 h 135"/>
                <a:gd name="T86" fmla="*/ 99 w 261"/>
                <a:gd name="T87" fmla="*/ 102 h 135"/>
                <a:gd name="T88" fmla="*/ 37 w 261"/>
                <a:gd name="T89" fmla="*/ 50 h 135"/>
                <a:gd name="T90" fmla="*/ 20 w 261"/>
                <a:gd name="T91" fmla="*/ 50 h 135"/>
                <a:gd name="T92" fmla="*/ 13 w 261"/>
                <a:gd name="T93" fmla="*/ 66 h 135"/>
                <a:gd name="T94" fmla="*/ 32 w 261"/>
                <a:gd name="T95" fmla="*/ 80 h 135"/>
                <a:gd name="T96" fmla="*/ 44 w 261"/>
                <a:gd name="T97" fmla="*/ 6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1" h="135">
                  <a:moveTo>
                    <a:pt x="84" y="92"/>
                  </a:moveTo>
                  <a:lnTo>
                    <a:pt x="52" y="80"/>
                  </a:lnTo>
                  <a:lnTo>
                    <a:pt x="52" y="80"/>
                  </a:lnTo>
                  <a:lnTo>
                    <a:pt x="48" y="84"/>
                  </a:lnTo>
                  <a:lnTo>
                    <a:pt x="44" y="87"/>
                  </a:lnTo>
                  <a:lnTo>
                    <a:pt x="40" y="90"/>
                  </a:lnTo>
                  <a:lnTo>
                    <a:pt x="33" y="91"/>
                  </a:lnTo>
                  <a:lnTo>
                    <a:pt x="33" y="91"/>
                  </a:lnTo>
                  <a:lnTo>
                    <a:pt x="28" y="92"/>
                  </a:lnTo>
                  <a:lnTo>
                    <a:pt x="22" y="91"/>
                  </a:lnTo>
                  <a:lnTo>
                    <a:pt x="17" y="90"/>
                  </a:lnTo>
                  <a:lnTo>
                    <a:pt x="13" y="87"/>
                  </a:lnTo>
                  <a:lnTo>
                    <a:pt x="9" y="84"/>
                  </a:lnTo>
                  <a:lnTo>
                    <a:pt x="4" y="80"/>
                  </a:lnTo>
                  <a:lnTo>
                    <a:pt x="3" y="74"/>
                  </a:lnTo>
                  <a:lnTo>
                    <a:pt x="0" y="69"/>
                  </a:lnTo>
                  <a:lnTo>
                    <a:pt x="0" y="69"/>
                  </a:lnTo>
                  <a:lnTo>
                    <a:pt x="0" y="63"/>
                  </a:lnTo>
                  <a:lnTo>
                    <a:pt x="0" y="58"/>
                  </a:lnTo>
                  <a:lnTo>
                    <a:pt x="3" y="52"/>
                  </a:lnTo>
                  <a:lnTo>
                    <a:pt x="6" y="47"/>
                  </a:lnTo>
                  <a:lnTo>
                    <a:pt x="9" y="43"/>
                  </a:lnTo>
                  <a:lnTo>
                    <a:pt x="13" y="40"/>
                  </a:lnTo>
                  <a:lnTo>
                    <a:pt x="18" y="37"/>
                  </a:lnTo>
                  <a:lnTo>
                    <a:pt x="24" y="36"/>
                  </a:lnTo>
                  <a:lnTo>
                    <a:pt x="24" y="36"/>
                  </a:lnTo>
                  <a:lnTo>
                    <a:pt x="29" y="35"/>
                  </a:lnTo>
                  <a:lnTo>
                    <a:pt x="35" y="36"/>
                  </a:lnTo>
                  <a:lnTo>
                    <a:pt x="40" y="37"/>
                  </a:lnTo>
                  <a:lnTo>
                    <a:pt x="44" y="40"/>
                  </a:lnTo>
                  <a:lnTo>
                    <a:pt x="48" y="44"/>
                  </a:lnTo>
                  <a:lnTo>
                    <a:pt x="52" y="48"/>
                  </a:lnTo>
                  <a:lnTo>
                    <a:pt x="55" y="52"/>
                  </a:lnTo>
                  <a:lnTo>
                    <a:pt x="57" y="58"/>
                  </a:lnTo>
                  <a:lnTo>
                    <a:pt x="57" y="58"/>
                  </a:lnTo>
                  <a:lnTo>
                    <a:pt x="57" y="68"/>
                  </a:lnTo>
                  <a:lnTo>
                    <a:pt x="90" y="80"/>
                  </a:lnTo>
                  <a:lnTo>
                    <a:pt x="90" y="80"/>
                  </a:lnTo>
                  <a:lnTo>
                    <a:pt x="94" y="74"/>
                  </a:lnTo>
                  <a:lnTo>
                    <a:pt x="99" y="69"/>
                  </a:lnTo>
                  <a:lnTo>
                    <a:pt x="106" y="65"/>
                  </a:lnTo>
                  <a:lnTo>
                    <a:pt x="113" y="63"/>
                  </a:lnTo>
                  <a:lnTo>
                    <a:pt x="113" y="63"/>
                  </a:lnTo>
                  <a:lnTo>
                    <a:pt x="124" y="62"/>
                  </a:lnTo>
                  <a:lnTo>
                    <a:pt x="134" y="65"/>
                  </a:lnTo>
                  <a:lnTo>
                    <a:pt x="142" y="69"/>
                  </a:lnTo>
                  <a:lnTo>
                    <a:pt x="149" y="76"/>
                  </a:lnTo>
                  <a:lnTo>
                    <a:pt x="179" y="58"/>
                  </a:lnTo>
                  <a:lnTo>
                    <a:pt x="179" y="58"/>
                  </a:lnTo>
                  <a:lnTo>
                    <a:pt x="176" y="51"/>
                  </a:lnTo>
                  <a:lnTo>
                    <a:pt x="176" y="51"/>
                  </a:lnTo>
                  <a:lnTo>
                    <a:pt x="176" y="43"/>
                  </a:lnTo>
                  <a:lnTo>
                    <a:pt x="176" y="35"/>
                  </a:lnTo>
                  <a:lnTo>
                    <a:pt x="179" y="26"/>
                  </a:lnTo>
                  <a:lnTo>
                    <a:pt x="183" y="18"/>
                  </a:lnTo>
                  <a:lnTo>
                    <a:pt x="189" y="13"/>
                  </a:lnTo>
                  <a:lnTo>
                    <a:pt x="194" y="7"/>
                  </a:lnTo>
                  <a:lnTo>
                    <a:pt x="202" y="3"/>
                  </a:lnTo>
                  <a:lnTo>
                    <a:pt x="211" y="0"/>
                  </a:lnTo>
                  <a:lnTo>
                    <a:pt x="211" y="0"/>
                  </a:lnTo>
                  <a:lnTo>
                    <a:pt x="219" y="0"/>
                  </a:lnTo>
                  <a:lnTo>
                    <a:pt x="227" y="2"/>
                  </a:lnTo>
                  <a:lnTo>
                    <a:pt x="235" y="3"/>
                  </a:lnTo>
                  <a:lnTo>
                    <a:pt x="244" y="7"/>
                  </a:lnTo>
                  <a:lnTo>
                    <a:pt x="249" y="13"/>
                  </a:lnTo>
                  <a:lnTo>
                    <a:pt x="255" y="20"/>
                  </a:lnTo>
                  <a:lnTo>
                    <a:pt x="259" y="26"/>
                  </a:lnTo>
                  <a:lnTo>
                    <a:pt x="261" y="35"/>
                  </a:lnTo>
                  <a:lnTo>
                    <a:pt x="261" y="35"/>
                  </a:lnTo>
                  <a:lnTo>
                    <a:pt x="261" y="44"/>
                  </a:lnTo>
                  <a:lnTo>
                    <a:pt x="260" y="52"/>
                  </a:lnTo>
                  <a:lnTo>
                    <a:pt x="259" y="61"/>
                  </a:lnTo>
                  <a:lnTo>
                    <a:pt x="255" y="68"/>
                  </a:lnTo>
                  <a:lnTo>
                    <a:pt x="249" y="73"/>
                  </a:lnTo>
                  <a:lnTo>
                    <a:pt x="242" y="79"/>
                  </a:lnTo>
                  <a:lnTo>
                    <a:pt x="235" y="83"/>
                  </a:lnTo>
                  <a:lnTo>
                    <a:pt x="227" y="85"/>
                  </a:lnTo>
                  <a:lnTo>
                    <a:pt x="227" y="85"/>
                  </a:lnTo>
                  <a:lnTo>
                    <a:pt x="220" y="85"/>
                  </a:lnTo>
                  <a:lnTo>
                    <a:pt x="215" y="85"/>
                  </a:lnTo>
                  <a:lnTo>
                    <a:pt x="204" y="83"/>
                  </a:lnTo>
                  <a:lnTo>
                    <a:pt x="193" y="77"/>
                  </a:lnTo>
                  <a:lnTo>
                    <a:pt x="184" y="69"/>
                  </a:lnTo>
                  <a:lnTo>
                    <a:pt x="154" y="87"/>
                  </a:lnTo>
                  <a:lnTo>
                    <a:pt x="154" y="87"/>
                  </a:lnTo>
                  <a:lnTo>
                    <a:pt x="156" y="92"/>
                  </a:lnTo>
                  <a:lnTo>
                    <a:pt x="156" y="92"/>
                  </a:lnTo>
                  <a:lnTo>
                    <a:pt x="157" y="99"/>
                  </a:lnTo>
                  <a:lnTo>
                    <a:pt x="156" y="106"/>
                  </a:lnTo>
                  <a:lnTo>
                    <a:pt x="154" y="113"/>
                  </a:lnTo>
                  <a:lnTo>
                    <a:pt x="150" y="120"/>
                  </a:lnTo>
                  <a:lnTo>
                    <a:pt x="146" y="124"/>
                  </a:lnTo>
                  <a:lnTo>
                    <a:pt x="140" y="129"/>
                  </a:lnTo>
                  <a:lnTo>
                    <a:pt x="134" y="132"/>
                  </a:lnTo>
                  <a:lnTo>
                    <a:pt x="127" y="135"/>
                  </a:lnTo>
                  <a:lnTo>
                    <a:pt x="127" y="135"/>
                  </a:lnTo>
                  <a:lnTo>
                    <a:pt x="120" y="135"/>
                  </a:lnTo>
                  <a:lnTo>
                    <a:pt x="113" y="134"/>
                  </a:lnTo>
                  <a:lnTo>
                    <a:pt x="106" y="132"/>
                  </a:lnTo>
                  <a:lnTo>
                    <a:pt x="99" y="128"/>
                  </a:lnTo>
                  <a:lnTo>
                    <a:pt x="95" y="124"/>
                  </a:lnTo>
                  <a:lnTo>
                    <a:pt x="90" y="118"/>
                  </a:lnTo>
                  <a:lnTo>
                    <a:pt x="87" y="113"/>
                  </a:lnTo>
                  <a:lnTo>
                    <a:pt x="84" y="106"/>
                  </a:lnTo>
                  <a:lnTo>
                    <a:pt x="84" y="106"/>
                  </a:lnTo>
                  <a:lnTo>
                    <a:pt x="84" y="98"/>
                  </a:lnTo>
                  <a:lnTo>
                    <a:pt x="84" y="92"/>
                  </a:lnTo>
                  <a:lnTo>
                    <a:pt x="84" y="92"/>
                  </a:lnTo>
                  <a:close/>
                  <a:moveTo>
                    <a:pt x="244" y="39"/>
                  </a:moveTo>
                  <a:lnTo>
                    <a:pt x="244" y="39"/>
                  </a:lnTo>
                  <a:lnTo>
                    <a:pt x="242" y="33"/>
                  </a:lnTo>
                  <a:lnTo>
                    <a:pt x="239" y="29"/>
                  </a:lnTo>
                  <a:lnTo>
                    <a:pt x="237" y="25"/>
                  </a:lnTo>
                  <a:lnTo>
                    <a:pt x="233" y="22"/>
                  </a:lnTo>
                  <a:lnTo>
                    <a:pt x="228" y="21"/>
                  </a:lnTo>
                  <a:lnTo>
                    <a:pt x="224" y="20"/>
                  </a:lnTo>
                  <a:lnTo>
                    <a:pt x="219" y="18"/>
                  </a:lnTo>
                  <a:lnTo>
                    <a:pt x="215" y="18"/>
                  </a:lnTo>
                  <a:lnTo>
                    <a:pt x="215" y="18"/>
                  </a:lnTo>
                  <a:lnTo>
                    <a:pt x="209" y="20"/>
                  </a:lnTo>
                  <a:lnTo>
                    <a:pt x="205" y="22"/>
                  </a:lnTo>
                  <a:lnTo>
                    <a:pt x="201" y="25"/>
                  </a:lnTo>
                  <a:lnTo>
                    <a:pt x="198" y="29"/>
                  </a:lnTo>
                  <a:lnTo>
                    <a:pt x="195" y="33"/>
                  </a:lnTo>
                  <a:lnTo>
                    <a:pt x="194" y="37"/>
                  </a:lnTo>
                  <a:lnTo>
                    <a:pt x="194" y="43"/>
                  </a:lnTo>
                  <a:lnTo>
                    <a:pt x="194" y="47"/>
                  </a:lnTo>
                  <a:lnTo>
                    <a:pt x="194" y="47"/>
                  </a:lnTo>
                  <a:lnTo>
                    <a:pt x="195" y="52"/>
                  </a:lnTo>
                  <a:lnTo>
                    <a:pt x="198" y="57"/>
                  </a:lnTo>
                  <a:lnTo>
                    <a:pt x="201" y="61"/>
                  </a:lnTo>
                  <a:lnTo>
                    <a:pt x="205" y="63"/>
                  </a:lnTo>
                  <a:lnTo>
                    <a:pt x="209" y="66"/>
                  </a:lnTo>
                  <a:lnTo>
                    <a:pt x="213" y="68"/>
                  </a:lnTo>
                  <a:lnTo>
                    <a:pt x="219" y="68"/>
                  </a:lnTo>
                  <a:lnTo>
                    <a:pt x="223" y="68"/>
                  </a:lnTo>
                  <a:lnTo>
                    <a:pt x="223" y="68"/>
                  </a:lnTo>
                  <a:lnTo>
                    <a:pt x="228" y="66"/>
                  </a:lnTo>
                  <a:lnTo>
                    <a:pt x="233" y="63"/>
                  </a:lnTo>
                  <a:lnTo>
                    <a:pt x="237" y="61"/>
                  </a:lnTo>
                  <a:lnTo>
                    <a:pt x="239" y="57"/>
                  </a:lnTo>
                  <a:lnTo>
                    <a:pt x="241" y="52"/>
                  </a:lnTo>
                  <a:lnTo>
                    <a:pt x="242" y="48"/>
                  </a:lnTo>
                  <a:lnTo>
                    <a:pt x="244" y="43"/>
                  </a:lnTo>
                  <a:lnTo>
                    <a:pt x="244" y="39"/>
                  </a:lnTo>
                  <a:lnTo>
                    <a:pt x="244" y="39"/>
                  </a:lnTo>
                  <a:close/>
                  <a:moveTo>
                    <a:pt x="99" y="102"/>
                  </a:moveTo>
                  <a:lnTo>
                    <a:pt x="99" y="102"/>
                  </a:lnTo>
                  <a:lnTo>
                    <a:pt x="101" y="106"/>
                  </a:lnTo>
                  <a:lnTo>
                    <a:pt x="103" y="110"/>
                  </a:lnTo>
                  <a:lnTo>
                    <a:pt x="109" y="116"/>
                  </a:lnTo>
                  <a:lnTo>
                    <a:pt x="116" y="118"/>
                  </a:lnTo>
                  <a:lnTo>
                    <a:pt x="120" y="120"/>
                  </a:lnTo>
                  <a:lnTo>
                    <a:pt x="124" y="120"/>
                  </a:lnTo>
                  <a:lnTo>
                    <a:pt x="124" y="120"/>
                  </a:lnTo>
                  <a:lnTo>
                    <a:pt x="128" y="118"/>
                  </a:lnTo>
                  <a:lnTo>
                    <a:pt x="132" y="116"/>
                  </a:lnTo>
                  <a:lnTo>
                    <a:pt x="138" y="110"/>
                  </a:lnTo>
                  <a:lnTo>
                    <a:pt x="140" y="103"/>
                  </a:lnTo>
                  <a:lnTo>
                    <a:pt x="142" y="99"/>
                  </a:lnTo>
                  <a:lnTo>
                    <a:pt x="140" y="95"/>
                  </a:lnTo>
                  <a:lnTo>
                    <a:pt x="140" y="95"/>
                  </a:lnTo>
                  <a:lnTo>
                    <a:pt x="139" y="91"/>
                  </a:lnTo>
                  <a:lnTo>
                    <a:pt x="138" y="87"/>
                  </a:lnTo>
                  <a:lnTo>
                    <a:pt x="132" y="81"/>
                  </a:lnTo>
                  <a:lnTo>
                    <a:pt x="125" y="79"/>
                  </a:lnTo>
                  <a:lnTo>
                    <a:pt x="121" y="77"/>
                  </a:lnTo>
                  <a:lnTo>
                    <a:pt x="117" y="79"/>
                  </a:lnTo>
                  <a:lnTo>
                    <a:pt x="117" y="79"/>
                  </a:lnTo>
                  <a:lnTo>
                    <a:pt x="113" y="80"/>
                  </a:lnTo>
                  <a:lnTo>
                    <a:pt x="109" y="81"/>
                  </a:lnTo>
                  <a:lnTo>
                    <a:pt x="103" y="87"/>
                  </a:lnTo>
                  <a:lnTo>
                    <a:pt x="101" y="94"/>
                  </a:lnTo>
                  <a:lnTo>
                    <a:pt x="99" y="98"/>
                  </a:lnTo>
                  <a:lnTo>
                    <a:pt x="99" y="102"/>
                  </a:lnTo>
                  <a:lnTo>
                    <a:pt x="99" y="102"/>
                  </a:lnTo>
                  <a:close/>
                  <a:moveTo>
                    <a:pt x="44" y="61"/>
                  </a:moveTo>
                  <a:lnTo>
                    <a:pt x="44" y="61"/>
                  </a:lnTo>
                  <a:lnTo>
                    <a:pt x="43" y="55"/>
                  </a:lnTo>
                  <a:lnTo>
                    <a:pt x="37" y="50"/>
                  </a:lnTo>
                  <a:lnTo>
                    <a:pt x="32" y="47"/>
                  </a:lnTo>
                  <a:lnTo>
                    <a:pt x="25" y="47"/>
                  </a:lnTo>
                  <a:lnTo>
                    <a:pt x="25" y="47"/>
                  </a:lnTo>
                  <a:lnTo>
                    <a:pt x="20" y="50"/>
                  </a:lnTo>
                  <a:lnTo>
                    <a:pt x="15" y="54"/>
                  </a:lnTo>
                  <a:lnTo>
                    <a:pt x="13" y="61"/>
                  </a:lnTo>
                  <a:lnTo>
                    <a:pt x="13" y="66"/>
                  </a:lnTo>
                  <a:lnTo>
                    <a:pt x="13" y="66"/>
                  </a:lnTo>
                  <a:lnTo>
                    <a:pt x="15" y="73"/>
                  </a:lnTo>
                  <a:lnTo>
                    <a:pt x="20" y="77"/>
                  </a:lnTo>
                  <a:lnTo>
                    <a:pt x="25" y="80"/>
                  </a:lnTo>
                  <a:lnTo>
                    <a:pt x="32" y="80"/>
                  </a:lnTo>
                  <a:lnTo>
                    <a:pt x="32" y="80"/>
                  </a:lnTo>
                  <a:lnTo>
                    <a:pt x="37" y="77"/>
                  </a:lnTo>
                  <a:lnTo>
                    <a:pt x="43" y="73"/>
                  </a:lnTo>
                  <a:lnTo>
                    <a:pt x="44" y="68"/>
                  </a:lnTo>
                  <a:lnTo>
                    <a:pt x="44" y="61"/>
                  </a:lnTo>
                  <a:lnTo>
                    <a:pt x="44" y="61"/>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84" name="Freeform 730"/>
            <p:cNvSpPr>
              <a:spLocks/>
            </p:cNvSpPr>
            <p:nvPr/>
          </p:nvSpPr>
          <p:spPr bwMode="auto">
            <a:xfrm>
              <a:off x="10205645" y="4368571"/>
              <a:ext cx="60325" cy="61913"/>
            </a:xfrm>
            <a:custGeom>
              <a:avLst/>
              <a:gdLst>
                <a:gd name="T0" fmla="*/ 11 w 38"/>
                <a:gd name="T1" fmla="*/ 0 h 39"/>
                <a:gd name="T2" fmla="*/ 38 w 38"/>
                <a:gd name="T3" fmla="*/ 12 h 39"/>
                <a:gd name="T4" fmla="*/ 26 w 38"/>
                <a:gd name="T5" fmla="*/ 39 h 39"/>
                <a:gd name="T6" fmla="*/ 0 w 38"/>
                <a:gd name="T7" fmla="*/ 27 h 39"/>
                <a:gd name="T8" fmla="*/ 11 w 38"/>
                <a:gd name="T9" fmla="*/ 0 h 39"/>
              </a:gdLst>
              <a:ahLst/>
              <a:cxnLst>
                <a:cxn ang="0">
                  <a:pos x="T0" y="T1"/>
                </a:cxn>
                <a:cxn ang="0">
                  <a:pos x="T2" y="T3"/>
                </a:cxn>
                <a:cxn ang="0">
                  <a:pos x="T4" y="T5"/>
                </a:cxn>
                <a:cxn ang="0">
                  <a:pos x="T6" y="T7"/>
                </a:cxn>
                <a:cxn ang="0">
                  <a:pos x="T8" y="T9"/>
                </a:cxn>
              </a:cxnLst>
              <a:rect l="0" t="0" r="r" b="b"/>
              <a:pathLst>
                <a:path w="38" h="39">
                  <a:moveTo>
                    <a:pt x="11" y="0"/>
                  </a:moveTo>
                  <a:lnTo>
                    <a:pt x="38" y="12"/>
                  </a:lnTo>
                  <a:lnTo>
                    <a:pt x="26" y="39"/>
                  </a:lnTo>
                  <a:lnTo>
                    <a:pt x="0" y="27"/>
                  </a:lnTo>
                  <a:lnTo>
                    <a:pt x="11" y="0"/>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85" name="Freeform 731"/>
            <p:cNvSpPr>
              <a:spLocks/>
            </p:cNvSpPr>
            <p:nvPr/>
          </p:nvSpPr>
          <p:spPr bwMode="auto">
            <a:xfrm>
              <a:off x="10018320" y="4433658"/>
              <a:ext cx="201613" cy="92075"/>
            </a:xfrm>
            <a:custGeom>
              <a:avLst/>
              <a:gdLst>
                <a:gd name="T0" fmla="*/ 127 w 127"/>
                <a:gd name="T1" fmla="*/ 3 h 58"/>
                <a:gd name="T2" fmla="*/ 127 w 127"/>
                <a:gd name="T3" fmla="*/ 3 h 58"/>
                <a:gd name="T4" fmla="*/ 116 w 127"/>
                <a:gd name="T5" fmla="*/ 18 h 58"/>
                <a:gd name="T6" fmla="*/ 103 w 127"/>
                <a:gd name="T7" fmla="*/ 30 h 58"/>
                <a:gd name="T8" fmla="*/ 88 w 127"/>
                <a:gd name="T9" fmla="*/ 41 h 58"/>
                <a:gd name="T10" fmla="*/ 71 w 127"/>
                <a:gd name="T11" fmla="*/ 48 h 58"/>
                <a:gd name="T12" fmla="*/ 55 w 127"/>
                <a:gd name="T13" fmla="*/ 55 h 58"/>
                <a:gd name="T14" fmla="*/ 37 w 127"/>
                <a:gd name="T15" fmla="*/ 58 h 58"/>
                <a:gd name="T16" fmla="*/ 17 w 127"/>
                <a:gd name="T17" fmla="*/ 58 h 58"/>
                <a:gd name="T18" fmla="*/ 0 w 127"/>
                <a:gd name="T19" fmla="*/ 56 h 58"/>
                <a:gd name="T20" fmla="*/ 2 w 127"/>
                <a:gd name="T21" fmla="*/ 48 h 58"/>
                <a:gd name="T22" fmla="*/ 2 w 127"/>
                <a:gd name="T23" fmla="*/ 48 h 58"/>
                <a:gd name="T24" fmla="*/ 19 w 127"/>
                <a:gd name="T25" fmla="*/ 51 h 58"/>
                <a:gd name="T26" fmla="*/ 37 w 127"/>
                <a:gd name="T27" fmla="*/ 49 h 58"/>
                <a:gd name="T28" fmla="*/ 53 w 127"/>
                <a:gd name="T29" fmla="*/ 47 h 58"/>
                <a:gd name="T30" fmla="*/ 68 w 127"/>
                <a:gd name="T31" fmla="*/ 41 h 58"/>
                <a:gd name="T32" fmla="*/ 83 w 127"/>
                <a:gd name="T33" fmla="*/ 34 h 58"/>
                <a:gd name="T34" fmla="*/ 97 w 127"/>
                <a:gd name="T35" fmla="*/ 25 h 58"/>
                <a:gd name="T36" fmla="*/ 110 w 127"/>
                <a:gd name="T37" fmla="*/ 14 h 58"/>
                <a:gd name="T38" fmla="*/ 121 w 127"/>
                <a:gd name="T39" fmla="*/ 0 h 58"/>
                <a:gd name="T40" fmla="*/ 127 w 127"/>
                <a:gd name="T41"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 h="58">
                  <a:moveTo>
                    <a:pt x="127" y="3"/>
                  </a:moveTo>
                  <a:lnTo>
                    <a:pt x="127" y="3"/>
                  </a:lnTo>
                  <a:lnTo>
                    <a:pt x="116" y="18"/>
                  </a:lnTo>
                  <a:lnTo>
                    <a:pt x="103" y="30"/>
                  </a:lnTo>
                  <a:lnTo>
                    <a:pt x="88" y="41"/>
                  </a:lnTo>
                  <a:lnTo>
                    <a:pt x="71" y="48"/>
                  </a:lnTo>
                  <a:lnTo>
                    <a:pt x="55" y="55"/>
                  </a:lnTo>
                  <a:lnTo>
                    <a:pt x="37" y="58"/>
                  </a:lnTo>
                  <a:lnTo>
                    <a:pt x="17" y="58"/>
                  </a:lnTo>
                  <a:lnTo>
                    <a:pt x="0" y="56"/>
                  </a:lnTo>
                  <a:lnTo>
                    <a:pt x="2" y="48"/>
                  </a:lnTo>
                  <a:lnTo>
                    <a:pt x="2" y="48"/>
                  </a:lnTo>
                  <a:lnTo>
                    <a:pt x="19" y="51"/>
                  </a:lnTo>
                  <a:lnTo>
                    <a:pt x="37" y="49"/>
                  </a:lnTo>
                  <a:lnTo>
                    <a:pt x="53" y="47"/>
                  </a:lnTo>
                  <a:lnTo>
                    <a:pt x="68" y="41"/>
                  </a:lnTo>
                  <a:lnTo>
                    <a:pt x="83" y="34"/>
                  </a:lnTo>
                  <a:lnTo>
                    <a:pt x="97" y="25"/>
                  </a:lnTo>
                  <a:lnTo>
                    <a:pt x="110" y="14"/>
                  </a:lnTo>
                  <a:lnTo>
                    <a:pt x="121" y="0"/>
                  </a:lnTo>
                  <a:lnTo>
                    <a:pt x="127" y="3"/>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86" name="Freeform 732"/>
            <p:cNvSpPr>
              <a:spLocks/>
            </p:cNvSpPr>
            <p:nvPr/>
          </p:nvSpPr>
          <p:spPr bwMode="auto">
            <a:xfrm>
              <a:off x="10167545" y="4057421"/>
              <a:ext cx="73025" cy="73025"/>
            </a:xfrm>
            <a:custGeom>
              <a:avLst/>
              <a:gdLst>
                <a:gd name="T0" fmla="*/ 22 w 46"/>
                <a:gd name="T1" fmla="*/ 0 h 46"/>
                <a:gd name="T2" fmla="*/ 22 w 46"/>
                <a:gd name="T3" fmla="*/ 0 h 46"/>
                <a:gd name="T4" fmla="*/ 28 w 46"/>
                <a:gd name="T5" fmla="*/ 0 h 46"/>
                <a:gd name="T6" fmla="*/ 32 w 46"/>
                <a:gd name="T7" fmla="*/ 2 h 46"/>
                <a:gd name="T8" fmla="*/ 36 w 46"/>
                <a:gd name="T9" fmla="*/ 3 h 46"/>
                <a:gd name="T10" fmla="*/ 39 w 46"/>
                <a:gd name="T11" fmla="*/ 6 h 46"/>
                <a:gd name="T12" fmla="*/ 42 w 46"/>
                <a:gd name="T13" fmla="*/ 10 h 46"/>
                <a:gd name="T14" fmla="*/ 44 w 46"/>
                <a:gd name="T15" fmla="*/ 14 h 46"/>
                <a:gd name="T16" fmla="*/ 46 w 46"/>
                <a:gd name="T17" fmla="*/ 18 h 46"/>
                <a:gd name="T18" fmla="*/ 46 w 46"/>
                <a:gd name="T19" fmla="*/ 22 h 46"/>
                <a:gd name="T20" fmla="*/ 46 w 46"/>
                <a:gd name="T21" fmla="*/ 22 h 46"/>
                <a:gd name="T22" fmla="*/ 46 w 46"/>
                <a:gd name="T23" fmla="*/ 27 h 46"/>
                <a:gd name="T24" fmla="*/ 44 w 46"/>
                <a:gd name="T25" fmla="*/ 31 h 46"/>
                <a:gd name="T26" fmla="*/ 42 w 46"/>
                <a:gd name="T27" fmla="*/ 35 h 46"/>
                <a:gd name="T28" fmla="*/ 39 w 46"/>
                <a:gd name="T29" fmla="*/ 39 h 46"/>
                <a:gd name="T30" fmla="*/ 36 w 46"/>
                <a:gd name="T31" fmla="*/ 42 h 46"/>
                <a:gd name="T32" fmla="*/ 32 w 46"/>
                <a:gd name="T33" fmla="*/ 43 h 46"/>
                <a:gd name="T34" fmla="*/ 28 w 46"/>
                <a:gd name="T35" fmla="*/ 44 h 46"/>
                <a:gd name="T36" fmla="*/ 22 w 46"/>
                <a:gd name="T37" fmla="*/ 46 h 46"/>
                <a:gd name="T38" fmla="*/ 22 w 46"/>
                <a:gd name="T39" fmla="*/ 46 h 46"/>
                <a:gd name="T40" fmla="*/ 18 w 46"/>
                <a:gd name="T41" fmla="*/ 44 h 46"/>
                <a:gd name="T42" fmla="*/ 14 w 46"/>
                <a:gd name="T43" fmla="*/ 43 h 46"/>
                <a:gd name="T44" fmla="*/ 10 w 46"/>
                <a:gd name="T45" fmla="*/ 42 h 46"/>
                <a:gd name="T46" fmla="*/ 7 w 46"/>
                <a:gd name="T47" fmla="*/ 39 h 46"/>
                <a:gd name="T48" fmla="*/ 5 w 46"/>
                <a:gd name="T49" fmla="*/ 35 h 46"/>
                <a:gd name="T50" fmla="*/ 2 w 46"/>
                <a:gd name="T51" fmla="*/ 31 h 46"/>
                <a:gd name="T52" fmla="*/ 0 w 46"/>
                <a:gd name="T53" fmla="*/ 27 h 46"/>
                <a:gd name="T54" fmla="*/ 0 w 46"/>
                <a:gd name="T55" fmla="*/ 22 h 46"/>
                <a:gd name="T56" fmla="*/ 0 w 46"/>
                <a:gd name="T57" fmla="*/ 22 h 46"/>
                <a:gd name="T58" fmla="*/ 0 w 46"/>
                <a:gd name="T59" fmla="*/ 18 h 46"/>
                <a:gd name="T60" fmla="*/ 2 w 46"/>
                <a:gd name="T61" fmla="*/ 14 h 46"/>
                <a:gd name="T62" fmla="*/ 5 w 46"/>
                <a:gd name="T63" fmla="*/ 10 h 46"/>
                <a:gd name="T64" fmla="*/ 7 w 46"/>
                <a:gd name="T65" fmla="*/ 6 h 46"/>
                <a:gd name="T66" fmla="*/ 10 w 46"/>
                <a:gd name="T67" fmla="*/ 3 h 46"/>
                <a:gd name="T68" fmla="*/ 14 w 46"/>
                <a:gd name="T69" fmla="*/ 2 h 46"/>
                <a:gd name="T70" fmla="*/ 18 w 46"/>
                <a:gd name="T71" fmla="*/ 0 h 46"/>
                <a:gd name="T72" fmla="*/ 22 w 46"/>
                <a:gd name="T73" fmla="*/ 0 h 46"/>
                <a:gd name="T74" fmla="*/ 22 w 46"/>
                <a:gd name="T7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46">
                  <a:moveTo>
                    <a:pt x="22" y="0"/>
                  </a:moveTo>
                  <a:lnTo>
                    <a:pt x="22" y="0"/>
                  </a:lnTo>
                  <a:lnTo>
                    <a:pt x="28" y="0"/>
                  </a:lnTo>
                  <a:lnTo>
                    <a:pt x="32" y="2"/>
                  </a:lnTo>
                  <a:lnTo>
                    <a:pt x="36" y="3"/>
                  </a:lnTo>
                  <a:lnTo>
                    <a:pt x="39" y="6"/>
                  </a:lnTo>
                  <a:lnTo>
                    <a:pt x="42" y="10"/>
                  </a:lnTo>
                  <a:lnTo>
                    <a:pt x="44" y="14"/>
                  </a:lnTo>
                  <a:lnTo>
                    <a:pt x="46" y="18"/>
                  </a:lnTo>
                  <a:lnTo>
                    <a:pt x="46" y="22"/>
                  </a:lnTo>
                  <a:lnTo>
                    <a:pt x="46" y="22"/>
                  </a:lnTo>
                  <a:lnTo>
                    <a:pt x="46" y="27"/>
                  </a:lnTo>
                  <a:lnTo>
                    <a:pt x="44" y="31"/>
                  </a:lnTo>
                  <a:lnTo>
                    <a:pt x="42" y="35"/>
                  </a:lnTo>
                  <a:lnTo>
                    <a:pt x="39" y="39"/>
                  </a:lnTo>
                  <a:lnTo>
                    <a:pt x="36" y="42"/>
                  </a:lnTo>
                  <a:lnTo>
                    <a:pt x="32" y="43"/>
                  </a:lnTo>
                  <a:lnTo>
                    <a:pt x="28" y="44"/>
                  </a:lnTo>
                  <a:lnTo>
                    <a:pt x="22" y="46"/>
                  </a:lnTo>
                  <a:lnTo>
                    <a:pt x="22" y="46"/>
                  </a:lnTo>
                  <a:lnTo>
                    <a:pt x="18" y="44"/>
                  </a:lnTo>
                  <a:lnTo>
                    <a:pt x="14" y="43"/>
                  </a:lnTo>
                  <a:lnTo>
                    <a:pt x="10" y="42"/>
                  </a:lnTo>
                  <a:lnTo>
                    <a:pt x="7" y="39"/>
                  </a:lnTo>
                  <a:lnTo>
                    <a:pt x="5" y="35"/>
                  </a:lnTo>
                  <a:lnTo>
                    <a:pt x="2" y="31"/>
                  </a:lnTo>
                  <a:lnTo>
                    <a:pt x="0" y="27"/>
                  </a:lnTo>
                  <a:lnTo>
                    <a:pt x="0" y="22"/>
                  </a:lnTo>
                  <a:lnTo>
                    <a:pt x="0" y="22"/>
                  </a:lnTo>
                  <a:lnTo>
                    <a:pt x="0" y="18"/>
                  </a:lnTo>
                  <a:lnTo>
                    <a:pt x="2" y="14"/>
                  </a:lnTo>
                  <a:lnTo>
                    <a:pt x="5" y="10"/>
                  </a:lnTo>
                  <a:lnTo>
                    <a:pt x="7" y="6"/>
                  </a:lnTo>
                  <a:lnTo>
                    <a:pt x="10" y="3"/>
                  </a:lnTo>
                  <a:lnTo>
                    <a:pt x="14" y="2"/>
                  </a:lnTo>
                  <a:lnTo>
                    <a:pt x="18" y="0"/>
                  </a:lnTo>
                  <a:lnTo>
                    <a:pt x="22" y="0"/>
                  </a:lnTo>
                  <a:lnTo>
                    <a:pt x="22" y="0"/>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87" name="Freeform 733"/>
            <p:cNvSpPr>
              <a:spLocks/>
            </p:cNvSpPr>
            <p:nvPr/>
          </p:nvSpPr>
          <p:spPr bwMode="auto">
            <a:xfrm>
              <a:off x="10100870" y="4114571"/>
              <a:ext cx="60325" cy="61913"/>
            </a:xfrm>
            <a:custGeom>
              <a:avLst/>
              <a:gdLst>
                <a:gd name="T0" fmla="*/ 38 w 38"/>
                <a:gd name="T1" fmla="*/ 11 h 39"/>
                <a:gd name="T2" fmla="*/ 27 w 38"/>
                <a:gd name="T3" fmla="*/ 39 h 39"/>
                <a:gd name="T4" fmla="*/ 0 w 38"/>
                <a:gd name="T5" fmla="*/ 26 h 39"/>
                <a:gd name="T6" fmla="*/ 11 w 38"/>
                <a:gd name="T7" fmla="*/ 0 h 39"/>
                <a:gd name="T8" fmla="*/ 38 w 38"/>
                <a:gd name="T9" fmla="*/ 11 h 39"/>
              </a:gdLst>
              <a:ahLst/>
              <a:cxnLst>
                <a:cxn ang="0">
                  <a:pos x="T0" y="T1"/>
                </a:cxn>
                <a:cxn ang="0">
                  <a:pos x="T2" y="T3"/>
                </a:cxn>
                <a:cxn ang="0">
                  <a:pos x="T4" y="T5"/>
                </a:cxn>
                <a:cxn ang="0">
                  <a:pos x="T6" y="T7"/>
                </a:cxn>
                <a:cxn ang="0">
                  <a:pos x="T8" y="T9"/>
                </a:cxn>
              </a:cxnLst>
              <a:rect l="0" t="0" r="r" b="b"/>
              <a:pathLst>
                <a:path w="38" h="39">
                  <a:moveTo>
                    <a:pt x="38" y="11"/>
                  </a:moveTo>
                  <a:lnTo>
                    <a:pt x="27" y="39"/>
                  </a:lnTo>
                  <a:lnTo>
                    <a:pt x="0" y="26"/>
                  </a:lnTo>
                  <a:lnTo>
                    <a:pt x="11" y="0"/>
                  </a:lnTo>
                  <a:lnTo>
                    <a:pt x="38" y="11"/>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88" name="Freeform 734"/>
            <p:cNvSpPr>
              <a:spLocks/>
            </p:cNvSpPr>
            <p:nvPr/>
          </p:nvSpPr>
          <p:spPr bwMode="auto">
            <a:xfrm>
              <a:off x="9889732" y="4120921"/>
              <a:ext cx="204788" cy="92075"/>
            </a:xfrm>
            <a:custGeom>
              <a:avLst/>
              <a:gdLst>
                <a:gd name="T0" fmla="*/ 0 w 129"/>
                <a:gd name="T1" fmla="*/ 55 h 58"/>
                <a:gd name="T2" fmla="*/ 0 w 129"/>
                <a:gd name="T3" fmla="*/ 55 h 58"/>
                <a:gd name="T4" fmla="*/ 12 w 129"/>
                <a:gd name="T5" fmla="*/ 40 h 58"/>
                <a:gd name="T6" fmla="*/ 26 w 129"/>
                <a:gd name="T7" fmla="*/ 28 h 58"/>
                <a:gd name="T8" fmla="*/ 41 w 129"/>
                <a:gd name="T9" fmla="*/ 18 h 58"/>
                <a:gd name="T10" fmla="*/ 57 w 129"/>
                <a:gd name="T11" fmla="*/ 10 h 58"/>
                <a:gd name="T12" fmla="*/ 74 w 129"/>
                <a:gd name="T13" fmla="*/ 4 h 58"/>
                <a:gd name="T14" fmla="*/ 92 w 129"/>
                <a:gd name="T15" fmla="*/ 2 h 58"/>
                <a:gd name="T16" fmla="*/ 111 w 129"/>
                <a:gd name="T17" fmla="*/ 0 h 58"/>
                <a:gd name="T18" fmla="*/ 129 w 129"/>
                <a:gd name="T19" fmla="*/ 3 h 58"/>
                <a:gd name="T20" fmla="*/ 126 w 129"/>
                <a:gd name="T21" fmla="*/ 10 h 58"/>
                <a:gd name="T22" fmla="*/ 126 w 129"/>
                <a:gd name="T23" fmla="*/ 10 h 58"/>
                <a:gd name="T24" fmla="*/ 109 w 129"/>
                <a:gd name="T25" fmla="*/ 9 h 58"/>
                <a:gd name="T26" fmla="*/ 92 w 129"/>
                <a:gd name="T27" fmla="*/ 9 h 58"/>
                <a:gd name="T28" fmla="*/ 75 w 129"/>
                <a:gd name="T29" fmla="*/ 11 h 58"/>
                <a:gd name="T30" fmla="*/ 60 w 129"/>
                <a:gd name="T31" fmla="*/ 17 h 58"/>
                <a:gd name="T32" fmla="*/ 45 w 129"/>
                <a:gd name="T33" fmla="*/ 25 h 58"/>
                <a:gd name="T34" fmla="*/ 31 w 129"/>
                <a:gd name="T35" fmla="*/ 33 h 58"/>
                <a:gd name="T36" fmla="*/ 19 w 129"/>
                <a:gd name="T37" fmla="*/ 46 h 58"/>
                <a:gd name="T38" fmla="*/ 8 w 129"/>
                <a:gd name="T39" fmla="*/ 58 h 58"/>
                <a:gd name="T40" fmla="*/ 0 w 129"/>
                <a:gd name="T4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 h="58">
                  <a:moveTo>
                    <a:pt x="0" y="55"/>
                  </a:moveTo>
                  <a:lnTo>
                    <a:pt x="0" y="55"/>
                  </a:lnTo>
                  <a:lnTo>
                    <a:pt x="12" y="40"/>
                  </a:lnTo>
                  <a:lnTo>
                    <a:pt x="26" y="28"/>
                  </a:lnTo>
                  <a:lnTo>
                    <a:pt x="41" y="18"/>
                  </a:lnTo>
                  <a:lnTo>
                    <a:pt x="57" y="10"/>
                  </a:lnTo>
                  <a:lnTo>
                    <a:pt x="74" y="4"/>
                  </a:lnTo>
                  <a:lnTo>
                    <a:pt x="92" y="2"/>
                  </a:lnTo>
                  <a:lnTo>
                    <a:pt x="111" y="0"/>
                  </a:lnTo>
                  <a:lnTo>
                    <a:pt x="129" y="3"/>
                  </a:lnTo>
                  <a:lnTo>
                    <a:pt x="126" y="10"/>
                  </a:lnTo>
                  <a:lnTo>
                    <a:pt x="126" y="10"/>
                  </a:lnTo>
                  <a:lnTo>
                    <a:pt x="109" y="9"/>
                  </a:lnTo>
                  <a:lnTo>
                    <a:pt x="92" y="9"/>
                  </a:lnTo>
                  <a:lnTo>
                    <a:pt x="75" y="11"/>
                  </a:lnTo>
                  <a:lnTo>
                    <a:pt x="60" y="17"/>
                  </a:lnTo>
                  <a:lnTo>
                    <a:pt x="45" y="25"/>
                  </a:lnTo>
                  <a:lnTo>
                    <a:pt x="31" y="33"/>
                  </a:lnTo>
                  <a:lnTo>
                    <a:pt x="19" y="46"/>
                  </a:lnTo>
                  <a:lnTo>
                    <a:pt x="8" y="58"/>
                  </a:lnTo>
                  <a:lnTo>
                    <a:pt x="0" y="55"/>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89" name="Freeform 735"/>
            <p:cNvSpPr>
              <a:spLocks/>
            </p:cNvSpPr>
            <p:nvPr/>
          </p:nvSpPr>
          <p:spPr bwMode="auto">
            <a:xfrm>
              <a:off x="9950057" y="4473346"/>
              <a:ext cx="60325" cy="60325"/>
            </a:xfrm>
            <a:custGeom>
              <a:avLst/>
              <a:gdLst>
                <a:gd name="T0" fmla="*/ 38 w 38"/>
                <a:gd name="T1" fmla="*/ 12 h 38"/>
                <a:gd name="T2" fmla="*/ 26 w 38"/>
                <a:gd name="T3" fmla="*/ 38 h 38"/>
                <a:gd name="T4" fmla="*/ 0 w 38"/>
                <a:gd name="T5" fmla="*/ 27 h 38"/>
                <a:gd name="T6" fmla="*/ 11 w 38"/>
                <a:gd name="T7" fmla="*/ 0 h 38"/>
                <a:gd name="T8" fmla="*/ 38 w 38"/>
                <a:gd name="T9" fmla="*/ 12 h 38"/>
              </a:gdLst>
              <a:ahLst/>
              <a:cxnLst>
                <a:cxn ang="0">
                  <a:pos x="T0" y="T1"/>
                </a:cxn>
                <a:cxn ang="0">
                  <a:pos x="T2" y="T3"/>
                </a:cxn>
                <a:cxn ang="0">
                  <a:pos x="T4" y="T5"/>
                </a:cxn>
                <a:cxn ang="0">
                  <a:pos x="T6" y="T7"/>
                </a:cxn>
                <a:cxn ang="0">
                  <a:pos x="T8" y="T9"/>
                </a:cxn>
              </a:cxnLst>
              <a:rect l="0" t="0" r="r" b="b"/>
              <a:pathLst>
                <a:path w="38" h="38">
                  <a:moveTo>
                    <a:pt x="38" y="12"/>
                  </a:moveTo>
                  <a:lnTo>
                    <a:pt x="26" y="38"/>
                  </a:lnTo>
                  <a:lnTo>
                    <a:pt x="0" y="27"/>
                  </a:lnTo>
                  <a:lnTo>
                    <a:pt x="11" y="0"/>
                  </a:lnTo>
                  <a:lnTo>
                    <a:pt x="38" y="12"/>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90" name="Freeform 736"/>
            <p:cNvSpPr>
              <a:spLocks/>
            </p:cNvSpPr>
            <p:nvPr/>
          </p:nvSpPr>
          <p:spPr bwMode="auto">
            <a:xfrm>
              <a:off x="9854807" y="4284433"/>
              <a:ext cx="90488" cy="206375"/>
            </a:xfrm>
            <a:custGeom>
              <a:avLst/>
              <a:gdLst>
                <a:gd name="T0" fmla="*/ 57 w 57"/>
                <a:gd name="T1" fmla="*/ 123 h 130"/>
                <a:gd name="T2" fmla="*/ 55 w 57"/>
                <a:gd name="T3" fmla="*/ 130 h 130"/>
                <a:gd name="T4" fmla="*/ 55 w 57"/>
                <a:gd name="T5" fmla="*/ 130 h 130"/>
                <a:gd name="T6" fmla="*/ 39 w 57"/>
                <a:gd name="T7" fmla="*/ 117 h 130"/>
                <a:gd name="T8" fmla="*/ 27 w 57"/>
                <a:gd name="T9" fmla="*/ 103 h 130"/>
                <a:gd name="T10" fmla="*/ 17 w 57"/>
                <a:gd name="T11" fmla="*/ 88 h 130"/>
                <a:gd name="T12" fmla="*/ 9 w 57"/>
                <a:gd name="T13" fmla="*/ 73 h 130"/>
                <a:gd name="T14" fmla="*/ 4 w 57"/>
                <a:gd name="T15" fmla="*/ 55 h 130"/>
                <a:gd name="T16" fmla="*/ 0 w 57"/>
                <a:gd name="T17" fmla="*/ 37 h 130"/>
                <a:gd name="T18" fmla="*/ 0 w 57"/>
                <a:gd name="T19" fmla="*/ 18 h 130"/>
                <a:gd name="T20" fmla="*/ 2 w 57"/>
                <a:gd name="T21" fmla="*/ 0 h 130"/>
                <a:gd name="T22" fmla="*/ 9 w 57"/>
                <a:gd name="T23" fmla="*/ 3 h 130"/>
                <a:gd name="T24" fmla="*/ 9 w 57"/>
                <a:gd name="T25" fmla="*/ 3 h 130"/>
                <a:gd name="T26" fmla="*/ 8 w 57"/>
                <a:gd name="T27" fmla="*/ 21 h 130"/>
                <a:gd name="T28" fmla="*/ 8 w 57"/>
                <a:gd name="T29" fmla="*/ 37 h 130"/>
                <a:gd name="T30" fmla="*/ 11 w 57"/>
                <a:gd name="T31" fmla="*/ 54 h 130"/>
                <a:gd name="T32" fmla="*/ 16 w 57"/>
                <a:gd name="T33" fmla="*/ 69 h 130"/>
                <a:gd name="T34" fmla="*/ 23 w 57"/>
                <a:gd name="T35" fmla="*/ 84 h 130"/>
                <a:gd name="T36" fmla="*/ 33 w 57"/>
                <a:gd name="T37" fmla="*/ 98 h 130"/>
                <a:gd name="T38" fmla="*/ 44 w 57"/>
                <a:gd name="T39" fmla="*/ 112 h 130"/>
                <a:gd name="T40" fmla="*/ 57 w 57"/>
                <a:gd name="T41" fmla="*/ 123 h 130"/>
                <a:gd name="T42" fmla="*/ 57 w 57"/>
                <a:gd name="T43" fmla="*/ 12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130">
                  <a:moveTo>
                    <a:pt x="57" y="123"/>
                  </a:moveTo>
                  <a:lnTo>
                    <a:pt x="55" y="130"/>
                  </a:lnTo>
                  <a:lnTo>
                    <a:pt x="55" y="130"/>
                  </a:lnTo>
                  <a:lnTo>
                    <a:pt x="39" y="117"/>
                  </a:lnTo>
                  <a:lnTo>
                    <a:pt x="27" y="103"/>
                  </a:lnTo>
                  <a:lnTo>
                    <a:pt x="17" y="88"/>
                  </a:lnTo>
                  <a:lnTo>
                    <a:pt x="9" y="73"/>
                  </a:lnTo>
                  <a:lnTo>
                    <a:pt x="4" y="55"/>
                  </a:lnTo>
                  <a:lnTo>
                    <a:pt x="0" y="37"/>
                  </a:lnTo>
                  <a:lnTo>
                    <a:pt x="0" y="18"/>
                  </a:lnTo>
                  <a:lnTo>
                    <a:pt x="2" y="0"/>
                  </a:lnTo>
                  <a:lnTo>
                    <a:pt x="9" y="3"/>
                  </a:lnTo>
                  <a:lnTo>
                    <a:pt x="9" y="3"/>
                  </a:lnTo>
                  <a:lnTo>
                    <a:pt x="8" y="21"/>
                  </a:lnTo>
                  <a:lnTo>
                    <a:pt x="8" y="37"/>
                  </a:lnTo>
                  <a:lnTo>
                    <a:pt x="11" y="54"/>
                  </a:lnTo>
                  <a:lnTo>
                    <a:pt x="16" y="69"/>
                  </a:lnTo>
                  <a:lnTo>
                    <a:pt x="23" y="84"/>
                  </a:lnTo>
                  <a:lnTo>
                    <a:pt x="33" y="98"/>
                  </a:lnTo>
                  <a:lnTo>
                    <a:pt x="44" y="112"/>
                  </a:lnTo>
                  <a:lnTo>
                    <a:pt x="57" y="123"/>
                  </a:lnTo>
                  <a:lnTo>
                    <a:pt x="57" y="123"/>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sp>
          <p:nvSpPr>
            <p:cNvPr id="191" name="Freeform 737"/>
            <p:cNvSpPr>
              <a:spLocks/>
            </p:cNvSpPr>
            <p:nvPr/>
          </p:nvSpPr>
          <p:spPr bwMode="auto">
            <a:xfrm>
              <a:off x="9845282" y="4217758"/>
              <a:ext cx="61913" cy="60325"/>
            </a:xfrm>
            <a:custGeom>
              <a:avLst/>
              <a:gdLst>
                <a:gd name="T0" fmla="*/ 39 w 39"/>
                <a:gd name="T1" fmla="*/ 11 h 38"/>
                <a:gd name="T2" fmla="*/ 28 w 39"/>
                <a:gd name="T3" fmla="*/ 38 h 38"/>
                <a:gd name="T4" fmla="*/ 0 w 39"/>
                <a:gd name="T5" fmla="*/ 27 h 38"/>
                <a:gd name="T6" fmla="*/ 11 w 39"/>
                <a:gd name="T7" fmla="*/ 0 h 38"/>
                <a:gd name="T8" fmla="*/ 39 w 39"/>
                <a:gd name="T9" fmla="*/ 11 h 38"/>
              </a:gdLst>
              <a:ahLst/>
              <a:cxnLst>
                <a:cxn ang="0">
                  <a:pos x="T0" y="T1"/>
                </a:cxn>
                <a:cxn ang="0">
                  <a:pos x="T2" y="T3"/>
                </a:cxn>
                <a:cxn ang="0">
                  <a:pos x="T4" y="T5"/>
                </a:cxn>
                <a:cxn ang="0">
                  <a:pos x="T6" y="T7"/>
                </a:cxn>
                <a:cxn ang="0">
                  <a:pos x="T8" y="T9"/>
                </a:cxn>
              </a:cxnLst>
              <a:rect l="0" t="0" r="r" b="b"/>
              <a:pathLst>
                <a:path w="39" h="38">
                  <a:moveTo>
                    <a:pt x="39" y="11"/>
                  </a:moveTo>
                  <a:lnTo>
                    <a:pt x="28" y="38"/>
                  </a:lnTo>
                  <a:lnTo>
                    <a:pt x="0" y="27"/>
                  </a:lnTo>
                  <a:lnTo>
                    <a:pt x="11" y="0"/>
                  </a:lnTo>
                  <a:lnTo>
                    <a:pt x="39" y="11"/>
                  </a:lnTo>
                  <a:close/>
                </a:path>
              </a:pathLst>
            </a:custGeom>
            <a:grpFill/>
            <a:ln>
              <a:noFill/>
            </a:ln>
          </p:spPr>
          <p:txBody>
            <a:bodyPr vert="horz" wrap="square" lIns="78150" tIns="39075" rIns="78150" bIns="39075" numCol="1" anchor="t" anchorCtr="0" compatLnSpc="1">
              <a:prstTxWarp prst="textNoShape">
                <a:avLst/>
              </a:prstTxWarp>
            </a:bodyPr>
            <a:lstStyle/>
            <a:p>
              <a:pPr algn="ctr" fontAlgn="base">
                <a:spcBef>
                  <a:spcPct val="0"/>
                </a:spcBef>
                <a:spcAft>
                  <a:spcPct val="0"/>
                </a:spcAft>
              </a:pPr>
              <a:endParaRPr lang="en-IE" sz="1367" dirty="0">
                <a:solidFill>
                  <a:srgbClr val="646464"/>
                </a:solidFill>
              </a:endParaRPr>
            </a:p>
          </p:txBody>
        </p:sp>
      </p:grpSp>
      <p:grpSp>
        <p:nvGrpSpPr>
          <p:cNvPr id="192" name="Gruppieren 237"/>
          <p:cNvGrpSpPr/>
          <p:nvPr/>
        </p:nvGrpSpPr>
        <p:grpSpPr>
          <a:xfrm>
            <a:off x="773837" y="3956622"/>
            <a:ext cx="671705" cy="673934"/>
            <a:chOff x="5937946" y="3024092"/>
            <a:chExt cx="2392362" cy="2400301"/>
          </a:xfrm>
          <a:solidFill>
            <a:schemeClr val="tx1"/>
          </a:solidFill>
        </p:grpSpPr>
        <p:sp>
          <p:nvSpPr>
            <p:cNvPr id="193" name="Freeform 55"/>
            <p:cNvSpPr>
              <a:spLocks/>
            </p:cNvSpPr>
            <p:nvPr/>
          </p:nvSpPr>
          <p:spPr bwMode="auto">
            <a:xfrm>
              <a:off x="6115746" y="3132042"/>
              <a:ext cx="381000" cy="523875"/>
            </a:xfrm>
            <a:custGeom>
              <a:avLst/>
              <a:gdLst>
                <a:gd name="T0" fmla="*/ 316 w 479"/>
                <a:gd name="T1" fmla="*/ 531 h 659"/>
                <a:gd name="T2" fmla="*/ 263 w 479"/>
                <a:gd name="T3" fmla="*/ 548 h 659"/>
                <a:gd name="T4" fmla="*/ 213 w 479"/>
                <a:gd name="T5" fmla="*/ 548 h 659"/>
                <a:gd name="T6" fmla="*/ 150 w 479"/>
                <a:gd name="T7" fmla="*/ 531 h 659"/>
                <a:gd name="T8" fmla="*/ 111 w 479"/>
                <a:gd name="T9" fmla="*/ 509 h 659"/>
                <a:gd name="T10" fmla="*/ 0 w 479"/>
                <a:gd name="T11" fmla="*/ 561 h 659"/>
                <a:gd name="T12" fmla="*/ 46 w 479"/>
                <a:gd name="T13" fmla="*/ 601 h 659"/>
                <a:gd name="T14" fmla="*/ 100 w 479"/>
                <a:gd name="T15" fmla="*/ 633 h 659"/>
                <a:gd name="T16" fmla="*/ 163 w 479"/>
                <a:gd name="T17" fmla="*/ 653 h 659"/>
                <a:gd name="T18" fmla="*/ 233 w 479"/>
                <a:gd name="T19" fmla="*/ 659 h 659"/>
                <a:gd name="T20" fmla="*/ 287 w 479"/>
                <a:gd name="T21" fmla="*/ 657 h 659"/>
                <a:gd name="T22" fmla="*/ 335 w 479"/>
                <a:gd name="T23" fmla="*/ 646 h 659"/>
                <a:gd name="T24" fmla="*/ 396 w 479"/>
                <a:gd name="T25" fmla="*/ 620 h 659"/>
                <a:gd name="T26" fmla="*/ 427 w 479"/>
                <a:gd name="T27" fmla="*/ 594 h 659"/>
                <a:gd name="T28" fmla="*/ 462 w 479"/>
                <a:gd name="T29" fmla="*/ 544 h 659"/>
                <a:gd name="T30" fmla="*/ 474 w 479"/>
                <a:gd name="T31" fmla="*/ 503 h 659"/>
                <a:gd name="T32" fmla="*/ 479 w 479"/>
                <a:gd name="T33" fmla="*/ 457 h 659"/>
                <a:gd name="T34" fmla="*/ 474 w 479"/>
                <a:gd name="T35" fmla="*/ 411 h 659"/>
                <a:gd name="T36" fmla="*/ 459 w 479"/>
                <a:gd name="T37" fmla="*/ 376 h 659"/>
                <a:gd name="T38" fmla="*/ 444 w 479"/>
                <a:gd name="T39" fmla="*/ 355 h 659"/>
                <a:gd name="T40" fmla="*/ 409 w 479"/>
                <a:gd name="T41" fmla="*/ 326 h 659"/>
                <a:gd name="T42" fmla="*/ 368 w 479"/>
                <a:gd name="T43" fmla="*/ 309 h 659"/>
                <a:gd name="T44" fmla="*/ 401 w 479"/>
                <a:gd name="T45" fmla="*/ 289 h 659"/>
                <a:gd name="T46" fmla="*/ 429 w 479"/>
                <a:gd name="T47" fmla="*/ 259 h 659"/>
                <a:gd name="T48" fmla="*/ 448 w 479"/>
                <a:gd name="T49" fmla="*/ 220 h 659"/>
                <a:gd name="T50" fmla="*/ 455 w 479"/>
                <a:gd name="T51" fmla="*/ 170 h 659"/>
                <a:gd name="T52" fmla="*/ 446 w 479"/>
                <a:gd name="T53" fmla="*/ 111 h 659"/>
                <a:gd name="T54" fmla="*/ 429 w 479"/>
                <a:gd name="T55" fmla="*/ 78 h 659"/>
                <a:gd name="T56" fmla="*/ 392 w 479"/>
                <a:gd name="T57" fmla="*/ 41 h 659"/>
                <a:gd name="T58" fmla="*/ 359 w 479"/>
                <a:gd name="T59" fmla="*/ 22 h 659"/>
                <a:gd name="T60" fmla="*/ 322 w 479"/>
                <a:gd name="T61" fmla="*/ 9 h 659"/>
                <a:gd name="T62" fmla="*/ 255 w 479"/>
                <a:gd name="T63" fmla="*/ 0 h 659"/>
                <a:gd name="T64" fmla="*/ 196 w 479"/>
                <a:gd name="T65" fmla="*/ 2 h 659"/>
                <a:gd name="T66" fmla="*/ 135 w 479"/>
                <a:gd name="T67" fmla="*/ 15 h 659"/>
                <a:gd name="T68" fmla="*/ 83 w 479"/>
                <a:gd name="T69" fmla="*/ 37 h 659"/>
                <a:gd name="T70" fmla="*/ 39 w 479"/>
                <a:gd name="T71" fmla="*/ 67 h 659"/>
                <a:gd name="T72" fmla="*/ 92 w 479"/>
                <a:gd name="T73" fmla="*/ 165 h 659"/>
                <a:gd name="T74" fmla="*/ 139 w 479"/>
                <a:gd name="T75" fmla="*/ 131 h 659"/>
                <a:gd name="T76" fmla="*/ 172 w 479"/>
                <a:gd name="T77" fmla="*/ 117 h 659"/>
                <a:gd name="T78" fmla="*/ 227 w 479"/>
                <a:gd name="T79" fmla="*/ 107 h 659"/>
                <a:gd name="T80" fmla="*/ 274 w 479"/>
                <a:gd name="T81" fmla="*/ 113 h 659"/>
                <a:gd name="T82" fmla="*/ 305 w 479"/>
                <a:gd name="T83" fmla="*/ 129 h 659"/>
                <a:gd name="T84" fmla="*/ 322 w 479"/>
                <a:gd name="T85" fmla="*/ 154 h 659"/>
                <a:gd name="T86" fmla="*/ 327 w 479"/>
                <a:gd name="T87" fmla="*/ 185 h 659"/>
                <a:gd name="T88" fmla="*/ 322 w 479"/>
                <a:gd name="T89" fmla="*/ 218 h 659"/>
                <a:gd name="T90" fmla="*/ 305 w 479"/>
                <a:gd name="T91" fmla="*/ 244 h 659"/>
                <a:gd name="T92" fmla="*/ 257 w 479"/>
                <a:gd name="T93" fmla="*/ 263 h 659"/>
                <a:gd name="T94" fmla="*/ 174 w 479"/>
                <a:gd name="T95" fmla="*/ 368 h 659"/>
                <a:gd name="T96" fmla="*/ 264 w 479"/>
                <a:gd name="T97" fmla="*/ 370 h 659"/>
                <a:gd name="T98" fmla="*/ 309 w 479"/>
                <a:gd name="T99" fmla="*/ 381 h 659"/>
                <a:gd name="T100" fmla="*/ 331 w 479"/>
                <a:gd name="T101" fmla="*/ 396 h 659"/>
                <a:gd name="T102" fmla="*/ 346 w 479"/>
                <a:gd name="T103" fmla="*/ 420 h 659"/>
                <a:gd name="T104" fmla="*/ 351 w 479"/>
                <a:gd name="T105" fmla="*/ 459 h 659"/>
                <a:gd name="T106" fmla="*/ 346 w 479"/>
                <a:gd name="T107" fmla="*/ 498 h 659"/>
                <a:gd name="T108" fmla="*/ 324 w 479"/>
                <a:gd name="T109" fmla="*/ 526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9" h="659">
                  <a:moveTo>
                    <a:pt x="324" y="526"/>
                  </a:moveTo>
                  <a:lnTo>
                    <a:pt x="324" y="526"/>
                  </a:lnTo>
                  <a:lnTo>
                    <a:pt x="316" y="531"/>
                  </a:lnTo>
                  <a:lnTo>
                    <a:pt x="307" y="537"/>
                  </a:lnTo>
                  <a:lnTo>
                    <a:pt x="287" y="544"/>
                  </a:lnTo>
                  <a:lnTo>
                    <a:pt x="263" y="548"/>
                  </a:lnTo>
                  <a:lnTo>
                    <a:pt x="235" y="550"/>
                  </a:lnTo>
                  <a:lnTo>
                    <a:pt x="235" y="550"/>
                  </a:lnTo>
                  <a:lnTo>
                    <a:pt x="213" y="548"/>
                  </a:lnTo>
                  <a:lnTo>
                    <a:pt x="190" y="546"/>
                  </a:lnTo>
                  <a:lnTo>
                    <a:pt x="168" y="538"/>
                  </a:lnTo>
                  <a:lnTo>
                    <a:pt x="150" y="531"/>
                  </a:lnTo>
                  <a:lnTo>
                    <a:pt x="150" y="531"/>
                  </a:lnTo>
                  <a:lnTo>
                    <a:pt x="129" y="520"/>
                  </a:lnTo>
                  <a:lnTo>
                    <a:pt x="111" y="509"/>
                  </a:lnTo>
                  <a:lnTo>
                    <a:pt x="94" y="496"/>
                  </a:lnTo>
                  <a:lnTo>
                    <a:pt x="78" y="479"/>
                  </a:lnTo>
                  <a:lnTo>
                    <a:pt x="0" y="561"/>
                  </a:lnTo>
                  <a:lnTo>
                    <a:pt x="0" y="561"/>
                  </a:lnTo>
                  <a:lnTo>
                    <a:pt x="22" y="583"/>
                  </a:lnTo>
                  <a:lnTo>
                    <a:pt x="46" y="601"/>
                  </a:lnTo>
                  <a:lnTo>
                    <a:pt x="46" y="601"/>
                  </a:lnTo>
                  <a:lnTo>
                    <a:pt x="72" y="618"/>
                  </a:lnTo>
                  <a:lnTo>
                    <a:pt x="100" y="633"/>
                  </a:lnTo>
                  <a:lnTo>
                    <a:pt x="100" y="633"/>
                  </a:lnTo>
                  <a:lnTo>
                    <a:pt x="131" y="644"/>
                  </a:lnTo>
                  <a:lnTo>
                    <a:pt x="163" y="653"/>
                  </a:lnTo>
                  <a:lnTo>
                    <a:pt x="163" y="653"/>
                  </a:lnTo>
                  <a:lnTo>
                    <a:pt x="196" y="657"/>
                  </a:lnTo>
                  <a:lnTo>
                    <a:pt x="233" y="659"/>
                  </a:lnTo>
                  <a:lnTo>
                    <a:pt x="233" y="659"/>
                  </a:lnTo>
                  <a:lnTo>
                    <a:pt x="261" y="659"/>
                  </a:lnTo>
                  <a:lnTo>
                    <a:pt x="287" y="657"/>
                  </a:lnTo>
                  <a:lnTo>
                    <a:pt x="313" y="653"/>
                  </a:lnTo>
                  <a:lnTo>
                    <a:pt x="335" y="646"/>
                  </a:lnTo>
                  <a:lnTo>
                    <a:pt x="335" y="646"/>
                  </a:lnTo>
                  <a:lnTo>
                    <a:pt x="357" y="640"/>
                  </a:lnTo>
                  <a:lnTo>
                    <a:pt x="377" y="631"/>
                  </a:lnTo>
                  <a:lnTo>
                    <a:pt x="396" y="620"/>
                  </a:lnTo>
                  <a:lnTo>
                    <a:pt x="412" y="609"/>
                  </a:lnTo>
                  <a:lnTo>
                    <a:pt x="412" y="609"/>
                  </a:lnTo>
                  <a:lnTo>
                    <a:pt x="427" y="594"/>
                  </a:lnTo>
                  <a:lnTo>
                    <a:pt x="440" y="579"/>
                  </a:lnTo>
                  <a:lnTo>
                    <a:pt x="451" y="563"/>
                  </a:lnTo>
                  <a:lnTo>
                    <a:pt x="462" y="544"/>
                  </a:lnTo>
                  <a:lnTo>
                    <a:pt x="462" y="544"/>
                  </a:lnTo>
                  <a:lnTo>
                    <a:pt x="470" y="526"/>
                  </a:lnTo>
                  <a:lnTo>
                    <a:pt x="474" y="503"/>
                  </a:lnTo>
                  <a:lnTo>
                    <a:pt x="477" y="481"/>
                  </a:lnTo>
                  <a:lnTo>
                    <a:pt x="479" y="457"/>
                  </a:lnTo>
                  <a:lnTo>
                    <a:pt x="479" y="457"/>
                  </a:lnTo>
                  <a:lnTo>
                    <a:pt x="477" y="440"/>
                  </a:lnTo>
                  <a:lnTo>
                    <a:pt x="475" y="426"/>
                  </a:lnTo>
                  <a:lnTo>
                    <a:pt x="474" y="411"/>
                  </a:lnTo>
                  <a:lnTo>
                    <a:pt x="470" y="398"/>
                  </a:lnTo>
                  <a:lnTo>
                    <a:pt x="470" y="398"/>
                  </a:lnTo>
                  <a:lnTo>
                    <a:pt x="459" y="376"/>
                  </a:lnTo>
                  <a:lnTo>
                    <a:pt x="451" y="365"/>
                  </a:lnTo>
                  <a:lnTo>
                    <a:pt x="444" y="355"/>
                  </a:lnTo>
                  <a:lnTo>
                    <a:pt x="444" y="355"/>
                  </a:lnTo>
                  <a:lnTo>
                    <a:pt x="429" y="339"/>
                  </a:lnTo>
                  <a:lnTo>
                    <a:pt x="409" y="326"/>
                  </a:lnTo>
                  <a:lnTo>
                    <a:pt x="409" y="326"/>
                  </a:lnTo>
                  <a:lnTo>
                    <a:pt x="388" y="316"/>
                  </a:lnTo>
                  <a:lnTo>
                    <a:pt x="368" y="309"/>
                  </a:lnTo>
                  <a:lnTo>
                    <a:pt x="368" y="309"/>
                  </a:lnTo>
                  <a:lnTo>
                    <a:pt x="385" y="300"/>
                  </a:lnTo>
                  <a:lnTo>
                    <a:pt x="401" y="289"/>
                  </a:lnTo>
                  <a:lnTo>
                    <a:pt x="401" y="289"/>
                  </a:lnTo>
                  <a:lnTo>
                    <a:pt x="416" y="276"/>
                  </a:lnTo>
                  <a:lnTo>
                    <a:pt x="429" y="259"/>
                  </a:lnTo>
                  <a:lnTo>
                    <a:pt x="429" y="259"/>
                  </a:lnTo>
                  <a:lnTo>
                    <a:pt x="440" y="241"/>
                  </a:lnTo>
                  <a:lnTo>
                    <a:pt x="448" y="220"/>
                  </a:lnTo>
                  <a:lnTo>
                    <a:pt x="448" y="220"/>
                  </a:lnTo>
                  <a:lnTo>
                    <a:pt x="453" y="198"/>
                  </a:lnTo>
                  <a:lnTo>
                    <a:pt x="455" y="170"/>
                  </a:lnTo>
                  <a:lnTo>
                    <a:pt x="455" y="170"/>
                  </a:lnTo>
                  <a:lnTo>
                    <a:pt x="453" y="150"/>
                  </a:lnTo>
                  <a:lnTo>
                    <a:pt x="451" y="129"/>
                  </a:lnTo>
                  <a:lnTo>
                    <a:pt x="446" y="111"/>
                  </a:lnTo>
                  <a:lnTo>
                    <a:pt x="438" y="94"/>
                  </a:lnTo>
                  <a:lnTo>
                    <a:pt x="438" y="94"/>
                  </a:lnTo>
                  <a:lnTo>
                    <a:pt x="429" y="78"/>
                  </a:lnTo>
                  <a:lnTo>
                    <a:pt x="418" y="65"/>
                  </a:lnTo>
                  <a:lnTo>
                    <a:pt x="407" y="52"/>
                  </a:lnTo>
                  <a:lnTo>
                    <a:pt x="392" y="41"/>
                  </a:lnTo>
                  <a:lnTo>
                    <a:pt x="392" y="41"/>
                  </a:lnTo>
                  <a:lnTo>
                    <a:pt x="377" y="30"/>
                  </a:lnTo>
                  <a:lnTo>
                    <a:pt x="359" y="22"/>
                  </a:lnTo>
                  <a:lnTo>
                    <a:pt x="340" y="15"/>
                  </a:lnTo>
                  <a:lnTo>
                    <a:pt x="322" y="9"/>
                  </a:lnTo>
                  <a:lnTo>
                    <a:pt x="322" y="9"/>
                  </a:lnTo>
                  <a:lnTo>
                    <a:pt x="300" y="6"/>
                  </a:lnTo>
                  <a:lnTo>
                    <a:pt x="277" y="2"/>
                  </a:lnTo>
                  <a:lnTo>
                    <a:pt x="255" y="0"/>
                  </a:lnTo>
                  <a:lnTo>
                    <a:pt x="231" y="0"/>
                  </a:lnTo>
                  <a:lnTo>
                    <a:pt x="231" y="0"/>
                  </a:lnTo>
                  <a:lnTo>
                    <a:pt x="196" y="2"/>
                  </a:lnTo>
                  <a:lnTo>
                    <a:pt x="165" y="6"/>
                  </a:lnTo>
                  <a:lnTo>
                    <a:pt x="165" y="6"/>
                  </a:lnTo>
                  <a:lnTo>
                    <a:pt x="135" y="15"/>
                  </a:lnTo>
                  <a:lnTo>
                    <a:pt x="109" y="24"/>
                  </a:lnTo>
                  <a:lnTo>
                    <a:pt x="109" y="24"/>
                  </a:lnTo>
                  <a:lnTo>
                    <a:pt x="83" y="37"/>
                  </a:lnTo>
                  <a:lnTo>
                    <a:pt x="61" y="52"/>
                  </a:lnTo>
                  <a:lnTo>
                    <a:pt x="61" y="52"/>
                  </a:lnTo>
                  <a:lnTo>
                    <a:pt x="39" y="67"/>
                  </a:lnTo>
                  <a:lnTo>
                    <a:pt x="20" y="83"/>
                  </a:lnTo>
                  <a:lnTo>
                    <a:pt x="92" y="165"/>
                  </a:lnTo>
                  <a:lnTo>
                    <a:pt x="92" y="165"/>
                  </a:lnTo>
                  <a:lnTo>
                    <a:pt x="107" y="152"/>
                  </a:lnTo>
                  <a:lnTo>
                    <a:pt x="122" y="141"/>
                  </a:lnTo>
                  <a:lnTo>
                    <a:pt x="139" y="131"/>
                  </a:lnTo>
                  <a:lnTo>
                    <a:pt x="153" y="122"/>
                  </a:lnTo>
                  <a:lnTo>
                    <a:pt x="153" y="122"/>
                  </a:lnTo>
                  <a:lnTo>
                    <a:pt x="172" y="117"/>
                  </a:lnTo>
                  <a:lnTo>
                    <a:pt x="189" y="111"/>
                  </a:lnTo>
                  <a:lnTo>
                    <a:pt x="207" y="107"/>
                  </a:lnTo>
                  <a:lnTo>
                    <a:pt x="227" y="107"/>
                  </a:lnTo>
                  <a:lnTo>
                    <a:pt x="227" y="107"/>
                  </a:lnTo>
                  <a:lnTo>
                    <a:pt x="252" y="109"/>
                  </a:lnTo>
                  <a:lnTo>
                    <a:pt x="274" y="113"/>
                  </a:lnTo>
                  <a:lnTo>
                    <a:pt x="274" y="113"/>
                  </a:lnTo>
                  <a:lnTo>
                    <a:pt x="290" y="120"/>
                  </a:lnTo>
                  <a:lnTo>
                    <a:pt x="305" y="129"/>
                  </a:lnTo>
                  <a:lnTo>
                    <a:pt x="305" y="129"/>
                  </a:lnTo>
                  <a:lnTo>
                    <a:pt x="314" y="141"/>
                  </a:lnTo>
                  <a:lnTo>
                    <a:pt x="322" y="154"/>
                  </a:lnTo>
                  <a:lnTo>
                    <a:pt x="322" y="154"/>
                  </a:lnTo>
                  <a:lnTo>
                    <a:pt x="326" y="168"/>
                  </a:lnTo>
                  <a:lnTo>
                    <a:pt x="327" y="185"/>
                  </a:lnTo>
                  <a:lnTo>
                    <a:pt x="327" y="185"/>
                  </a:lnTo>
                  <a:lnTo>
                    <a:pt x="326" y="204"/>
                  </a:lnTo>
                  <a:lnTo>
                    <a:pt x="322" y="218"/>
                  </a:lnTo>
                  <a:lnTo>
                    <a:pt x="314" y="233"/>
                  </a:lnTo>
                  <a:lnTo>
                    <a:pt x="305" y="244"/>
                  </a:lnTo>
                  <a:lnTo>
                    <a:pt x="305" y="244"/>
                  </a:lnTo>
                  <a:lnTo>
                    <a:pt x="292" y="252"/>
                  </a:lnTo>
                  <a:lnTo>
                    <a:pt x="277" y="259"/>
                  </a:lnTo>
                  <a:lnTo>
                    <a:pt x="257" y="263"/>
                  </a:lnTo>
                  <a:lnTo>
                    <a:pt x="235" y="263"/>
                  </a:lnTo>
                  <a:lnTo>
                    <a:pt x="174" y="263"/>
                  </a:lnTo>
                  <a:lnTo>
                    <a:pt x="174" y="368"/>
                  </a:lnTo>
                  <a:lnTo>
                    <a:pt x="237" y="368"/>
                  </a:lnTo>
                  <a:lnTo>
                    <a:pt x="237" y="368"/>
                  </a:lnTo>
                  <a:lnTo>
                    <a:pt x="264" y="370"/>
                  </a:lnTo>
                  <a:lnTo>
                    <a:pt x="289" y="374"/>
                  </a:lnTo>
                  <a:lnTo>
                    <a:pt x="289" y="374"/>
                  </a:lnTo>
                  <a:lnTo>
                    <a:pt x="309" y="381"/>
                  </a:lnTo>
                  <a:lnTo>
                    <a:pt x="324" y="390"/>
                  </a:lnTo>
                  <a:lnTo>
                    <a:pt x="324" y="390"/>
                  </a:lnTo>
                  <a:lnTo>
                    <a:pt x="331" y="396"/>
                  </a:lnTo>
                  <a:lnTo>
                    <a:pt x="337" y="403"/>
                  </a:lnTo>
                  <a:lnTo>
                    <a:pt x="342" y="411"/>
                  </a:lnTo>
                  <a:lnTo>
                    <a:pt x="346" y="420"/>
                  </a:lnTo>
                  <a:lnTo>
                    <a:pt x="346" y="420"/>
                  </a:lnTo>
                  <a:lnTo>
                    <a:pt x="350" y="439"/>
                  </a:lnTo>
                  <a:lnTo>
                    <a:pt x="351" y="459"/>
                  </a:lnTo>
                  <a:lnTo>
                    <a:pt x="351" y="459"/>
                  </a:lnTo>
                  <a:lnTo>
                    <a:pt x="350" y="479"/>
                  </a:lnTo>
                  <a:lnTo>
                    <a:pt x="346" y="498"/>
                  </a:lnTo>
                  <a:lnTo>
                    <a:pt x="337" y="513"/>
                  </a:lnTo>
                  <a:lnTo>
                    <a:pt x="324" y="526"/>
                  </a:lnTo>
                  <a:lnTo>
                    <a:pt x="324" y="5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94" name="Freeform 56"/>
            <p:cNvSpPr>
              <a:spLocks noEditPoints="1"/>
            </p:cNvSpPr>
            <p:nvPr/>
          </p:nvSpPr>
          <p:spPr bwMode="auto">
            <a:xfrm>
              <a:off x="6560246" y="3139980"/>
              <a:ext cx="411162" cy="508000"/>
            </a:xfrm>
            <a:custGeom>
              <a:avLst/>
              <a:gdLst>
                <a:gd name="T0" fmla="*/ 272 w 519"/>
                <a:gd name="T1" fmla="*/ 633 h 641"/>
                <a:gd name="T2" fmla="*/ 311 w 519"/>
                <a:gd name="T3" fmla="*/ 622 h 641"/>
                <a:gd name="T4" fmla="*/ 348 w 519"/>
                <a:gd name="T5" fmla="*/ 607 h 641"/>
                <a:gd name="T6" fmla="*/ 367 w 519"/>
                <a:gd name="T7" fmla="*/ 598 h 641"/>
                <a:gd name="T8" fmla="*/ 400 w 519"/>
                <a:gd name="T9" fmla="*/ 578 h 641"/>
                <a:gd name="T10" fmla="*/ 417 w 519"/>
                <a:gd name="T11" fmla="*/ 565 h 641"/>
                <a:gd name="T12" fmla="*/ 446 w 519"/>
                <a:gd name="T13" fmla="*/ 537 h 641"/>
                <a:gd name="T14" fmla="*/ 470 w 519"/>
                <a:gd name="T15" fmla="*/ 504 h 641"/>
                <a:gd name="T16" fmla="*/ 482 w 519"/>
                <a:gd name="T17" fmla="*/ 485 h 641"/>
                <a:gd name="T18" fmla="*/ 498 w 519"/>
                <a:gd name="T19" fmla="*/ 444 h 641"/>
                <a:gd name="T20" fmla="*/ 506 w 519"/>
                <a:gd name="T21" fmla="*/ 422 h 641"/>
                <a:gd name="T22" fmla="*/ 515 w 519"/>
                <a:gd name="T23" fmla="*/ 374 h 641"/>
                <a:gd name="T24" fmla="*/ 519 w 519"/>
                <a:gd name="T25" fmla="*/ 320 h 641"/>
                <a:gd name="T26" fmla="*/ 517 w 519"/>
                <a:gd name="T27" fmla="*/ 278 h 641"/>
                <a:gd name="T28" fmla="*/ 506 w 519"/>
                <a:gd name="T29" fmla="*/ 204 h 641"/>
                <a:gd name="T30" fmla="*/ 494 w 519"/>
                <a:gd name="T31" fmla="*/ 172 h 641"/>
                <a:gd name="T32" fmla="*/ 465 w 519"/>
                <a:gd name="T33" fmla="*/ 117 h 641"/>
                <a:gd name="T34" fmla="*/ 428 w 519"/>
                <a:gd name="T35" fmla="*/ 72 h 641"/>
                <a:gd name="T36" fmla="*/ 406 w 519"/>
                <a:gd name="T37" fmla="*/ 54 h 641"/>
                <a:gd name="T38" fmla="*/ 356 w 519"/>
                <a:gd name="T39" fmla="*/ 28 h 641"/>
                <a:gd name="T40" fmla="*/ 328 w 519"/>
                <a:gd name="T41" fmla="*/ 17 h 641"/>
                <a:gd name="T42" fmla="*/ 267 w 519"/>
                <a:gd name="T43" fmla="*/ 4 h 641"/>
                <a:gd name="T44" fmla="*/ 200 w 519"/>
                <a:gd name="T45" fmla="*/ 0 h 641"/>
                <a:gd name="T46" fmla="*/ 0 w 519"/>
                <a:gd name="T47" fmla="*/ 641 h 641"/>
                <a:gd name="T48" fmla="*/ 191 w 519"/>
                <a:gd name="T49" fmla="*/ 641 h 641"/>
                <a:gd name="T50" fmla="*/ 272 w 519"/>
                <a:gd name="T51" fmla="*/ 633 h 641"/>
                <a:gd name="T52" fmla="*/ 128 w 519"/>
                <a:gd name="T53" fmla="*/ 124 h 641"/>
                <a:gd name="T54" fmla="*/ 197 w 519"/>
                <a:gd name="T55" fmla="*/ 124 h 641"/>
                <a:gd name="T56" fmla="*/ 243 w 519"/>
                <a:gd name="T57" fmla="*/ 128 h 641"/>
                <a:gd name="T58" fmla="*/ 284 w 519"/>
                <a:gd name="T59" fmla="*/ 137 h 641"/>
                <a:gd name="T60" fmla="*/ 300 w 519"/>
                <a:gd name="T61" fmla="*/ 143 h 641"/>
                <a:gd name="T62" fmla="*/ 330 w 519"/>
                <a:gd name="T63" fmla="*/ 161 h 641"/>
                <a:gd name="T64" fmla="*/ 343 w 519"/>
                <a:gd name="T65" fmla="*/ 172 h 641"/>
                <a:gd name="T66" fmla="*/ 361 w 519"/>
                <a:gd name="T67" fmla="*/ 200 h 641"/>
                <a:gd name="T68" fmla="*/ 376 w 519"/>
                <a:gd name="T69" fmla="*/ 235 h 641"/>
                <a:gd name="T70" fmla="*/ 382 w 519"/>
                <a:gd name="T71" fmla="*/ 254 h 641"/>
                <a:gd name="T72" fmla="*/ 385 w 519"/>
                <a:gd name="T73" fmla="*/ 296 h 641"/>
                <a:gd name="T74" fmla="*/ 387 w 519"/>
                <a:gd name="T75" fmla="*/ 320 h 641"/>
                <a:gd name="T76" fmla="*/ 383 w 519"/>
                <a:gd name="T77" fmla="*/ 363 h 641"/>
                <a:gd name="T78" fmla="*/ 374 w 519"/>
                <a:gd name="T79" fmla="*/ 400 h 641"/>
                <a:gd name="T80" fmla="*/ 369 w 519"/>
                <a:gd name="T81" fmla="*/ 417 h 641"/>
                <a:gd name="T82" fmla="*/ 350 w 519"/>
                <a:gd name="T83" fmla="*/ 448 h 641"/>
                <a:gd name="T84" fmla="*/ 339 w 519"/>
                <a:gd name="T85" fmla="*/ 461 h 641"/>
                <a:gd name="T86" fmla="*/ 311 w 519"/>
                <a:gd name="T87" fmla="*/ 485 h 641"/>
                <a:gd name="T88" fmla="*/ 278 w 519"/>
                <a:gd name="T89" fmla="*/ 502 h 641"/>
                <a:gd name="T90" fmla="*/ 260 w 519"/>
                <a:gd name="T91" fmla="*/ 507 h 641"/>
                <a:gd name="T92" fmla="*/ 215 w 519"/>
                <a:gd name="T93" fmla="*/ 515 h 641"/>
                <a:gd name="T94" fmla="*/ 128 w 519"/>
                <a:gd name="T95" fmla="*/ 517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9" h="641">
                  <a:moveTo>
                    <a:pt x="272" y="633"/>
                  </a:moveTo>
                  <a:lnTo>
                    <a:pt x="272" y="633"/>
                  </a:lnTo>
                  <a:lnTo>
                    <a:pt x="293" y="628"/>
                  </a:lnTo>
                  <a:lnTo>
                    <a:pt x="311" y="622"/>
                  </a:lnTo>
                  <a:lnTo>
                    <a:pt x="330" y="615"/>
                  </a:lnTo>
                  <a:lnTo>
                    <a:pt x="348" y="607"/>
                  </a:lnTo>
                  <a:lnTo>
                    <a:pt x="348" y="607"/>
                  </a:lnTo>
                  <a:lnTo>
                    <a:pt x="367" y="598"/>
                  </a:lnTo>
                  <a:lnTo>
                    <a:pt x="383" y="589"/>
                  </a:lnTo>
                  <a:lnTo>
                    <a:pt x="400" y="578"/>
                  </a:lnTo>
                  <a:lnTo>
                    <a:pt x="417" y="565"/>
                  </a:lnTo>
                  <a:lnTo>
                    <a:pt x="417" y="565"/>
                  </a:lnTo>
                  <a:lnTo>
                    <a:pt x="432" y="552"/>
                  </a:lnTo>
                  <a:lnTo>
                    <a:pt x="446" y="537"/>
                  </a:lnTo>
                  <a:lnTo>
                    <a:pt x="459" y="520"/>
                  </a:lnTo>
                  <a:lnTo>
                    <a:pt x="470" y="504"/>
                  </a:lnTo>
                  <a:lnTo>
                    <a:pt x="470" y="504"/>
                  </a:lnTo>
                  <a:lnTo>
                    <a:pt x="482" y="485"/>
                  </a:lnTo>
                  <a:lnTo>
                    <a:pt x="491" y="465"/>
                  </a:lnTo>
                  <a:lnTo>
                    <a:pt x="498" y="444"/>
                  </a:lnTo>
                  <a:lnTo>
                    <a:pt x="506" y="422"/>
                  </a:lnTo>
                  <a:lnTo>
                    <a:pt x="506" y="422"/>
                  </a:lnTo>
                  <a:lnTo>
                    <a:pt x="511" y="398"/>
                  </a:lnTo>
                  <a:lnTo>
                    <a:pt x="515" y="374"/>
                  </a:lnTo>
                  <a:lnTo>
                    <a:pt x="519" y="348"/>
                  </a:lnTo>
                  <a:lnTo>
                    <a:pt x="519" y="320"/>
                  </a:lnTo>
                  <a:lnTo>
                    <a:pt x="519" y="320"/>
                  </a:lnTo>
                  <a:lnTo>
                    <a:pt x="517" y="278"/>
                  </a:lnTo>
                  <a:lnTo>
                    <a:pt x="513" y="239"/>
                  </a:lnTo>
                  <a:lnTo>
                    <a:pt x="506" y="204"/>
                  </a:lnTo>
                  <a:lnTo>
                    <a:pt x="494" y="172"/>
                  </a:lnTo>
                  <a:lnTo>
                    <a:pt x="494" y="172"/>
                  </a:lnTo>
                  <a:lnTo>
                    <a:pt x="482" y="143"/>
                  </a:lnTo>
                  <a:lnTo>
                    <a:pt x="465" y="117"/>
                  </a:lnTo>
                  <a:lnTo>
                    <a:pt x="448" y="93"/>
                  </a:lnTo>
                  <a:lnTo>
                    <a:pt x="428" y="72"/>
                  </a:lnTo>
                  <a:lnTo>
                    <a:pt x="428" y="72"/>
                  </a:lnTo>
                  <a:lnTo>
                    <a:pt x="406" y="54"/>
                  </a:lnTo>
                  <a:lnTo>
                    <a:pt x="382" y="39"/>
                  </a:lnTo>
                  <a:lnTo>
                    <a:pt x="356" y="28"/>
                  </a:lnTo>
                  <a:lnTo>
                    <a:pt x="328" y="17"/>
                  </a:lnTo>
                  <a:lnTo>
                    <a:pt x="328" y="17"/>
                  </a:lnTo>
                  <a:lnTo>
                    <a:pt x="297" y="9"/>
                  </a:lnTo>
                  <a:lnTo>
                    <a:pt x="267" y="4"/>
                  </a:lnTo>
                  <a:lnTo>
                    <a:pt x="234" y="0"/>
                  </a:lnTo>
                  <a:lnTo>
                    <a:pt x="200" y="0"/>
                  </a:lnTo>
                  <a:lnTo>
                    <a:pt x="0" y="0"/>
                  </a:lnTo>
                  <a:lnTo>
                    <a:pt x="0" y="641"/>
                  </a:lnTo>
                  <a:lnTo>
                    <a:pt x="191" y="641"/>
                  </a:lnTo>
                  <a:lnTo>
                    <a:pt x="191" y="641"/>
                  </a:lnTo>
                  <a:lnTo>
                    <a:pt x="232" y="639"/>
                  </a:lnTo>
                  <a:lnTo>
                    <a:pt x="272" y="633"/>
                  </a:lnTo>
                  <a:lnTo>
                    <a:pt x="272" y="633"/>
                  </a:lnTo>
                  <a:close/>
                  <a:moveTo>
                    <a:pt x="128" y="124"/>
                  </a:moveTo>
                  <a:lnTo>
                    <a:pt x="197" y="124"/>
                  </a:lnTo>
                  <a:lnTo>
                    <a:pt x="197" y="124"/>
                  </a:lnTo>
                  <a:lnTo>
                    <a:pt x="221" y="126"/>
                  </a:lnTo>
                  <a:lnTo>
                    <a:pt x="243" y="128"/>
                  </a:lnTo>
                  <a:lnTo>
                    <a:pt x="263" y="132"/>
                  </a:lnTo>
                  <a:lnTo>
                    <a:pt x="284" y="137"/>
                  </a:lnTo>
                  <a:lnTo>
                    <a:pt x="284" y="137"/>
                  </a:lnTo>
                  <a:lnTo>
                    <a:pt x="300" y="143"/>
                  </a:lnTo>
                  <a:lnTo>
                    <a:pt x="315" y="152"/>
                  </a:lnTo>
                  <a:lnTo>
                    <a:pt x="330" y="161"/>
                  </a:lnTo>
                  <a:lnTo>
                    <a:pt x="343" y="172"/>
                  </a:lnTo>
                  <a:lnTo>
                    <a:pt x="343" y="172"/>
                  </a:lnTo>
                  <a:lnTo>
                    <a:pt x="352" y="187"/>
                  </a:lnTo>
                  <a:lnTo>
                    <a:pt x="361" y="200"/>
                  </a:lnTo>
                  <a:lnTo>
                    <a:pt x="371" y="217"/>
                  </a:lnTo>
                  <a:lnTo>
                    <a:pt x="376" y="235"/>
                  </a:lnTo>
                  <a:lnTo>
                    <a:pt x="376" y="235"/>
                  </a:lnTo>
                  <a:lnTo>
                    <a:pt x="382" y="254"/>
                  </a:lnTo>
                  <a:lnTo>
                    <a:pt x="383" y="274"/>
                  </a:lnTo>
                  <a:lnTo>
                    <a:pt x="385" y="296"/>
                  </a:lnTo>
                  <a:lnTo>
                    <a:pt x="387" y="320"/>
                  </a:lnTo>
                  <a:lnTo>
                    <a:pt x="387" y="320"/>
                  </a:lnTo>
                  <a:lnTo>
                    <a:pt x="385" y="341"/>
                  </a:lnTo>
                  <a:lnTo>
                    <a:pt x="383" y="363"/>
                  </a:lnTo>
                  <a:lnTo>
                    <a:pt x="380" y="381"/>
                  </a:lnTo>
                  <a:lnTo>
                    <a:pt x="374" y="400"/>
                  </a:lnTo>
                  <a:lnTo>
                    <a:pt x="374" y="400"/>
                  </a:lnTo>
                  <a:lnTo>
                    <a:pt x="369" y="417"/>
                  </a:lnTo>
                  <a:lnTo>
                    <a:pt x="359" y="433"/>
                  </a:lnTo>
                  <a:lnTo>
                    <a:pt x="350" y="448"/>
                  </a:lnTo>
                  <a:lnTo>
                    <a:pt x="339" y="461"/>
                  </a:lnTo>
                  <a:lnTo>
                    <a:pt x="339" y="461"/>
                  </a:lnTo>
                  <a:lnTo>
                    <a:pt x="326" y="474"/>
                  </a:lnTo>
                  <a:lnTo>
                    <a:pt x="311" y="485"/>
                  </a:lnTo>
                  <a:lnTo>
                    <a:pt x="297" y="494"/>
                  </a:lnTo>
                  <a:lnTo>
                    <a:pt x="278" y="502"/>
                  </a:lnTo>
                  <a:lnTo>
                    <a:pt x="278" y="502"/>
                  </a:lnTo>
                  <a:lnTo>
                    <a:pt x="260" y="507"/>
                  </a:lnTo>
                  <a:lnTo>
                    <a:pt x="237" y="513"/>
                  </a:lnTo>
                  <a:lnTo>
                    <a:pt x="215" y="515"/>
                  </a:lnTo>
                  <a:lnTo>
                    <a:pt x="191" y="517"/>
                  </a:lnTo>
                  <a:lnTo>
                    <a:pt x="128" y="517"/>
                  </a:lnTo>
                  <a:lnTo>
                    <a:pt x="128" y="1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95" name="Freeform 57"/>
            <p:cNvSpPr>
              <a:spLocks noEditPoints="1"/>
            </p:cNvSpPr>
            <p:nvPr/>
          </p:nvSpPr>
          <p:spPr bwMode="auto">
            <a:xfrm>
              <a:off x="5937946" y="3771805"/>
              <a:ext cx="2392362" cy="1652588"/>
            </a:xfrm>
            <a:custGeom>
              <a:avLst/>
              <a:gdLst>
                <a:gd name="T0" fmla="*/ 2281 w 3014"/>
                <a:gd name="T1" fmla="*/ 439 h 2082"/>
                <a:gd name="T2" fmla="*/ 2279 w 3014"/>
                <a:gd name="T3" fmla="*/ 427 h 2082"/>
                <a:gd name="T4" fmla="*/ 2274 w 3014"/>
                <a:gd name="T5" fmla="*/ 407 h 2082"/>
                <a:gd name="T6" fmla="*/ 2265 w 3014"/>
                <a:gd name="T7" fmla="*/ 389 h 2082"/>
                <a:gd name="T8" fmla="*/ 2250 w 3014"/>
                <a:gd name="T9" fmla="*/ 372 h 2082"/>
                <a:gd name="T10" fmla="*/ 2241 w 3014"/>
                <a:gd name="T11" fmla="*/ 366 h 2082"/>
                <a:gd name="T12" fmla="*/ 2220 w 3014"/>
                <a:gd name="T13" fmla="*/ 357 h 2082"/>
                <a:gd name="T14" fmla="*/ 2198 w 3014"/>
                <a:gd name="T15" fmla="*/ 353 h 2082"/>
                <a:gd name="T16" fmla="*/ 2176 w 3014"/>
                <a:gd name="T17" fmla="*/ 355 h 2082"/>
                <a:gd name="T18" fmla="*/ 2154 w 3014"/>
                <a:gd name="T19" fmla="*/ 365 h 2082"/>
                <a:gd name="T20" fmla="*/ 814 w 3014"/>
                <a:gd name="T21" fmla="*/ 370 h 2082"/>
                <a:gd name="T22" fmla="*/ 1458 w 3014"/>
                <a:gd name="T23" fmla="*/ 107 h 2082"/>
                <a:gd name="T24" fmla="*/ 1423 w 3014"/>
                <a:gd name="T25" fmla="*/ 0 h 2082"/>
                <a:gd name="T26" fmla="*/ 746 w 3014"/>
                <a:gd name="T27" fmla="*/ 320 h 2082"/>
                <a:gd name="T28" fmla="*/ 723 w 3014"/>
                <a:gd name="T29" fmla="*/ 339 h 2082"/>
                <a:gd name="T30" fmla="*/ 714 w 3014"/>
                <a:gd name="T31" fmla="*/ 366 h 2082"/>
                <a:gd name="T32" fmla="*/ 716 w 3014"/>
                <a:gd name="T33" fmla="*/ 381 h 2082"/>
                <a:gd name="T34" fmla="*/ 731 w 3014"/>
                <a:gd name="T35" fmla="*/ 405 h 2082"/>
                <a:gd name="T36" fmla="*/ 1471 w 3014"/>
                <a:gd name="T37" fmla="*/ 814 h 2082"/>
                <a:gd name="T38" fmla="*/ 809 w 3014"/>
                <a:gd name="T39" fmla="*/ 1258 h 2082"/>
                <a:gd name="T40" fmla="*/ 735 w 3014"/>
                <a:gd name="T41" fmla="*/ 494 h 2082"/>
                <a:gd name="T42" fmla="*/ 735 w 3014"/>
                <a:gd name="T43" fmla="*/ 1264 h 2082"/>
                <a:gd name="T44" fmla="*/ 736 w 3014"/>
                <a:gd name="T45" fmla="*/ 1281 h 2082"/>
                <a:gd name="T46" fmla="*/ 753 w 3014"/>
                <a:gd name="T47" fmla="*/ 1308 h 2082"/>
                <a:gd name="T48" fmla="*/ 766 w 3014"/>
                <a:gd name="T49" fmla="*/ 1320 h 2082"/>
                <a:gd name="T50" fmla="*/ 1475 w 3014"/>
                <a:gd name="T51" fmla="*/ 1727 h 2082"/>
                <a:gd name="T52" fmla="*/ 1491 w 3014"/>
                <a:gd name="T53" fmla="*/ 1732 h 2082"/>
                <a:gd name="T54" fmla="*/ 1523 w 3014"/>
                <a:gd name="T55" fmla="*/ 1732 h 2082"/>
                <a:gd name="T56" fmla="*/ 1539 w 3014"/>
                <a:gd name="T57" fmla="*/ 1727 h 2082"/>
                <a:gd name="T58" fmla="*/ 2252 w 3014"/>
                <a:gd name="T59" fmla="*/ 1318 h 2082"/>
                <a:gd name="T60" fmla="*/ 2272 w 3014"/>
                <a:gd name="T61" fmla="*/ 1297 h 2082"/>
                <a:gd name="T62" fmla="*/ 2281 w 3014"/>
                <a:gd name="T63" fmla="*/ 1268 h 2082"/>
                <a:gd name="T64" fmla="*/ 2716 w 3014"/>
                <a:gd name="T65" fmla="*/ 1218 h 2082"/>
                <a:gd name="T66" fmla="*/ 298 w 3014"/>
                <a:gd name="T67" fmla="*/ 1218 h 2082"/>
                <a:gd name="T68" fmla="*/ 562 w 3014"/>
                <a:gd name="T69" fmla="*/ 896 h 2082"/>
                <a:gd name="T70" fmla="*/ 1508 w 3014"/>
                <a:gd name="T71" fmla="*/ 2082 h 2082"/>
                <a:gd name="T72" fmla="*/ 2281 w 3014"/>
                <a:gd name="T73" fmla="*/ 798 h 2082"/>
                <a:gd name="T74" fmla="*/ 1545 w 3014"/>
                <a:gd name="T75" fmla="*/ 1638 h 2082"/>
                <a:gd name="T76" fmla="*/ 2193 w 3014"/>
                <a:gd name="T77" fmla="*/ 429 h 2082"/>
                <a:gd name="T78" fmla="*/ 2198 w 3014"/>
                <a:gd name="T79" fmla="*/ 427 h 2082"/>
                <a:gd name="T80" fmla="*/ 2202 w 3014"/>
                <a:gd name="T81" fmla="*/ 429 h 2082"/>
                <a:gd name="T82" fmla="*/ 2207 w 3014"/>
                <a:gd name="T83" fmla="*/ 437 h 20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14" h="2082">
                  <a:moveTo>
                    <a:pt x="2281" y="798"/>
                  </a:moveTo>
                  <a:lnTo>
                    <a:pt x="2281" y="439"/>
                  </a:lnTo>
                  <a:lnTo>
                    <a:pt x="2281" y="439"/>
                  </a:lnTo>
                  <a:lnTo>
                    <a:pt x="2279" y="427"/>
                  </a:lnTo>
                  <a:lnTo>
                    <a:pt x="2278" y="418"/>
                  </a:lnTo>
                  <a:lnTo>
                    <a:pt x="2274" y="407"/>
                  </a:lnTo>
                  <a:lnTo>
                    <a:pt x="2270" y="398"/>
                  </a:lnTo>
                  <a:lnTo>
                    <a:pt x="2265" y="389"/>
                  </a:lnTo>
                  <a:lnTo>
                    <a:pt x="2257" y="379"/>
                  </a:lnTo>
                  <a:lnTo>
                    <a:pt x="2250" y="372"/>
                  </a:lnTo>
                  <a:lnTo>
                    <a:pt x="2241" y="366"/>
                  </a:lnTo>
                  <a:lnTo>
                    <a:pt x="2241" y="366"/>
                  </a:lnTo>
                  <a:lnTo>
                    <a:pt x="2230" y="361"/>
                  </a:lnTo>
                  <a:lnTo>
                    <a:pt x="2220" y="357"/>
                  </a:lnTo>
                  <a:lnTo>
                    <a:pt x="2209" y="353"/>
                  </a:lnTo>
                  <a:lnTo>
                    <a:pt x="2198" y="353"/>
                  </a:lnTo>
                  <a:lnTo>
                    <a:pt x="2187" y="353"/>
                  </a:lnTo>
                  <a:lnTo>
                    <a:pt x="2176" y="355"/>
                  </a:lnTo>
                  <a:lnTo>
                    <a:pt x="2165" y="361"/>
                  </a:lnTo>
                  <a:lnTo>
                    <a:pt x="2154" y="365"/>
                  </a:lnTo>
                  <a:lnTo>
                    <a:pt x="1506" y="750"/>
                  </a:lnTo>
                  <a:lnTo>
                    <a:pt x="814" y="370"/>
                  </a:lnTo>
                  <a:lnTo>
                    <a:pt x="1419" y="83"/>
                  </a:lnTo>
                  <a:lnTo>
                    <a:pt x="1458" y="107"/>
                  </a:lnTo>
                  <a:lnTo>
                    <a:pt x="1497" y="44"/>
                  </a:lnTo>
                  <a:lnTo>
                    <a:pt x="1423" y="0"/>
                  </a:lnTo>
                  <a:lnTo>
                    <a:pt x="746" y="320"/>
                  </a:lnTo>
                  <a:lnTo>
                    <a:pt x="746" y="320"/>
                  </a:lnTo>
                  <a:lnTo>
                    <a:pt x="733" y="328"/>
                  </a:lnTo>
                  <a:lnTo>
                    <a:pt x="723" y="339"/>
                  </a:lnTo>
                  <a:lnTo>
                    <a:pt x="718" y="352"/>
                  </a:lnTo>
                  <a:lnTo>
                    <a:pt x="714" y="366"/>
                  </a:lnTo>
                  <a:lnTo>
                    <a:pt x="714" y="366"/>
                  </a:lnTo>
                  <a:lnTo>
                    <a:pt x="716" y="381"/>
                  </a:lnTo>
                  <a:lnTo>
                    <a:pt x="722" y="394"/>
                  </a:lnTo>
                  <a:lnTo>
                    <a:pt x="731" y="405"/>
                  </a:lnTo>
                  <a:lnTo>
                    <a:pt x="742" y="415"/>
                  </a:lnTo>
                  <a:lnTo>
                    <a:pt x="1471" y="814"/>
                  </a:lnTo>
                  <a:lnTo>
                    <a:pt x="1471" y="1638"/>
                  </a:lnTo>
                  <a:lnTo>
                    <a:pt x="809" y="1258"/>
                  </a:lnTo>
                  <a:lnTo>
                    <a:pt x="809" y="535"/>
                  </a:lnTo>
                  <a:lnTo>
                    <a:pt x="735" y="494"/>
                  </a:lnTo>
                  <a:lnTo>
                    <a:pt x="735" y="1264"/>
                  </a:lnTo>
                  <a:lnTo>
                    <a:pt x="735" y="1264"/>
                  </a:lnTo>
                  <a:lnTo>
                    <a:pt x="735" y="1273"/>
                  </a:lnTo>
                  <a:lnTo>
                    <a:pt x="736" y="1281"/>
                  </a:lnTo>
                  <a:lnTo>
                    <a:pt x="742" y="1295"/>
                  </a:lnTo>
                  <a:lnTo>
                    <a:pt x="753" y="1308"/>
                  </a:lnTo>
                  <a:lnTo>
                    <a:pt x="759" y="1314"/>
                  </a:lnTo>
                  <a:lnTo>
                    <a:pt x="766" y="1320"/>
                  </a:lnTo>
                  <a:lnTo>
                    <a:pt x="1475" y="1727"/>
                  </a:lnTo>
                  <a:lnTo>
                    <a:pt x="1475" y="1727"/>
                  </a:lnTo>
                  <a:lnTo>
                    <a:pt x="1482" y="1730"/>
                  </a:lnTo>
                  <a:lnTo>
                    <a:pt x="1491" y="1732"/>
                  </a:lnTo>
                  <a:lnTo>
                    <a:pt x="1508" y="1734"/>
                  </a:lnTo>
                  <a:lnTo>
                    <a:pt x="1523" y="1732"/>
                  </a:lnTo>
                  <a:lnTo>
                    <a:pt x="1532" y="1730"/>
                  </a:lnTo>
                  <a:lnTo>
                    <a:pt x="1539" y="1727"/>
                  </a:lnTo>
                  <a:lnTo>
                    <a:pt x="2252" y="1318"/>
                  </a:lnTo>
                  <a:lnTo>
                    <a:pt x="2252" y="1318"/>
                  </a:lnTo>
                  <a:lnTo>
                    <a:pt x="2263" y="1308"/>
                  </a:lnTo>
                  <a:lnTo>
                    <a:pt x="2272" y="1297"/>
                  </a:lnTo>
                  <a:lnTo>
                    <a:pt x="2278" y="1283"/>
                  </a:lnTo>
                  <a:lnTo>
                    <a:pt x="2281" y="1268"/>
                  </a:lnTo>
                  <a:lnTo>
                    <a:pt x="2281" y="968"/>
                  </a:lnTo>
                  <a:lnTo>
                    <a:pt x="2716" y="1218"/>
                  </a:lnTo>
                  <a:lnTo>
                    <a:pt x="1508" y="1912"/>
                  </a:lnTo>
                  <a:lnTo>
                    <a:pt x="298" y="1218"/>
                  </a:lnTo>
                  <a:lnTo>
                    <a:pt x="562" y="1068"/>
                  </a:lnTo>
                  <a:lnTo>
                    <a:pt x="562" y="896"/>
                  </a:lnTo>
                  <a:lnTo>
                    <a:pt x="0" y="1218"/>
                  </a:lnTo>
                  <a:lnTo>
                    <a:pt x="1508" y="2082"/>
                  </a:lnTo>
                  <a:lnTo>
                    <a:pt x="3014" y="1218"/>
                  </a:lnTo>
                  <a:lnTo>
                    <a:pt x="2281" y="798"/>
                  </a:lnTo>
                  <a:close/>
                  <a:moveTo>
                    <a:pt x="2207" y="1258"/>
                  </a:moveTo>
                  <a:lnTo>
                    <a:pt x="1545" y="1638"/>
                  </a:lnTo>
                  <a:lnTo>
                    <a:pt x="1545" y="814"/>
                  </a:lnTo>
                  <a:lnTo>
                    <a:pt x="2193" y="429"/>
                  </a:lnTo>
                  <a:lnTo>
                    <a:pt x="2193" y="429"/>
                  </a:lnTo>
                  <a:lnTo>
                    <a:pt x="2198" y="427"/>
                  </a:lnTo>
                  <a:lnTo>
                    <a:pt x="2202" y="429"/>
                  </a:lnTo>
                  <a:lnTo>
                    <a:pt x="2202" y="429"/>
                  </a:lnTo>
                  <a:lnTo>
                    <a:pt x="2205" y="431"/>
                  </a:lnTo>
                  <a:lnTo>
                    <a:pt x="2207" y="437"/>
                  </a:lnTo>
                  <a:lnTo>
                    <a:pt x="2207" y="12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96" name="Freeform 58"/>
            <p:cNvSpPr>
              <a:spLocks/>
            </p:cNvSpPr>
            <p:nvPr/>
          </p:nvSpPr>
          <p:spPr bwMode="auto">
            <a:xfrm>
              <a:off x="7099996" y="3024092"/>
              <a:ext cx="987425" cy="747713"/>
            </a:xfrm>
            <a:custGeom>
              <a:avLst/>
              <a:gdLst>
                <a:gd name="T0" fmla="*/ 497 w 1245"/>
                <a:gd name="T1" fmla="*/ 620 h 942"/>
                <a:gd name="T2" fmla="*/ 497 w 1245"/>
                <a:gd name="T3" fmla="*/ 620 h 942"/>
                <a:gd name="T4" fmla="*/ 495 w 1245"/>
                <a:gd name="T5" fmla="*/ 626 h 942"/>
                <a:gd name="T6" fmla="*/ 495 w 1245"/>
                <a:gd name="T7" fmla="*/ 633 h 942"/>
                <a:gd name="T8" fmla="*/ 494 w 1245"/>
                <a:gd name="T9" fmla="*/ 646 h 942"/>
                <a:gd name="T10" fmla="*/ 495 w 1245"/>
                <a:gd name="T11" fmla="*/ 663 h 942"/>
                <a:gd name="T12" fmla="*/ 501 w 1245"/>
                <a:gd name="T13" fmla="*/ 687 h 942"/>
                <a:gd name="T14" fmla="*/ 510 w 1245"/>
                <a:gd name="T15" fmla="*/ 720 h 942"/>
                <a:gd name="T16" fmla="*/ 523 w 1245"/>
                <a:gd name="T17" fmla="*/ 762 h 942"/>
                <a:gd name="T18" fmla="*/ 542 w 1245"/>
                <a:gd name="T19" fmla="*/ 814 h 942"/>
                <a:gd name="T20" fmla="*/ 542 w 1245"/>
                <a:gd name="T21" fmla="*/ 942 h 942"/>
                <a:gd name="T22" fmla="*/ 616 w 1245"/>
                <a:gd name="T23" fmla="*/ 942 h 942"/>
                <a:gd name="T24" fmla="*/ 616 w 1245"/>
                <a:gd name="T25" fmla="*/ 829 h 942"/>
                <a:gd name="T26" fmla="*/ 616 w 1245"/>
                <a:gd name="T27" fmla="*/ 829 h 942"/>
                <a:gd name="T28" fmla="*/ 658 w 1245"/>
                <a:gd name="T29" fmla="*/ 801 h 942"/>
                <a:gd name="T30" fmla="*/ 692 w 1245"/>
                <a:gd name="T31" fmla="*/ 779 h 942"/>
                <a:gd name="T32" fmla="*/ 717 w 1245"/>
                <a:gd name="T33" fmla="*/ 759 h 942"/>
                <a:gd name="T34" fmla="*/ 734 w 1245"/>
                <a:gd name="T35" fmla="*/ 744 h 942"/>
                <a:gd name="T36" fmla="*/ 745 w 1245"/>
                <a:gd name="T37" fmla="*/ 733 h 942"/>
                <a:gd name="T38" fmla="*/ 753 w 1245"/>
                <a:gd name="T39" fmla="*/ 724 h 942"/>
                <a:gd name="T40" fmla="*/ 756 w 1245"/>
                <a:gd name="T41" fmla="*/ 716 h 942"/>
                <a:gd name="T42" fmla="*/ 758 w 1245"/>
                <a:gd name="T43" fmla="*/ 713 h 942"/>
                <a:gd name="T44" fmla="*/ 819 w 1245"/>
                <a:gd name="T45" fmla="*/ 535 h 942"/>
                <a:gd name="T46" fmla="*/ 1208 w 1245"/>
                <a:gd name="T47" fmla="*/ 757 h 942"/>
                <a:gd name="T48" fmla="*/ 1245 w 1245"/>
                <a:gd name="T49" fmla="*/ 692 h 942"/>
                <a:gd name="T50" fmla="*/ 843 w 1245"/>
                <a:gd name="T51" fmla="*/ 463 h 942"/>
                <a:gd name="T52" fmla="*/ 895 w 1245"/>
                <a:gd name="T53" fmla="*/ 307 h 942"/>
                <a:gd name="T54" fmla="*/ 895 w 1245"/>
                <a:gd name="T55" fmla="*/ 307 h 942"/>
                <a:gd name="T56" fmla="*/ 897 w 1245"/>
                <a:gd name="T57" fmla="*/ 298 h 942"/>
                <a:gd name="T58" fmla="*/ 899 w 1245"/>
                <a:gd name="T59" fmla="*/ 289 h 942"/>
                <a:gd name="T60" fmla="*/ 899 w 1245"/>
                <a:gd name="T61" fmla="*/ 279 h 942"/>
                <a:gd name="T62" fmla="*/ 897 w 1245"/>
                <a:gd name="T63" fmla="*/ 270 h 942"/>
                <a:gd name="T64" fmla="*/ 893 w 1245"/>
                <a:gd name="T65" fmla="*/ 263 h 942"/>
                <a:gd name="T66" fmla="*/ 889 w 1245"/>
                <a:gd name="T67" fmla="*/ 254 h 942"/>
                <a:gd name="T68" fmla="*/ 878 w 1245"/>
                <a:gd name="T69" fmla="*/ 235 h 942"/>
                <a:gd name="T70" fmla="*/ 864 w 1245"/>
                <a:gd name="T71" fmla="*/ 218 h 942"/>
                <a:gd name="T72" fmla="*/ 843 w 1245"/>
                <a:gd name="T73" fmla="*/ 204 h 942"/>
                <a:gd name="T74" fmla="*/ 821 w 1245"/>
                <a:gd name="T75" fmla="*/ 191 h 942"/>
                <a:gd name="T76" fmla="*/ 793 w 1245"/>
                <a:gd name="T77" fmla="*/ 180 h 942"/>
                <a:gd name="T78" fmla="*/ 793 w 1245"/>
                <a:gd name="T79" fmla="*/ 180 h 942"/>
                <a:gd name="T80" fmla="*/ 771 w 1245"/>
                <a:gd name="T81" fmla="*/ 172 h 942"/>
                <a:gd name="T82" fmla="*/ 747 w 1245"/>
                <a:gd name="T83" fmla="*/ 168 h 942"/>
                <a:gd name="T84" fmla="*/ 725 w 1245"/>
                <a:gd name="T85" fmla="*/ 167 h 942"/>
                <a:gd name="T86" fmla="*/ 704 w 1245"/>
                <a:gd name="T87" fmla="*/ 167 h 942"/>
                <a:gd name="T88" fmla="*/ 704 w 1245"/>
                <a:gd name="T89" fmla="*/ 167 h 942"/>
                <a:gd name="T90" fmla="*/ 692 w 1245"/>
                <a:gd name="T91" fmla="*/ 170 h 942"/>
                <a:gd name="T92" fmla="*/ 680 w 1245"/>
                <a:gd name="T93" fmla="*/ 172 h 942"/>
                <a:gd name="T94" fmla="*/ 669 w 1245"/>
                <a:gd name="T95" fmla="*/ 178 h 942"/>
                <a:gd name="T96" fmla="*/ 660 w 1245"/>
                <a:gd name="T97" fmla="*/ 183 h 942"/>
                <a:gd name="T98" fmla="*/ 651 w 1245"/>
                <a:gd name="T99" fmla="*/ 191 h 942"/>
                <a:gd name="T100" fmla="*/ 643 w 1245"/>
                <a:gd name="T101" fmla="*/ 198 h 942"/>
                <a:gd name="T102" fmla="*/ 638 w 1245"/>
                <a:gd name="T103" fmla="*/ 205 h 942"/>
                <a:gd name="T104" fmla="*/ 634 w 1245"/>
                <a:gd name="T105" fmla="*/ 217 h 942"/>
                <a:gd name="T106" fmla="*/ 597 w 1245"/>
                <a:gd name="T107" fmla="*/ 322 h 942"/>
                <a:gd name="T108" fmla="*/ 37 w 1245"/>
                <a:gd name="T109" fmla="*/ 0 h 942"/>
                <a:gd name="T110" fmla="*/ 0 w 1245"/>
                <a:gd name="T111" fmla="*/ 65 h 942"/>
                <a:gd name="T112" fmla="*/ 573 w 1245"/>
                <a:gd name="T113" fmla="*/ 394 h 942"/>
                <a:gd name="T114" fmla="*/ 497 w 1245"/>
                <a:gd name="T115" fmla="*/ 620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5" h="942">
                  <a:moveTo>
                    <a:pt x="497" y="620"/>
                  </a:moveTo>
                  <a:lnTo>
                    <a:pt x="497" y="620"/>
                  </a:lnTo>
                  <a:lnTo>
                    <a:pt x="495" y="626"/>
                  </a:lnTo>
                  <a:lnTo>
                    <a:pt x="495" y="633"/>
                  </a:lnTo>
                  <a:lnTo>
                    <a:pt x="494" y="646"/>
                  </a:lnTo>
                  <a:lnTo>
                    <a:pt x="495" y="663"/>
                  </a:lnTo>
                  <a:lnTo>
                    <a:pt x="501" y="687"/>
                  </a:lnTo>
                  <a:lnTo>
                    <a:pt x="510" y="720"/>
                  </a:lnTo>
                  <a:lnTo>
                    <a:pt x="523" y="762"/>
                  </a:lnTo>
                  <a:lnTo>
                    <a:pt x="542" y="814"/>
                  </a:lnTo>
                  <a:lnTo>
                    <a:pt x="542" y="942"/>
                  </a:lnTo>
                  <a:lnTo>
                    <a:pt x="616" y="942"/>
                  </a:lnTo>
                  <a:lnTo>
                    <a:pt x="616" y="829"/>
                  </a:lnTo>
                  <a:lnTo>
                    <a:pt x="616" y="829"/>
                  </a:lnTo>
                  <a:lnTo>
                    <a:pt x="658" y="801"/>
                  </a:lnTo>
                  <a:lnTo>
                    <a:pt x="692" y="779"/>
                  </a:lnTo>
                  <a:lnTo>
                    <a:pt x="717" y="759"/>
                  </a:lnTo>
                  <a:lnTo>
                    <a:pt x="734" y="744"/>
                  </a:lnTo>
                  <a:lnTo>
                    <a:pt x="745" y="733"/>
                  </a:lnTo>
                  <a:lnTo>
                    <a:pt x="753" y="724"/>
                  </a:lnTo>
                  <a:lnTo>
                    <a:pt x="756" y="716"/>
                  </a:lnTo>
                  <a:lnTo>
                    <a:pt x="758" y="713"/>
                  </a:lnTo>
                  <a:lnTo>
                    <a:pt x="819" y="535"/>
                  </a:lnTo>
                  <a:lnTo>
                    <a:pt x="1208" y="757"/>
                  </a:lnTo>
                  <a:lnTo>
                    <a:pt x="1245" y="692"/>
                  </a:lnTo>
                  <a:lnTo>
                    <a:pt x="843" y="463"/>
                  </a:lnTo>
                  <a:lnTo>
                    <a:pt x="895" y="307"/>
                  </a:lnTo>
                  <a:lnTo>
                    <a:pt x="895" y="307"/>
                  </a:lnTo>
                  <a:lnTo>
                    <a:pt x="897" y="298"/>
                  </a:lnTo>
                  <a:lnTo>
                    <a:pt x="899" y="289"/>
                  </a:lnTo>
                  <a:lnTo>
                    <a:pt x="899" y="279"/>
                  </a:lnTo>
                  <a:lnTo>
                    <a:pt x="897" y="270"/>
                  </a:lnTo>
                  <a:lnTo>
                    <a:pt x="893" y="263"/>
                  </a:lnTo>
                  <a:lnTo>
                    <a:pt x="889" y="254"/>
                  </a:lnTo>
                  <a:lnTo>
                    <a:pt x="878" y="235"/>
                  </a:lnTo>
                  <a:lnTo>
                    <a:pt x="864" y="218"/>
                  </a:lnTo>
                  <a:lnTo>
                    <a:pt x="843" y="204"/>
                  </a:lnTo>
                  <a:lnTo>
                    <a:pt x="821" y="191"/>
                  </a:lnTo>
                  <a:lnTo>
                    <a:pt x="793" y="180"/>
                  </a:lnTo>
                  <a:lnTo>
                    <a:pt x="793" y="180"/>
                  </a:lnTo>
                  <a:lnTo>
                    <a:pt x="771" y="172"/>
                  </a:lnTo>
                  <a:lnTo>
                    <a:pt x="747" y="168"/>
                  </a:lnTo>
                  <a:lnTo>
                    <a:pt x="725" y="167"/>
                  </a:lnTo>
                  <a:lnTo>
                    <a:pt x="704" y="167"/>
                  </a:lnTo>
                  <a:lnTo>
                    <a:pt x="704" y="167"/>
                  </a:lnTo>
                  <a:lnTo>
                    <a:pt x="692" y="170"/>
                  </a:lnTo>
                  <a:lnTo>
                    <a:pt x="680" y="172"/>
                  </a:lnTo>
                  <a:lnTo>
                    <a:pt x="669" y="178"/>
                  </a:lnTo>
                  <a:lnTo>
                    <a:pt x="660" y="183"/>
                  </a:lnTo>
                  <a:lnTo>
                    <a:pt x="651" y="191"/>
                  </a:lnTo>
                  <a:lnTo>
                    <a:pt x="643" y="198"/>
                  </a:lnTo>
                  <a:lnTo>
                    <a:pt x="638" y="205"/>
                  </a:lnTo>
                  <a:lnTo>
                    <a:pt x="634" y="217"/>
                  </a:lnTo>
                  <a:lnTo>
                    <a:pt x="597" y="322"/>
                  </a:lnTo>
                  <a:lnTo>
                    <a:pt x="37" y="0"/>
                  </a:lnTo>
                  <a:lnTo>
                    <a:pt x="0" y="65"/>
                  </a:lnTo>
                  <a:lnTo>
                    <a:pt x="573" y="394"/>
                  </a:lnTo>
                  <a:lnTo>
                    <a:pt x="497" y="6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97" name="Freeform 59"/>
            <p:cNvSpPr>
              <a:spLocks/>
            </p:cNvSpPr>
            <p:nvPr/>
          </p:nvSpPr>
          <p:spPr bwMode="auto">
            <a:xfrm>
              <a:off x="7482583" y="3840067"/>
              <a:ext cx="101600" cy="119063"/>
            </a:xfrm>
            <a:custGeom>
              <a:avLst/>
              <a:gdLst>
                <a:gd name="T0" fmla="*/ 0 w 128"/>
                <a:gd name="T1" fmla="*/ 93 h 148"/>
                <a:gd name="T2" fmla="*/ 50 w 128"/>
                <a:gd name="T3" fmla="*/ 148 h 148"/>
                <a:gd name="T4" fmla="*/ 50 w 128"/>
                <a:gd name="T5" fmla="*/ 148 h 148"/>
                <a:gd name="T6" fmla="*/ 63 w 128"/>
                <a:gd name="T7" fmla="*/ 135 h 148"/>
                <a:gd name="T8" fmla="*/ 78 w 128"/>
                <a:gd name="T9" fmla="*/ 120 h 148"/>
                <a:gd name="T10" fmla="*/ 89 w 128"/>
                <a:gd name="T11" fmla="*/ 105 h 148"/>
                <a:gd name="T12" fmla="*/ 100 w 128"/>
                <a:gd name="T13" fmla="*/ 89 h 148"/>
                <a:gd name="T14" fmla="*/ 110 w 128"/>
                <a:gd name="T15" fmla="*/ 72 h 148"/>
                <a:gd name="T16" fmla="*/ 117 w 128"/>
                <a:gd name="T17" fmla="*/ 54 h 148"/>
                <a:gd name="T18" fmla="*/ 123 w 128"/>
                <a:gd name="T19" fmla="*/ 35 h 148"/>
                <a:gd name="T20" fmla="*/ 128 w 128"/>
                <a:gd name="T21" fmla="*/ 15 h 148"/>
                <a:gd name="T22" fmla="*/ 56 w 128"/>
                <a:gd name="T23" fmla="*/ 0 h 148"/>
                <a:gd name="T24" fmla="*/ 56 w 128"/>
                <a:gd name="T25" fmla="*/ 0 h 148"/>
                <a:gd name="T26" fmla="*/ 52 w 128"/>
                <a:gd name="T27" fmla="*/ 15 h 148"/>
                <a:gd name="T28" fmla="*/ 47 w 128"/>
                <a:gd name="T29" fmla="*/ 26 h 148"/>
                <a:gd name="T30" fmla="*/ 43 w 128"/>
                <a:gd name="T31" fmla="*/ 39 h 148"/>
                <a:gd name="T32" fmla="*/ 36 w 128"/>
                <a:gd name="T33" fmla="*/ 52 h 148"/>
                <a:gd name="T34" fmla="*/ 21 w 128"/>
                <a:gd name="T35" fmla="*/ 74 h 148"/>
                <a:gd name="T36" fmla="*/ 0 w 128"/>
                <a:gd name="T37" fmla="*/ 93 h 148"/>
                <a:gd name="T38" fmla="*/ 0 w 128"/>
                <a:gd name="T39"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8">
                  <a:moveTo>
                    <a:pt x="0" y="93"/>
                  </a:moveTo>
                  <a:lnTo>
                    <a:pt x="50" y="148"/>
                  </a:lnTo>
                  <a:lnTo>
                    <a:pt x="50" y="148"/>
                  </a:lnTo>
                  <a:lnTo>
                    <a:pt x="63" y="135"/>
                  </a:lnTo>
                  <a:lnTo>
                    <a:pt x="78" y="120"/>
                  </a:lnTo>
                  <a:lnTo>
                    <a:pt x="89" y="105"/>
                  </a:lnTo>
                  <a:lnTo>
                    <a:pt x="100" y="89"/>
                  </a:lnTo>
                  <a:lnTo>
                    <a:pt x="110" y="72"/>
                  </a:lnTo>
                  <a:lnTo>
                    <a:pt x="117" y="54"/>
                  </a:lnTo>
                  <a:lnTo>
                    <a:pt x="123" y="35"/>
                  </a:lnTo>
                  <a:lnTo>
                    <a:pt x="128" y="15"/>
                  </a:lnTo>
                  <a:lnTo>
                    <a:pt x="56" y="0"/>
                  </a:lnTo>
                  <a:lnTo>
                    <a:pt x="56" y="0"/>
                  </a:lnTo>
                  <a:lnTo>
                    <a:pt x="52" y="15"/>
                  </a:lnTo>
                  <a:lnTo>
                    <a:pt x="47" y="26"/>
                  </a:lnTo>
                  <a:lnTo>
                    <a:pt x="43" y="39"/>
                  </a:lnTo>
                  <a:lnTo>
                    <a:pt x="36" y="52"/>
                  </a:lnTo>
                  <a:lnTo>
                    <a:pt x="21" y="74"/>
                  </a:lnTo>
                  <a:lnTo>
                    <a:pt x="0" y="93"/>
                  </a:lnTo>
                  <a:lnTo>
                    <a:pt x="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98" name="Freeform 60"/>
            <p:cNvSpPr>
              <a:spLocks/>
            </p:cNvSpPr>
            <p:nvPr/>
          </p:nvSpPr>
          <p:spPr bwMode="auto">
            <a:xfrm>
              <a:off x="7161908" y="3846417"/>
              <a:ext cx="119062" cy="104775"/>
            </a:xfrm>
            <a:custGeom>
              <a:avLst/>
              <a:gdLst>
                <a:gd name="T0" fmla="*/ 113 w 152"/>
                <a:gd name="T1" fmla="*/ 132 h 132"/>
                <a:gd name="T2" fmla="*/ 152 w 152"/>
                <a:gd name="T3" fmla="*/ 69 h 132"/>
                <a:gd name="T4" fmla="*/ 37 w 152"/>
                <a:gd name="T5" fmla="*/ 0 h 132"/>
                <a:gd name="T6" fmla="*/ 0 w 152"/>
                <a:gd name="T7" fmla="*/ 63 h 132"/>
                <a:gd name="T8" fmla="*/ 113 w 152"/>
                <a:gd name="T9" fmla="*/ 132 h 132"/>
              </a:gdLst>
              <a:ahLst/>
              <a:cxnLst>
                <a:cxn ang="0">
                  <a:pos x="T0" y="T1"/>
                </a:cxn>
                <a:cxn ang="0">
                  <a:pos x="T2" y="T3"/>
                </a:cxn>
                <a:cxn ang="0">
                  <a:pos x="T4" y="T5"/>
                </a:cxn>
                <a:cxn ang="0">
                  <a:pos x="T6" y="T7"/>
                </a:cxn>
                <a:cxn ang="0">
                  <a:pos x="T8" y="T9"/>
                </a:cxn>
              </a:cxnLst>
              <a:rect l="0" t="0" r="r" b="b"/>
              <a:pathLst>
                <a:path w="152" h="132">
                  <a:moveTo>
                    <a:pt x="113" y="132"/>
                  </a:moveTo>
                  <a:lnTo>
                    <a:pt x="152" y="69"/>
                  </a:lnTo>
                  <a:lnTo>
                    <a:pt x="37" y="0"/>
                  </a:lnTo>
                  <a:lnTo>
                    <a:pt x="0" y="63"/>
                  </a:lnTo>
                  <a:lnTo>
                    <a:pt x="113" y="1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sp>
          <p:nvSpPr>
            <p:cNvPr id="199" name="Freeform 61"/>
            <p:cNvSpPr>
              <a:spLocks/>
            </p:cNvSpPr>
            <p:nvPr/>
          </p:nvSpPr>
          <p:spPr bwMode="auto">
            <a:xfrm>
              <a:off x="7320658" y="3938492"/>
              <a:ext cx="122237" cy="68263"/>
            </a:xfrm>
            <a:custGeom>
              <a:avLst/>
              <a:gdLst>
                <a:gd name="T0" fmla="*/ 28 w 153"/>
                <a:gd name="T1" fmla="*/ 0 h 87"/>
                <a:gd name="T2" fmla="*/ 0 w 153"/>
                <a:gd name="T3" fmla="*/ 69 h 87"/>
                <a:gd name="T4" fmla="*/ 0 w 153"/>
                <a:gd name="T5" fmla="*/ 69 h 87"/>
                <a:gd name="T6" fmla="*/ 22 w 153"/>
                <a:gd name="T7" fmla="*/ 78 h 87"/>
                <a:gd name="T8" fmla="*/ 44 w 153"/>
                <a:gd name="T9" fmla="*/ 83 h 87"/>
                <a:gd name="T10" fmla="*/ 68 w 153"/>
                <a:gd name="T11" fmla="*/ 87 h 87"/>
                <a:gd name="T12" fmla="*/ 92 w 153"/>
                <a:gd name="T13" fmla="*/ 87 h 87"/>
                <a:gd name="T14" fmla="*/ 92 w 153"/>
                <a:gd name="T15" fmla="*/ 87 h 87"/>
                <a:gd name="T16" fmla="*/ 124 w 153"/>
                <a:gd name="T17" fmla="*/ 85 h 87"/>
                <a:gd name="T18" fmla="*/ 153 w 153"/>
                <a:gd name="T19" fmla="*/ 80 h 87"/>
                <a:gd name="T20" fmla="*/ 135 w 153"/>
                <a:gd name="T21" fmla="*/ 8 h 87"/>
                <a:gd name="T22" fmla="*/ 135 w 153"/>
                <a:gd name="T23" fmla="*/ 8 h 87"/>
                <a:gd name="T24" fmla="*/ 122 w 153"/>
                <a:gd name="T25" fmla="*/ 11 h 87"/>
                <a:gd name="T26" fmla="*/ 107 w 153"/>
                <a:gd name="T27" fmla="*/ 13 h 87"/>
                <a:gd name="T28" fmla="*/ 81 w 153"/>
                <a:gd name="T29" fmla="*/ 13 h 87"/>
                <a:gd name="T30" fmla="*/ 54 w 153"/>
                <a:gd name="T31" fmla="*/ 9 h 87"/>
                <a:gd name="T32" fmla="*/ 28 w 153"/>
                <a:gd name="T33" fmla="*/ 0 h 87"/>
                <a:gd name="T34" fmla="*/ 28 w 153"/>
                <a:gd name="T3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87">
                  <a:moveTo>
                    <a:pt x="28" y="0"/>
                  </a:moveTo>
                  <a:lnTo>
                    <a:pt x="0" y="69"/>
                  </a:lnTo>
                  <a:lnTo>
                    <a:pt x="0" y="69"/>
                  </a:lnTo>
                  <a:lnTo>
                    <a:pt x="22" y="78"/>
                  </a:lnTo>
                  <a:lnTo>
                    <a:pt x="44" y="83"/>
                  </a:lnTo>
                  <a:lnTo>
                    <a:pt x="68" y="87"/>
                  </a:lnTo>
                  <a:lnTo>
                    <a:pt x="92" y="87"/>
                  </a:lnTo>
                  <a:lnTo>
                    <a:pt x="92" y="87"/>
                  </a:lnTo>
                  <a:lnTo>
                    <a:pt x="124" y="85"/>
                  </a:lnTo>
                  <a:lnTo>
                    <a:pt x="153" y="80"/>
                  </a:lnTo>
                  <a:lnTo>
                    <a:pt x="135" y="8"/>
                  </a:lnTo>
                  <a:lnTo>
                    <a:pt x="135" y="8"/>
                  </a:lnTo>
                  <a:lnTo>
                    <a:pt x="122" y="11"/>
                  </a:lnTo>
                  <a:lnTo>
                    <a:pt x="107" y="13"/>
                  </a:lnTo>
                  <a:lnTo>
                    <a:pt x="81" y="13"/>
                  </a:lnTo>
                  <a:lnTo>
                    <a:pt x="54" y="9"/>
                  </a:lnTo>
                  <a:lnTo>
                    <a:pt x="28" y="0"/>
                  </a:lnTo>
                  <a:lnTo>
                    <a:pt x="2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8701" tIns="49350" rIns="98701" bIns="49350" numCol="1" anchor="t" anchorCtr="0" compatLnSpc="1">
              <a:prstTxWarp prst="textNoShape">
                <a:avLst/>
              </a:prstTxWarp>
            </a:bodyPr>
            <a:lstStyle/>
            <a:p>
              <a:endParaRPr lang="de-DE" sz="1943" dirty="0">
                <a:solidFill>
                  <a:schemeClr val="bg1"/>
                </a:solidFill>
                <a:latin typeface="EYInterstate Light" panose="02000506000000020004" pitchFamily="2" charset="0"/>
              </a:endParaRPr>
            </a:p>
          </p:txBody>
        </p:sp>
      </p:grpSp>
      <p:sp>
        <p:nvSpPr>
          <p:cNvPr id="200" name="Freeform 79"/>
          <p:cNvSpPr>
            <a:spLocks noEditPoints="1"/>
          </p:cNvSpPr>
          <p:nvPr/>
        </p:nvSpPr>
        <p:spPr bwMode="auto">
          <a:xfrm>
            <a:off x="654013" y="2633224"/>
            <a:ext cx="588588" cy="744390"/>
          </a:xfrm>
          <a:custGeom>
            <a:avLst/>
            <a:gdLst>
              <a:gd name="T0" fmla="*/ 133 w 371"/>
              <a:gd name="T1" fmla="*/ 103 h 470"/>
              <a:gd name="T2" fmla="*/ 275 w 371"/>
              <a:gd name="T3" fmla="*/ 243 h 470"/>
              <a:gd name="T4" fmla="*/ 275 w 371"/>
              <a:gd name="T5" fmla="*/ 279 h 470"/>
              <a:gd name="T6" fmla="*/ 275 w 371"/>
              <a:gd name="T7" fmla="*/ 316 h 470"/>
              <a:gd name="T8" fmla="*/ 290 w 371"/>
              <a:gd name="T9" fmla="*/ 103 h 470"/>
              <a:gd name="T10" fmla="*/ 151 w 371"/>
              <a:gd name="T11" fmla="*/ 343 h 470"/>
              <a:gd name="T12" fmla="*/ 151 w 371"/>
              <a:gd name="T13" fmla="*/ 307 h 470"/>
              <a:gd name="T14" fmla="*/ 151 w 371"/>
              <a:gd name="T15" fmla="*/ 270 h 470"/>
              <a:gd name="T16" fmla="*/ 133 w 371"/>
              <a:gd name="T17" fmla="*/ 389 h 470"/>
              <a:gd name="T18" fmla="*/ 290 w 371"/>
              <a:gd name="T19" fmla="*/ 353 h 470"/>
              <a:gd name="T20" fmla="*/ 340 w 371"/>
              <a:gd name="T21" fmla="*/ 244 h 470"/>
              <a:gd name="T22" fmla="*/ 309 w 371"/>
              <a:gd name="T23" fmla="*/ 389 h 470"/>
              <a:gd name="T24" fmla="*/ 240 w 371"/>
              <a:gd name="T25" fmla="*/ 448 h 470"/>
              <a:gd name="T26" fmla="*/ 177 w 371"/>
              <a:gd name="T27" fmla="*/ 430 h 470"/>
              <a:gd name="T28" fmla="*/ 158 w 371"/>
              <a:gd name="T29" fmla="*/ 427 h 470"/>
              <a:gd name="T30" fmla="*/ 89 w 371"/>
              <a:gd name="T31" fmla="*/ 244 h 470"/>
              <a:gd name="T32" fmla="*/ 31 w 371"/>
              <a:gd name="T33" fmla="*/ 244 h 470"/>
              <a:gd name="T34" fmla="*/ 16 w 371"/>
              <a:gd name="T35" fmla="*/ 222 h 470"/>
              <a:gd name="T36" fmla="*/ 73 w 371"/>
              <a:gd name="T37" fmla="*/ 222 h 470"/>
              <a:gd name="T38" fmla="*/ 113 w 371"/>
              <a:gd name="T39" fmla="*/ 103 h 470"/>
              <a:gd name="T40" fmla="*/ 207 w 371"/>
              <a:gd name="T41" fmla="*/ 34 h 470"/>
              <a:gd name="T42" fmla="*/ 226 w 371"/>
              <a:gd name="T43" fmla="*/ 20 h 470"/>
              <a:gd name="T44" fmla="*/ 309 w 371"/>
              <a:gd name="T45" fmla="*/ 103 h 470"/>
              <a:gd name="T46" fmla="*/ 340 w 371"/>
              <a:gd name="T47" fmla="*/ 233 h 470"/>
              <a:gd name="T48" fmla="*/ 339 w 371"/>
              <a:gd name="T49" fmla="*/ 184 h 470"/>
              <a:gd name="T50" fmla="*/ 360 w 371"/>
              <a:gd name="T51" fmla="*/ 200 h 470"/>
              <a:gd name="T52" fmla="*/ 248 w 371"/>
              <a:gd name="T53" fmla="*/ 21 h 470"/>
              <a:gd name="T54" fmla="*/ 236 w 371"/>
              <a:gd name="T55" fmla="*/ 19 h 470"/>
              <a:gd name="T56" fmla="*/ 186 w 371"/>
              <a:gd name="T57" fmla="*/ 19 h 470"/>
              <a:gd name="T58" fmla="*/ 175 w 371"/>
              <a:gd name="T59" fmla="*/ 21 h 470"/>
              <a:gd name="T60" fmla="*/ 244 w 371"/>
              <a:gd name="T61" fmla="*/ 2 h 470"/>
              <a:gd name="T62" fmla="*/ 234 w 371"/>
              <a:gd name="T63" fmla="*/ 8 h 470"/>
              <a:gd name="T64" fmla="*/ 181 w 371"/>
              <a:gd name="T65" fmla="*/ 38 h 470"/>
              <a:gd name="T66" fmla="*/ 179 w 371"/>
              <a:gd name="T67" fmla="*/ 36 h 470"/>
              <a:gd name="T68" fmla="*/ 179 w 371"/>
              <a:gd name="T69" fmla="*/ 2 h 470"/>
              <a:gd name="T70" fmla="*/ 244 w 371"/>
              <a:gd name="T71" fmla="*/ 36 h 470"/>
              <a:gd name="T72" fmla="*/ 242 w 371"/>
              <a:gd name="T73" fmla="*/ 38 h 470"/>
              <a:gd name="T74" fmla="*/ 232 w 371"/>
              <a:gd name="T75" fmla="*/ 119 h 470"/>
              <a:gd name="T76" fmla="*/ 242 w 371"/>
              <a:gd name="T77" fmla="*/ 119 h 470"/>
              <a:gd name="T78" fmla="*/ 259 w 371"/>
              <a:gd name="T79" fmla="*/ 119 h 470"/>
              <a:gd name="T80" fmla="*/ 266 w 371"/>
              <a:gd name="T81" fmla="*/ 153 h 470"/>
              <a:gd name="T82" fmla="*/ 266 w 371"/>
              <a:gd name="T83" fmla="*/ 119 h 470"/>
              <a:gd name="T84" fmla="*/ 156 w 371"/>
              <a:gd name="T85" fmla="*/ 153 h 470"/>
              <a:gd name="T86" fmla="*/ 146 w 371"/>
              <a:gd name="T87" fmla="*/ 153 h 470"/>
              <a:gd name="T88" fmla="*/ 163 w 371"/>
              <a:gd name="T89" fmla="*/ 153 h 470"/>
              <a:gd name="T90" fmla="*/ 242 w 371"/>
              <a:gd name="T91" fmla="*/ 177 h 470"/>
              <a:gd name="T92" fmla="*/ 173 w 371"/>
              <a:gd name="T93" fmla="*/ 166 h 470"/>
              <a:gd name="T94" fmla="*/ 180 w 371"/>
              <a:gd name="T95" fmla="*/ 187 h 470"/>
              <a:gd name="T96" fmla="*/ 249 w 371"/>
              <a:gd name="T97" fmla="*/ 177 h 470"/>
              <a:gd name="T98" fmla="*/ 242 w 371"/>
              <a:gd name="T99" fmla="*/ 177 h 470"/>
              <a:gd name="T100" fmla="*/ 180 w 371"/>
              <a:gd name="T101" fmla="*/ 153 h 470"/>
              <a:gd name="T102" fmla="*/ 314 w 371"/>
              <a:gd name="T103" fmla="*/ 460 h 470"/>
              <a:gd name="T104" fmla="*/ 0 w 371"/>
              <a:gd name="T105" fmla="*/ 46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1" h="470">
                <a:moveTo>
                  <a:pt x="290" y="103"/>
                </a:moveTo>
                <a:cubicBezTo>
                  <a:pt x="290" y="83"/>
                  <a:pt x="223" y="79"/>
                  <a:pt x="211" y="79"/>
                </a:cubicBezTo>
                <a:cubicBezTo>
                  <a:pt x="200" y="79"/>
                  <a:pt x="133" y="83"/>
                  <a:pt x="133" y="103"/>
                </a:cubicBezTo>
                <a:cubicBezTo>
                  <a:pt x="133" y="233"/>
                  <a:pt x="133" y="233"/>
                  <a:pt x="133" y="233"/>
                </a:cubicBezTo>
                <a:cubicBezTo>
                  <a:pt x="275" y="233"/>
                  <a:pt x="275" y="233"/>
                  <a:pt x="275" y="233"/>
                </a:cubicBezTo>
                <a:cubicBezTo>
                  <a:pt x="275" y="243"/>
                  <a:pt x="275" y="243"/>
                  <a:pt x="275" y="243"/>
                </a:cubicBezTo>
                <a:cubicBezTo>
                  <a:pt x="186" y="270"/>
                  <a:pt x="186" y="270"/>
                  <a:pt x="186" y="270"/>
                </a:cubicBezTo>
                <a:cubicBezTo>
                  <a:pt x="275" y="270"/>
                  <a:pt x="275" y="270"/>
                  <a:pt x="275" y="270"/>
                </a:cubicBezTo>
                <a:cubicBezTo>
                  <a:pt x="275" y="279"/>
                  <a:pt x="275" y="279"/>
                  <a:pt x="275" y="279"/>
                </a:cubicBezTo>
                <a:cubicBezTo>
                  <a:pt x="185" y="306"/>
                  <a:pt x="185" y="306"/>
                  <a:pt x="185" y="306"/>
                </a:cubicBezTo>
                <a:cubicBezTo>
                  <a:pt x="275" y="306"/>
                  <a:pt x="275" y="306"/>
                  <a:pt x="275" y="306"/>
                </a:cubicBezTo>
                <a:cubicBezTo>
                  <a:pt x="275" y="316"/>
                  <a:pt x="275" y="316"/>
                  <a:pt x="275" y="316"/>
                </a:cubicBezTo>
                <a:cubicBezTo>
                  <a:pt x="185" y="343"/>
                  <a:pt x="185" y="343"/>
                  <a:pt x="185" y="343"/>
                </a:cubicBezTo>
                <a:cubicBezTo>
                  <a:pt x="290" y="343"/>
                  <a:pt x="290" y="343"/>
                  <a:pt x="290" y="343"/>
                </a:cubicBezTo>
                <a:lnTo>
                  <a:pt x="290" y="103"/>
                </a:lnTo>
                <a:close/>
                <a:moveTo>
                  <a:pt x="290" y="353"/>
                </a:moveTo>
                <a:cubicBezTo>
                  <a:pt x="151" y="353"/>
                  <a:pt x="151" y="353"/>
                  <a:pt x="151" y="353"/>
                </a:cubicBezTo>
                <a:cubicBezTo>
                  <a:pt x="151" y="343"/>
                  <a:pt x="151" y="343"/>
                  <a:pt x="151" y="343"/>
                </a:cubicBezTo>
                <a:cubicBezTo>
                  <a:pt x="241" y="316"/>
                  <a:pt x="241" y="316"/>
                  <a:pt x="241" y="316"/>
                </a:cubicBezTo>
                <a:cubicBezTo>
                  <a:pt x="151" y="316"/>
                  <a:pt x="151" y="316"/>
                  <a:pt x="151" y="316"/>
                </a:cubicBezTo>
                <a:cubicBezTo>
                  <a:pt x="151" y="307"/>
                  <a:pt x="151" y="307"/>
                  <a:pt x="151" y="307"/>
                </a:cubicBezTo>
                <a:cubicBezTo>
                  <a:pt x="241" y="280"/>
                  <a:pt x="241" y="280"/>
                  <a:pt x="241" y="280"/>
                </a:cubicBezTo>
                <a:cubicBezTo>
                  <a:pt x="151" y="280"/>
                  <a:pt x="151" y="280"/>
                  <a:pt x="151" y="280"/>
                </a:cubicBezTo>
                <a:cubicBezTo>
                  <a:pt x="151" y="270"/>
                  <a:pt x="151" y="270"/>
                  <a:pt x="151" y="270"/>
                </a:cubicBezTo>
                <a:cubicBezTo>
                  <a:pt x="241" y="243"/>
                  <a:pt x="241" y="243"/>
                  <a:pt x="241" y="243"/>
                </a:cubicBezTo>
                <a:cubicBezTo>
                  <a:pt x="133" y="243"/>
                  <a:pt x="133" y="243"/>
                  <a:pt x="133" y="243"/>
                </a:cubicBezTo>
                <a:cubicBezTo>
                  <a:pt x="133" y="389"/>
                  <a:pt x="133" y="389"/>
                  <a:pt x="133" y="389"/>
                </a:cubicBezTo>
                <a:cubicBezTo>
                  <a:pt x="133" y="409"/>
                  <a:pt x="200" y="414"/>
                  <a:pt x="211" y="414"/>
                </a:cubicBezTo>
                <a:cubicBezTo>
                  <a:pt x="223" y="414"/>
                  <a:pt x="290" y="409"/>
                  <a:pt x="290" y="389"/>
                </a:cubicBezTo>
                <a:lnTo>
                  <a:pt x="290" y="353"/>
                </a:lnTo>
                <a:close/>
                <a:moveTo>
                  <a:pt x="371" y="238"/>
                </a:moveTo>
                <a:cubicBezTo>
                  <a:pt x="371" y="247"/>
                  <a:pt x="364" y="254"/>
                  <a:pt x="355" y="254"/>
                </a:cubicBezTo>
                <a:cubicBezTo>
                  <a:pt x="348" y="254"/>
                  <a:pt x="342" y="250"/>
                  <a:pt x="340" y="244"/>
                </a:cubicBezTo>
                <a:cubicBezTo>
                  <a:pt x="340" y="244"/>
                  <a:pt x="340" y="244"/>
                  <a:pt x="340" y="244"/>
                </a:cubicBezTo>
                <a:cubicBezTo>
                  <a:pt x="309" y="244"/>
                  <a:pt x="309" y="244"/>
                  <a:pt x="309" y="244"/>
                </a:cubicBezTo>
                <a:cubicBezTo>
                  <a:pt x="309" y="389"/>
                  <a:pt x="309" y="389"/>
                  <a:pt x="309" y="389"/>
                </a:cubicBezTo>
                <a:cubicBezTo>
                  <a:pt x="309" y="411"/>
                  <a:pt x="285" y="423"/>
                  <a:pt x="260" y="428"/>
                </a:cubicBezTo>
                <a:cubicBezTo>
                  <a:pt x="260" y="448"/>
                  <a:pt x="260" y="448"/>
                  <a:pt x="260" y="448"/>
                </a:cubicBezTo>
                <a:cubicBezTo>
                  <a:pt x="240" y="448"/>
                  <a:pt x="240" y="448"/>
                  <a:pt x="240" y="448"/>
                </a:cubicBezTo>
                <a:cubicBezTo>
                  <a:pt x="240" y="431"/>
                  <a:pt x="240" y="431"/>
                  <a:pt x="240" y="431"/>
                </a:cubicBezTo>
                <a:cubicBezTo>
                  <a:pt x="229" y="433"/>
                  <a:pt x="218" y="433"/>
                  <a:pt x="211" y="433"/>
                </a:cubicBezTo>
                <a:cubicBezTo>
                  <a:pt x="203" y="433"/>
                  <a:pt x="191" y="432"/>
                  <a:pt x="177" y="430"/>
                </a:cubicBezTo>
                <a:cubicBezTo>
                  <a:pt x="177" y="448"/>
                  <a:pt x="177" y="448"/>
                  <a:pt x="177" y="448"/>
                </a:cubicBezTo>
                <a:cubicBezTo>
                  <a:pt x="158" y="448"/>
                  <a:pt x="158" y="448"/>
                  <a:pt x="158" y="448"/>
                </a:cubicBezTo>
                <a:cubicBezTo>
                  <a:pt x="158" y="427"/>
                  <a:pt x="158" y="427"/>
                  <a:pt x="158" y="427"/>
                </a:cubicBezTo>
                <a:cubicBezTo>
                  <a:pt x="134" y="421"/>
                  <a:pt x="113" y="410"/>
                  <a:pt x="113" y="389"/>
                </a:cubicBezTo>
                <a:cubicBezTo>
                  <a:pt x="113" y="244"/>
                  <a:pt x="113" y="244"/>
                  <a:pt x="113" y="244"/>
                </a:cubicBezTo>
                <a:cubicBezTo>
                  <a:pt x="89" y="244"/>
                  <a:pt x="89" y="244"/>
                  <a:pt x="89" y="244"/>
                </a:cubicBezTo>
                <a:cubicBezTo>
                  <a:pt x="86" y="250"/>
                  <a:pt x="80" y="254"/>
                  <a:pt x="73" y="254"/>
                </a:cubicBezTo>
                <a:cubicBezTo>
                  <a:pt x="66" y="254"/>
                  <a:pt x="60" y="250"/>
                  <a:pt x="58" y="244"/>
                </a:cubicBezTo>
                <a:cubicBezTo>
                  <a:pt x="31" y="244"/>
                  <a:pt x="31" y="244"/>
                  <a:pt x="31" y="244"/>
                </a:cubicBezTo>
                <a:cubicBezTo>
                  <a:pt x="29" y="250"/>
                  <a:pt x="23" y="254"/>
                  <a:pt x="16" y="254"/>
                </a:cubicBezTo>
                <a:cubicBezTo>
                  <a:pt x="7" y="254"/>
                  <a:pt x="0" y="247"/>
                  <a:pt x="0" y="238"/>
                </a:cubicBezTo>
                <a:cubicBezTo>
                  <a:pt x="0" y="230"/>
                  <a:pt x="7" y="222"/>
                  <a:pt x="16" y="222"/>
                </a:cubicBezTo>
                <a:cubicBezTo>
                  <a:pt x="23" y="222"/>
                  <a:pt x="29" y="227"/>
                  <a:pt x="31" y="233"/>
                </a:cubicBezTo>
                <a:cubicBezTo>
                  <a:pt x="58" y="233"/>
                  <a:pt x="58" y="233"/>
                  <a:pt x="58" y="233"/>
                </a:cubicBezTo>
                <a:cubicBezTo>
                  <a:pt x="60" y="227"/>
                  <a:pt x="66" y="222"/>
                  <a:pt x="73" y="222"/>
                </a:cubicBezTo>
                <a:cubicBezTo>
                  <a:pt x="80" y="222"/>
                  <a:pt x="86" y="227"/>
                  <a:pt x="89" y="233"/>
                </a:cubicBezTo>
                <a:cubicBezTo>
                  <a:pt x="113" y="233"/>
                  <a:pt x="113" y="233"/>
                  <a:pt x="113" y="233"/>
                </a:cubicBezTo>
                <a:cubicBezTo>
                  <a:pt x="113" y="103"/>
                  <a:pt x="113" y="103"/>
                  <a:pt x="113" y="103"/>
                </a:cubicBezTo>
                <a:cubicBezTo>
                  <a:pt x="113" y="85"/>
                  <a:pt x="131" y="74"/>
                  <a:pt x="147" y="68"/>
                </a:cubicBezTo>
                <a:cubicBezTo>
                  <a:pt x="164" y="63"/>
                  <a:pt x="185" y="60"/>
                  <a:pt x="207" y="59"/>
                </a:cubicBezTo>
                <a:cubicBezTo>
                  <a:pt x="207" y="34"/>
                  <a:pt x="207" y="34"/>
                  <a:pt x="207" y="34"/>
                </a:cubicBezTo>
                <a:cubicBezTo>
                  <a:pt x="201" y="32"/>
                  <a:pt x="197" y="26"/>
                  <a:pt x="197" y="20"/>
                </a:cubicBezTo>
                <a:cubicBezTo>
                  <a:pt x="197" y="12"/>
                  <a:pt x="203" y="5"/>
                  <a:pt x="211" y="5"/>
                </a:cubicBezTo>
                <a:cubicBezTo>
                  <a:pt x="220" y="5"/>
                  <a:pt x="226" y="12"/>
                  <a:pt x="226" y="20"/>
                </a:cubicBezTo>
                <a:cubicBezTo>
                  <a:pt x="226" y="26"/>
                  <a:pt x="222" y="32"/>
                  <a:pt x="216" y="34"/>
                </a:cubicBezTo>
                <a:cubicBezTo>
                  <a:pt x="216" y="59"/>
                  <a:pt x="216" y="59"/>
                  <a:pt x="216" y="59"/>
                </a:cubicBezTo>
                <a:cubicBezTo>
                  <a:pt x="245" y="60"/>
                  <a:pt x="309" y="67"/>
                  <a:pt x="309" y="103"/>
                </a:cubicBezTo>
                <a:cubicBezTo>
                  <a:pt x="309" y="233"/>
                  <a:pt x="309" y="233"/>
                  <a:pt x="309" y="233"/>
                </a:cubicBezTo>
                <a:cubicBezTo>
                  <a:pt x="340" y="233"/>
                  <a:pt x="340" y="233"/>
                  <a:pt x="340" y="233"/>
                </a:cubicBezTo>
                <a:cubicBezTo>
                  <a:pt x="340" y="233"/>
                  <a:pt x="340" y="233"/>
                  <a:pt x="340" y="233"/>
                </a:cubicBezTo>
                <a:cubicBezTo>
                  <a:pt x="341" y="229"/>
                  <a:pt x="345" y="225"/>
                  <a:pt x="350" y="223"/>
                </a:cubicBezTo>
                <a:cubicBezTo>
                  <a:pt x="350" y="200"/>
                  <a:pt x="350" y="200"/>
                  <a:pt x="350" y="200"/>
                </a:cubicBezTo>
                <a:cubicBezTo>
                  <a:pt x="343" y="197"/>
                  <a:pt x="339" y="191"/>
                  <a:pt x="339" y="184"/>
                </a:cubicBezTo>
                <a:cubicBezTo>
                  <a:pt x="339" y="176"/>
                  <a:pt x="346" y="168"/>
                  <a:pt x="355" y="168"/>
                </a:cubicBezTo>
                <a:cubicBezTo>
                  <a:pt x="364" y="168"/>
                  <a:pt x="371" y="176"/>
                  <a:pt x="371" y="184"/>
                </a:cubicBezTo>
                <a:cubicBezTo>
                  <a:pt x="371" y="191"/>
                  <a:pt x="367" y="197"/>
                  <a:pt x="360" y="200"/>
                </a:cubicBezTo>
                <a:cubicBezTo>
                  <a:pt x="360" y="223"/>
                  <a:pt x="360" y="223"/>
                  <a:pt x="360" y="223"/>
                </a:cubicBezTo>
                <a:cubicBezTo>
                  <a:pt x="367" y="226"/>
                  <a:pt x="371" y="231"/>
                  <a:pt x="371" y="238"/>
                </a:cubicBezTo>
                <a:moveTo>
                  <a:pt x="248" y="21"/>
                </a:moveTo>
                <a:cubicBezTo>
                  <a:pt x="248" y="18"/>
                  <a:pt x="248" y="18"/>
                  <a:pt x="248" y="18"/>
                </a:cubicBezTo>
                <a:cubicBezTo>
                  <a:pt x="236" y="18"/>
                  <a:pt x="236" y="18"/>
                  <a:pt x="236" y="18"/>
                </a:cubicBezTo>
                <a:cubicBezTo>
                  <a:pt x="236" y="18"/>
                  <a:pt x="236" y="18"/>
                  <a:pt x="236" y="19"/>
                </a:cubicBezTo>
                <a:cubicBezTo>
                  <a:pt x="236" y="19"/>
                  <a:pt x="236" y="20"/>
                  <a:pt x="236" y="21"/>
                </a:cubicBezTo>
                <a:lnTo>
                  <a:pt x="248" y="21"/>
                </a:lnTo>
                <a:close/>
                <a:moveTo>
                  <a:pt x="186" y="19"/>
                </a:moveTo>
                <a:cubicBezTo>
                  <a:pt x="186" y="18"/>
                  <a:pt x="186" y="18"/>
                  <a:pt x="186" y="18"/>
                </a:cubicBezTo>
                <a:cubicBezTo>
                  <a:pt x="175" y="18"/>
                  <a:pt x="175" y="18"/>
                  <a:pt x="175" y="18"/>
                </a:cubicBezTo>
                <a:cubicBezTo>
                  <a:pt x="175" y="21"/>
                  <a:pt x="175" y="21"/>
                  <a:pt x="175" y="21"/>
                </a:cubicBezTo>
                <a:cubicBezTo>
                  <a:pt x="187" y="21"/>
                  <a:pt x="187" y="21"/>
                  <a:pt x="187" y="21"/>
                </a:cubicBezTo>
                <a:cubicBezTo>
                  <a:pt x="186" y="20"/>
                  <a:pt x="186" y="19"/>
                  <a:pt x="186" y="19"/>
                </a:cubicBezTo>
                <a:moveTo>
                  <a:pt x="244" y="2"/>
                </a:moveTo>
                <a:cubicBezTo>
                  <a:pt x="242" y="0"/>
                  <a:pt x="242" y="0"/>
                  <a:pt x="242" y="0"/>
                </a:cubicBezTo>
                <a:cubicBezTo>
                  <a:pt x="232" y="5"/>
                  <a:pt x="232" y="5"/>
                  <a:pt x="232" y="5"/>
                </a:cubicBezTo>
                <a:cubicBezTo>
                  <a:pt x="233" y="6"/>
                  <a:pt x="233" y="7"/>
                  <a:pt x="234" y="8"/>
                </a:cubicBezTo>
                <a:lnTo>
                  <a:pt x="244" y="2"/>
                </a:lnTo>
                <a:close/>
                <a:moveTo>
                  <a:pt x="179" y="36"/>
                </a:moveTo>
                <a:cubicBezTo>
                  <a:pt x="181" y="38"/>
                  <a:pt x="181" y="38"/>
                  <a:pt x="181" y="38"/>
                </a:cubicBezTo>
                <a:cubicBezTo>
                  <a:pt x="191" y="33"/>
                  <a:pt x="191" y="33"/>
                  <a:pt x="191" y="33"/>
                </a:cubicBezTo>
                <a:cubicBezTo>
                  <a:pt x="190" y="32"/>
                  <a:pt x="190" y="31"/>
                  <a:pt x="189" y="30"/>
                </a:cubicBezTo>
                <a:lnTo>
                  <a:pt x="179" y="36"/>
                </a:lnTo>
                <a:close/>
                <a:moveTo>
                  <a:pt x="190" y="5"/>
                </a:moveTo>
                <a:cubicBezTo>
                  <a:pt x="181" y="0"/>
                  <a:pt x="181" y="0"/>
                  <a:pt x="181" y="0"/>
                </a:cubicBezTo>
                <a:cubicBezTo>
                  <a:pt x="179" y="2"/>
                  <a:pt x="179" y="2"/>
                  <a:pt x="179" y="2"/>
                </a:cubicBezTo>
                <a:cubicBezTo>
                  <a:pt x="189" y="8"/>
                  <a:pt x="189" y="8"/>
                  <a:pt x="189" y="8"/>
                </a:cubicBezTo>
                <a:cubicBezTo>
                  <a:pt x="189" y="7"/>
                  <a:pt x="190" y="6"/>
                  <a:pt x="190" y="5"/>
                </a:cubicBezTo>
                <a:moveTo>
                  <a:pt x="244" y="36"/>
                </a:moveTo>
                <a:cubicBezTo>
                  <a:pt x="234" y="30"/>
                  <a:pt x="234" y="30"/>
                  <a:pt x="234" y="30"/>
                </a:cubicBezTo>
                <a:cubicBezTo>
                  <a:pt x="233" y="31"/>
                  <a:pt x="233" y="32"/>
                  <a:pt x="232" y="33"/>
                </a:cubicBezTo>
                <a:cubicBezTo>
                  <a:pt x="242" y="38"/>
                  <a:pt x="242" y="38"/>
                  <a:pt x="242" y="38"/>
                </a:cubicBezTo>
                <a:lnTo>
                  <a:pt x="244" y="36"/>
                </a:lnTo>
                <a:close/>
                <a:moveTo>
                  <a:pt x="242" y="119"/>
                </a:moveTo>
                <a:cubicBezTo>
                  <a:pt x="232" y="119"/>
                  <a:pt x="232" y="119"/>
                  <a:pt x="232" y="119"/>
                </a:cubicBezTo>
                <a:cubicBezTo>
                  <a:pt x="232" y="153"/>
                  <a:pt x="232" y="153"/>
                  <a:pt x="232" y="153"/>
                </a:cubicBezTo>
                <a:cubicBezTo>
                  <a:pt x="242" y="153"/>
                  <a:pt x="242" y="153"/>
                  <a:pt x="242" y="153"/>
                </a:cubicBezTo>
                <a:lnTo>
                  <a:pt x="242" y="119"/>
                </a:lnTo>
                <a:close/>
                <a:moveTo>
                  <a:pt x="249" y="153"/>
                </a:moveTo>
                <a:cubicBezTo>
                  <a:pt x="259" y="153"/>
                  <a:pt x="259" y="153"/>
                  <a:pt x="259" y="153"/>
                </a:cubicBezTo>
                <a:cubicBezTo>
                  <a:pt x="259" y="119"/>
                  <a:pt x="259" y="119"/>
                  <a:pt x="259" y="119"/>
                </a:cubicBezTo>
                <a:cubicBezTo>
                  <a:pt x="249" y="119"/>
                  <a:pt x="249" y="119"/>
                  <a:pt x="249" y="119"/>
                </a:cubicBezTo>
                <a:lnTo>
                  <a:pt x="249" y="153"/>
                </a:lnTo>
                <a:close/>
                <a:moveTo>
                  <a:pt x="266" y="153"/>
                </a:moveTo>
                <a:cubicBezTo>
                  <a:pt x="276" y="153"/>
                  <a:pt x="276" y="153"/>
                  <a:pt x="276" y="153"/>
                </a:cubicBezTo>
                <a:cubicBezTo>
                  <a:pt x="276" y="119"/>
                  <a:pt x="276" y="119"/>
                  <a:pt x="276" y="119"/>
                </a:cubicBezTo>
                <a:cubicBezTo>
                  <a:pt x="266" y="119"/>
                  <a:pt x="266" y="119"/>
                  <a:pt x="266" y="119"/>
                </a:cubicBezTo>
                <a:lnTo>
                  <a:pt x="266" y="153"/>
                </a:lnTo>
                <a:close/>
                <a:moveTo>
                  <a:pt x="146" y="153"/>
                </a:moveTo>
                <a:cubicBezTo>
                  <a:pt x="156" y="153"/>
                  <a:pt x="156" y="153"/>
                  <a:pt x="156" y="153"/>
                </a:cubicBezTo>
                <a:cubicBezTo>
                  <a:pt x="156" y="119"/>
                  <a:pt x="156" y="119"/>
                  <a:pt x="156" y="119"/>
                </a:cubicBezTo>
                <a:cubicBezTo>
                  <a:pt x="146" y="119"/>
                  <a:pt x="146" y="119"/>
                  <a:pt x="146" y="119"/>
                </a:cubicBezTo>
                <a:lnTo>
                  <a:pt x="146" y="153"/>
                </a:lnTo>
                <a:close/>
                <a:moveTo>
                  <a:pt x="173" y="119"/>
                </a:moveTo>
                <a:cubicBezTo>
                  <a:pt x="163" y="119"/>
                  <a:pt x="163" y="119"/>
                  <a:pt x="163" y="119"/>
                </a:cubicBezTo>
                <a:cubicBezTo>
                  <a:pt x="163" y="153"/>
                  <a:pt x="163" y="153"/>
                  <a:pt x="163" y="153"/>
                </a:cubicBezTo>
                <a:cubicBezTo>
                  <a:pt x="173" y="153"/>
                  <a:pt x="173" y="153"/>
                  <a:pt x="173" y="153"/>
                </a:cubicBezTo>
                <a:lnTo>
                  <a:pt x="173" y="119"/>
                </a:lnTo>
                <a:close/>
                <a:moveTo>
                  <a:pt x="242" y="177"/>
                </a:moveTo>
                <a:cubicBezTo>
                  <a:pt x="180" y="177"/>
                  <a:pt x="180" y="177"/>
                  <a:pt x="180" y="177"/>
                </a:cubicBezTo>
                <a:cubicBezTo>
                  <a:pt x="180" y="166"/>
                  <a:pt x="180" y="166"/>
                  <a:pt x="180" y="166"/>
                </a:cubicBezTo>
                <a:cubicBezTo>
                  <a:pt x="173" y="166"/>
                  <a:pt x="173" y="166"/>
                  <a:pt x="173" y="166"/>
                </a:cubicBezTo>
                <a:cubicBezTo>
                  <a:pt x="173" y="177"/>
                  <a:pt x="173" y="177"/>
                  <a:pt x="173" y="177"/>
                </a:cubicBezTo>
                <a:cubicBezTo>
                  <a:pt x="173" y="187"/>
                  <a:pt x="173" y="187"/>
                  <a:pt x="173" y="187"/>
                </a:cubicBezTo>
                <a:cubicBezTo>
                  <a:pt x="180" y="187"/>
                  <a:pt x="180" y="187"/>
                  <a:pt x="180" y="187"/>
                </a:cubicBezTo>
                <a:cubicBezTo>
                  <a:pt x="242" y="187"/>
                  <a:pt x="242" y="187"/>
                  <a:pt x="242" y="187"/>
                </a:cubicBezTo>
                <a:cubicBezTo>
                  <a:pt x="249" y="187"/>
                  <a:pt x="249" y="187"/>
                  <a:pt x="249" y="187"/>
                </a:cubicBezTo>
                <a:cubicBezTo>
                  <a:pt x="249" y="177"/>
                  <a:pt x="249" y="177"/>
                  <a:pt x="249" y="177"/>
                </a:cubicBezTo>
                <a:cubicBezTo>
                  <a:pt x="249" y="166"/>
                  <a:pt x="249" y="166"/>
                  <a:pt x="249" y="166"/>
                </a:cubicBezTo>
                <a:cubicBezTo>
                  <a:pt x="242" y="166"/>
                  <a:pt x="242" y="166"/>
                  <a:pt x="242" y="166"/>
                </a:cubicBezTo>
                <a:lnTo>
                  <a:pt x="242" y="177"/>
                </a:lnTo>
                <a:close/>
                <a:moveTo>
                  <a:pt x="190" y="119"/>
                </a:moveTo>
                <a:cubicBezTo>
                  <a:pt x="180" y="119"/>
                  <a:pt x="180" y="119"/>
                  <a:pt x="180" y="119"/>
                </a:cubicBezTo>
                <a:cubicBezTo>
                  <a:pt x="180" y="153"/>
                  <a:pt x="180" y="153"/>
                  <a:pt x="180" y="153"/>
                </a:cubicBezTo>
                <a:cubicBezTo>
                  <a:pt x="190" y="153"/>
                  <a:pt x="190" y="153"/>
                  <a:pt x="190" y="153"/>
                </a:cubicBezTo>
                <a:lnTo>
                  <a:pt x="190" y="119"/>
                </a:lnTo>
                <a:close/>
                <a:moveTo>
                  <a:pt x="314" y="460"/>
                </a:moveTo>
                <a:cubicBezTo>
                  <a:pt x="314" y="470"/>
                  <a:pt x="314" y="470"/>
                  <a:pt x="314" y="470"/>
                </a:cubicBezTo>
                <a:cubicBezTo>
                  <a:pt x="0" y="470"/>
                  <a:pt x="0" y="470"/>
                  <a:pt x="0" y="470"/>
                </a:cubicBezTo>
                <a:cubicBezTo>
                  <a:pt x="0" y="460"/>
                  <a:pt x="0" y="460"/>
                  <a:pt x="0" y="460"/>
                </a:cubicBezTo>
                <a:lnTo>
                  <a:pt x="314" y="460"/>
                </a:lnTo>
                <a:close/>
              </a:path>
            </a:pathLst>
          </a:custGeom>
          <a:solidFill>
            <a:schemeClr val="tx1"/>
          </a:solidFill>
          <a:ln>
            <a:noFill/>
          </a:ln>
        </p:spPr>
        <p:txBody>
          <a:bodyPr vert="horz" wrap="square" lIns="98701" tIns="49350" rIns="98701" bIns="49350" numCol="1" anchor="t" anchorCtr="0" compatLnSpc="1">
            <a:prstTxWarp prst="textNoShape">
              <a:avLst/>
            </a:prstTxWarp>
          </a:bodyPr>
          <a:lstStyle/>
          <a:p>
            <a:endParaRPr lang="de-DE" sz="1943">
              <a:solidFill>
                <a:schemeClr val="bg1"/>
              </a:solidFill>
            </a:endParaRPr>
          </a:p>
        </p:txBody>
      </p:sp>
    </p:spTree>
    <p:extLst>
      <p:ext uri="{BB962C8B-B14F-4D97-AF65-F5344CB8AC3E}">
        <p14:creationId xmlns:p14="http://schemas.microsoft.com/office/powerpoint/2010/main" val="884055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oup 64"/>
          <p:cNvGrpSpPr/>
          <p:nvPr/>
        </p:nvGrpSpPr>
        <p:grpSpPr>
          <a:xfrm>
            <a:off x="609600" y="3009761"/>
            <a:ext cx="10962950" cy="1261884"/>
            <a:chOff x="609600" y="2962683"/>
            <a:chExt cx="10962950" cy="1261884"/>
          </a:xfrm>
        </p:grpSpPr>
        <p:sp>
          <p:nvSpPr>
            <p:cNvPr id="55" name="Rectangle 54"/>
            <p:cNvSpPr/>
            <p:nvPr/>
          </p:nvSpPr>
          <p:spPr>
            <a:xfrm>
              <a:off x="8283242" y="2962683"/>
              <a:ext cx="3289308" cy="126188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lvl="0"/>
              <a:r>
                <a:rPr lang="en-IN" sz="1400" dirty="0">
                  <a:solidFill>
                    <a:schemeClr val="bg1"/>
                  </a:solidFill>
                </a:rPr>
                <a:t>While leaders view </a:t>
              </a:r>
              <a:r>
                <a:rPr lang="en-IN" sz="1600" b="1" dirty="0">
                  <a:solidFill>
                    <a:schemeClr val="bg1"/>
                  </a:solidFill>
                </a:rPr>
                <a:t>cybersecurity </a:t>
              </a:r>
              <a:r>
                <a:rPr lang="en-IN" sz="1400" dirty="0">
                  <a:solidFill>
                    <a:schemeClr val="bg1"/>
                  </a:solidFill>
                </a:rPr>
                <a:t>as the greatest impediment to realizing value from tech investments, innovative companies see a huge </a:t>
              </a:r>
              <a:r>
                <a:rPr lang="en-IN" sz="1600" b="1" dirty="0">
                  <a:solidFill>
                    <a:schemeClr val="bg1"/>
                  </a:solidFill>
                </a:rPr>
                <a:t>challenge in maintaining data</a:t>
              </a:r>
              <a:endParaRPr lang="en-IN" sz="1400" dirty="0">
                <a:solidFill>
                  <a:schemeClr val="bg1"/>
                </a:solidFill>
              </a:endParaRPr>
            </a:p>
          </p:txBody>
        </p:sp>
        <p:sp>
          <p:nvSpPr>
            <p:cNvPr id="3" name="Rectangle 2"/>
            <p:cNvSpPr/>
            <p:nvPr/>
          </p:nvSpPr>
          <p:spPr>
            <a:xfrm>
              <a:off x="609600" y="2962683"/>
              <a:ext cx="3311332" cy="1261884"/>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spAutoFit/>
            </a:bodyPr>
            <a:lstStyle/>
            <a:p>
              <a:pPr lvl="0"/>
              <a:r>
                <a:rPr lang="en-IN" sz="1400" b="1" dirty="0">
                  <a:solidFill>
                    <a:schemeClr val="bg1"/>
                  </a:solidFill>
                </a:rPr>
                <a:t>70%</a:t>
              </a:r>
              <a:r>
                <a:rPr lang="en-IN" sz="1400" dirty="0">
                  <a:solidFill>
                    <a:schemeClr val="bg1"/>
                  </a:solidFill>
                </a:rPr>
                <a:t> of innovative* companies ranked </a:t>
              </a:r>
              <a:r>
                <a:rPr lang="en-IN" sz="1600" b="1" dirty="0">
                  <a:solidFill>
                    <a:schemeClr val="bg1"/>
                  </a:solidFill>
                </a:rPr>
                <a:t>cybersecurity </a:t>
              </a:r>
              <a:r>
                <a:rPr lang="en-IN" sz="1400" dirty="0">
                  <a:solidFill>
                    <a:schemeClr val="bg1"/>
                  </a:solidFill>
                </a:rPr>
                <a:t>as the most critical factor to the success of their </a:t>
              </a:r>
              <a:r>
                <a:rPr lang="en-IN" sz="1400" dirty="0" smtClean="0">
                  <a:solidFill>
                    <a:schemeClr val="bg1"/>
                  </a:solidFill>
                </a:rPr>
                <a:t>business</a:t>
              </a:r>
              <a:endParaRPr lang="en-IN" sz="1400" dirty="0">
                <a:solidFill>
                  <a:schemeClr val="bg1"/>
                </a:solidFill>
              </a:endParaRPr>
            </a:p>
          </p:txBody>
        </p:sp>
      </p:grpSp>
      <p:sp>
        <p:nvSpPr>
          <p:cNvPr id="2" name="Title 1"/>
          <p:cNvSpPr>
            <a:spLocks noGrp="1"/>
          </p:cNvSpPr>
          <p:nvPr>
            <p:ph type="title"/>
          </p:nvPr>
        </p:nvSpPr>
        <p:spPr>
          <a:xfrm>
            <a:off x="609607" y="201600"/>
            <a:ext cx="10977034" cy="860400"/>
          </a:xfrm>
        </p:spPr>
        <p:txBody>
          <a:bodyPr/>
          <a:lstStyle/>
          <a:p>
            <a:r>
              <a:rPr lang="en-IN" sz="2100" dirty="0" smtClean="0"/>
              <a:t>Enterprise protection: have we designed our functions and processes </a:t>
            </a:r>
            <a:br>
              <a:rPr lang="en-IN" sz="2100" dirty="0" smtClean="0"/>
            </a:br>
            <a:r>
              <a:rPr lang="en-IN" sz="2100" dirty="0" smtClean="0"/>
              <a:t>to help effectively manage the new risk universe and accelerate </a:t>
            </a:r>
            <a:br>
              <a:rPr lang="en-IN" sz="2100" dirty="0" smtClean="0"/>
            </a:br>
            <a:r>
              <a:rPr lang="en-IN" sz="2100" dirty="0" smtClean="0"/>
              <a:t>our advancing of the enterprise?</a:t>
            </a:r>
            <a:endParaRPr lang="en-IN" sz="2100" dirty="0"/>
          </a:p>
        </p:txBody>
      </p:sp>
      <p:sp>
        <p:nvSpPr>
          <p:cNvPr id="4" name="Rectangle 3"/>
          <p:cNvSpPr>
            <a:spLocks/>
          </p:cNvSpPr>
          <p:nvPr/>
        </p:nvSpPr>
        <p:spPr>
          <a:xfrm>
            <a:off x="591801" y="1730615"/>
            <a:ext cx="3311332" cy="913070"/>
          </a:xfrm>
          <a:prstGeom prst="rect">
            <a:avLst/>
          </a:prstGeom>
        </p:spPr>
        <p:txBody>
          <a:bodyPr wrap="square" lIns="0" tIns="0" rIns="0" bIns="0">
            <a:spAutoFit/>
          </a:bodyPr>
          <a:lstStyle/>
          <a:p>
            <a:pPr>
              <a:spcBef>
                <a:spcPts val="225"/>
              </a:spcBef>
              <a:spcAft>
                <a:spcPts val="225"/>
              </a:spcAft>
              <a:buClr>
                <a:schemeClr val="accent2"/>
              </a:buClr>
              <a:buSzPct val="70000"/>
            </a:pPr>
            <a:r>
              <a:rPr lang="en-US" sz="1400" b="1" dirty="0">
                <a:solidFill>
                  <a:schemeClr val="bg1"/>
                </a:solidFill>
                <a:latin typeface="+mj-lt"/>
              </a:rPr>
              <a:t>Risk intelligence</a:t>
            </a:r>
          </a:p>
          <a:p>
            <a:pPr>
              <a:spcBef>
                <a:spcPts val="225"/>
              </a:spcBef>
              <a:spcAft>
                <a:spcPts val="225"/>
              </a:spcAft>
              <a:buClr>
                <a:schemeClr val="accent2"/>
              </a:buClr>
              <a:buSzPct val="100000"/>
            </a:pPr>
            <a:r>
              <a:rPr lang="en-US" sz="1400" dirty="0">
                <a:solidFill>
                  <a:schemeClr val="bg1"/>
                </a:solidFill>
                <a:latin typeface="+mj-lt"/>
              </a:rPr>
              <a:t>Do we know which evolving opportunities and threats may impact our objectives and performance?</a:t>
            </a:r>
          </a:p>
        </p:txBody>
      </p:sp>
      <p:grpSp>
        <p:nvGrpSpPr>
          <p:cNvPr id="68" name="Group 67"/>
          <p:cNvGrpSpPr/>
          <p:nvPr/>
        </p:nvGrpSpPr>
        <p:grpSpPr>
          <a:xfrm>
            <a:off x="591801" y="4637719"/>
            <a:ext cx="10980749" cy="913070"/>
            <a:chOff x="591801" y="4637719"/>
            <a:chExt cx="10980749" cy="913070"/>
          </a:xfrm>
        </p:grpSpPr>
        <p:sp>
          <p:nvSpPr>
            <p:cNvPr id="5" name="Rectangle 4"/>
            <p:cNvSpPr>
              <a:spLocks/>
            </p:cNvSpPr>
            <p:nvPr/>
          </p:nvSpPr>
          <p:spPr>
            <a:xfrm>
              <a:off x="591801" y="4637719"/>
              <a:ext cx="3311332" cy="697627"/>
            </a:xfrm>
            <a:prstGeom prst="rect">
              <a:avLst/>
            </a:prstGeom>
          </p:spPr>
          <p:txBody>
            <a:bodyPr wrap="square" lIns="0" tIns="0" rIns="0" bIns="0">
              <a:spAutoFit/>
            </a:bodyPr>
            <a:lstStyle/>
            <a:p>
              <a:pPr>
                <a:spcBef>
                  <a:spcPts val="225"/>
                </a:spcBef>
                <a:spcAft>
                  <a:spcPts val="225"/>
                </a:spcAft>
                <a:buClr>
                  <a:schemeClr val="accent2"/>
                </a:buClr>
                <a:buSzPct val="70000"/>
              </a:pPr>
              <a:r>
                <a:rPr lang="en-US" sz="1400" b="1" dirty="0">
                  <a:solidFill>
                    <a:schemeClr val="bg1"/>
                  </a:solidFill>
                  <a:latin typeface="+mj-lt"/>
                </a:rPr>
                <a:t>Risk agility</a:t>
              </a:r>
            </a:p>
            <a:p>
              <a:pPr>
                <a:spcBef>
                  <a:spcPts val="225"/>
                </a:spcBef>
                <a:spcAft>
                  <a:spcPts val="225"/>
                </a:spcAft>
                <a:buClr>
                  <a:schemeClr val="accent2"/>
                </a:buClr>
                <a:buSzPct val="100000"/>
              </a:pPr>
              <a:r>
                <a:rPr lang="en-US" sz="1400" dirty="0">
                  <a:solidFill>
                    <a:schemeClr val="bg1"/>
                  </a:solidFill>
                  <a:latin typeface="+mj-lt"/>
                </a:rPr>
                <a:t>Can we quickly respond to opportunities and challenges?</a:t>
              </a:r>
            </a:p>
          </p:txBody>
        </p:sp>
        <p:sp>
          <p:nvSpPr>
            <p:cNvPr id="6" name="Rectangle 5"/>
            <p:cNvSpPr>
              <a:spLocks/>
            </p:cNvSpPr>
            <p:nvPr/>
          </p:nvSpPr>
          <p:spPr>
            <a:xfrm>
              <a:off x="8283242" y="4637719"/>
              <a:ext cx="3289308" cy="913070"/>
            </a:xfrm>
            <a:prstGeom prst="rect">
              <a:avLst/>
            </a:prstGeom>
          </p:spPr>
          <p:txBody>
            <a:bodyPr wrap="square" lIns="0" tIns="0" rIns="0" bIns="0">
              <a:spAutoFit/>
            </a:bodyPr>
            <a:lstStyle/>
            <a:p>
              <a:pPr>
                <a:spcBef>
                  <a:spcPts val="225"/>
                </a:spcBef>
                <a:spcAft>
                  <a:spcPts val="225"/>
                </a:spcAft>
                <a:buClr>
                  <a:schemeClr val="accent2"/>
                </a:buClr>
                <a:buSzPct val="70000"/>
              </a:pPr>
              <a:r>
                <a:rPr lang="en-US" sz="1400" b="1" dirty="0">
                  <a:solidFill>
                    <a:schemeClr val="bg1"/>
                  </a:solidFill>
                  <a:latin typeface="+mj-lt"/>
                </a:rPr>
                <a:t>Risk visibility</a:t>
              </a:r>
            </a:p>
            <a:p>
              <a:pPr>
                <a:spcBef>
                  <a:spcPts val="225"/>
                </a:spcBef>
                <a:spcAft>
                  <a:spcPts val="225"/>
                </a:spcAft>
                <a:buClr>
                  <a:schemeClr val="accent2"/>
                </a:buClr>
                <a:buSzPct val="100000"/>
              </a:pPr>
              <a:r>
                <a:rPr lang="en-US" sz="1400" dirty="0">
                  <a:solidFill>
                    <a:schemeClr val="bg1"/>
                  </a:solidFill>
                  <a:latin typeface="+mj-lt"/>
                </a:rPr>
                <a:t>How do we get real-time information about the risks and controls we are managing?</a:t>
              </a:r>
            </a:p>
          </p:txBody>
        </p:sp>
      </p:grpSp>
      <p:sp>
        <p:nvSpPr>
          <p:cNvPr id="7" name="Rectangle 6"/>
          <p:cNvSpPr>
            <a:spLocks/>
          </p:cNvSpPr>
          <p:nvPr/>
        </p:nvSpPr>
        <p:spPr>
          <a:xfrm>
            <a:off x="8283242" y="1730615"/>
            <a:ext cx="3289308" cy="697627"/>
          </a:xfrm>
          <a:prstGeom prst="rect">
            <a:avLst/>
          </a:prstGeom>
          <a:noFill/>
        </p:spPr>
        <p:txBody>
          <a:bodyPr wrap="square" lIns="0" tIns="0" rIns="0" bIns="0">
            <a:spAutoFit/>
          </a:bodyPr>
          <a:lstStyle/>
          <a:p>
            <a:pPr>
              <a:spcBef>
                <a:spcPts val="225"/>
              </a:spcBef>
              <a:spcAft>
                <a:spcPts val="225"/>
              </a:spcAft>
              <a:buClr>
                <a:schemeClr val="accent2"/>
              </a:buClr>
              <a:buSzPct val="70000"/>
            </a:pPr>
            <a:r>
              <a:rPr lang="en-US" sz="1400" b="1" dirty="0">
                <a:solidFill>
                  <a:schemeClr val="bg1"/>
                </a:solidFill>
                <a:latin typeface="+mj-lt"/>
              </a:rPr>
              <a:t>Risk decision</a:t>
            </a:r>
          </a:p>
          <a:p>
            <a:pPr>
              <a:spcBef>
                <a:spcPts val="225"/>
              </a:spcBef>
              <a:spcAft>
                <a:spcPts val="225"/>
              </a:spcAft>
              <a:buClr>
                <a:schemeClr val="accent2"/>
              </a:buClr>
              <a:buSzPct val="100000"/>
            </a:pPr>
            <a:r>
              <a:rPr lang="en-US" sz="1400" dirty="0">
                <a:solidFill>
                  <a:schemeClr val="bg1"/>
                </a:solidFill>
                <a:latin typeface="+mj-lt"/>
              </a:rPr>
              <a:t>How do we prioritize our response to opportunities and threats?</a:t>
            </a:r>
          </a:p>
        </p:txBody>
      </p:sp>
      <p:sp>
        <p:nvSpPr>
          <p:cNvPr id="18" name="Freeform 5"/>
          <p:cNvSpPr>
            <a:spLocks/>
          </p:cNvSpPr>
          <p:nvPr/>
        </p:nvSpPr>
        <p:spPr bwMode="auto">
          <a:xfrm>
            <a:off x="6159590" y="1564867"/>
            <a:ext cx="2001180" cy="1996728"/>
          </a:xfrm>
          <a:custGeom>
            <a:avLst/>
            <a:gdLst>
              <a:gd name="T0" fmla="*/ 535 w 629"/>
              <a:gd name="T1" fmla="*/ 311 h 631"/>
              <a:gd name="T2" fmla="*/ 529 w 629"/>
              <a:gd name="T3" fmla="*/ 301 h 631"/>
              <a:gd name="T4" fmla="*/ 462 w 629"/>
              <a:gd name="T5" fmla="*/ 317 h 631"/>
              <a:gd name="T6" fmla="*/ 320 w 629"/>
              <a:gd name="T7" fmla="*/ 176 h 631"/>
              <a:gd name="T8" fmla="*/ 338 w 629"/>
              <a:gd name="T9" fmla="*/ 107 h 631"/>
              <a:gd name="T10" fmla="*/ 0 w 629"/>
              <a:gd name="T11" fmla="*/ 0 h 631"/>
              <a:gd name="T12" fmla="*/ 0 w 629"/>
              <a:gd name="T13" fmla="*/ 95 h 631"/>
              <a:gd name="T14" fmla="*/ 248 w 629"/>
              <a:gd name="T15" fmla="*/ 164 h 631"/>
              <a:gd name="T16" fmla="*/ 209 w 629"/>
              <a:gd name="T17" fmla="*/ 221 h 631"/>
              <a:gd name="T18" fmla="*/ 409 w 629"/>
              <a:gd name="T19" fmla="*/ 425 h 631"/>
              <a:gd name="T20" fmla="*/ 467 w 629"/>
              <a:gd name="T21" fmla="*/ 387 h 631"/>
              <a:gd name="T22" fmla="*/ 531 w 629"/>
              <a:gd name="T23" fmla="*/ 631 h 631"/>
              <a:gd name="T24" fmla="*/ 629 w 629"/>
              <a:gd name="T25" fmla="*/ 631 h 631"/>
              <a:gd name="T26" fmla="*/ 535 w 629"/>
              <a:gd name="T27" fmla="*/ 31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9" h="631">
                <a:moveTo>
                  <a:pt x="535" y="311"/>
                </a:moveTo>
                <a:cubicBezTo>
                  <a:pt x="533" y="307"/>
                  <a:pt x="531" y="304"/>
                  <a:pt x="529" y="301"/>
                </a:cubicBezTo>
                <a:cubicBezTo>
                  <a:pt x="509" y="311"/>
                  <a:pt x="486" y="317"/>
                  <a:pt x="462" y="317"/>
                </a:cubicBezTo>
                <a:cubicBezTo>
                  <a:pt x="384" y="317"/>
                  <a:pt x="320" y="254"/>
                  <a:pt x="320" y="176"/>
                </a:cubicBezTo>
                <a:cubicBezTo>
                  <a:pt x="320" y="150"/>
                  <a:pt x="327" y="127"/>
                  <a:pt x="338" y="107"/>
                </a:cubicBezTo>
                <a:cubicBezTo>
                  <a:pt x="241" y="42"/>
                  <a:pt x="125" y="3"/>
                  <a:pt x="0" y="0"/>
                </a:cubicBezTo>
                <a:cubicBezTo>
                  <a:pt x="0" y="95"/>
                  <a:pt x="0" y="95"/>
                  <a:pt x="0" y="95"/>
                </a:cubicBezTo>
                <a:cubicBezTo>
                  <a:pt x="90" y="98"/>
                  <a:pt x="174" y="123"/>
                  <a:pt x="248" y="164"/>
                </a:cubicBezTo>
                <a:cubicBezTo>
                  <a:pt x="209" y="221"/>
                  <a:pt x="209" y="221"/>
                  <a:pt x="209" y="221"/>
                </a:cubicBezTo>
                <a:cubicBezTo>
                  <a:pt x="294" y="267"/>
                  <a:pt x="364" y="338"/>
                  <a:pt x="409" y="425"/>
                </a:cubicBezTo>
                <a:cubicBezTo>
                  <a:pt x="467" y="387"/>
                  <a:pt x="467" y="387"/>
                  <a:pt x="467" y="387"/>
                </a:cubicBezTo>
                <a:cubicBezTo>
                  <a:pt x="506" y="460"/>
                  <a:pt x="529" y="543"/>
                  <a:pt x="531" y="631"/>
                </a:cubicBezTo>
                <a:cubicBezTo>
                  <a:pt x="629" y="631"/>
                  <a:pt x="629" y="631"/>
                  <a:pt x="629" y="631"/>
                </a:cubicBezTo>
                <a:cubicBezTo>
                  <a:pt x="626" y="514"/>
                  <a:pt x="592" y="405"/>
                  <a:pt x="535" y="311"/>
                </a:cubicBezTo>
                <a:close/>
              </a:path>
            </a:pathLst>
          </a:custGeom>
          <a:solidFill>
            <a:schemeClr val="accent1"/>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19" name="Freeform 6"/>
          <p:cNvSpPr>
            <a:spLocks/>
          </p:cNvSpPr>
          <p:nvPr/>
        </p:nvSpPr>
        <p:spPr bwMode="auto">
          <a:xfrm>
            <a:off x="7245475" y="1674159"/>
            <a:ext cx="777159" cy="833389"/>
          </a:xfrm>
          <a:custGeom>
            <a:avLst/>
            <a:gdLst>
              <a:gd name="T0" fmla="*/ 130 w 261"/>
              <a:gd name="T1" fmla="*/ 0 h 261"/>
              <a:gd name="T2" fmla="*/ 16 w 261"/>
              <a:gd name="T3" fmla="*/ 68 h 261"/>
              <a:gd name="T4" fmla="*/ 0 w 261"/>
              <a:gd name="T5" fmla="*/ 131 h 261"/>
              <a:gd name="T6" fmla="*/ 130 w 261"/>
              <a:gd name="T7" fmla="*/ 261 h 261"/>
              <a:gd name="T8" fmla="*/ 191 w 261"/>
              <a:gd name="T9" fmla="*/ 246 h 261"/>
              <a:gd name="T10" fmla="*/ 261 w 261"/>
              <a:gd name="T11" fmla="*/ 131 h 261"/>
              <a:gd name="T12" fmla="*/ 130 w 261"/>
              <a:gd name="T13" fmla="*/ 0 h 261"/>
            </a:gdLst>
            <a:ahLst/>
            <a:cxnLst>
              <a:cxn ang="0">
                <a:pos x="T0" y="T1"/>
              </a:cxn>
              <a:cxn ang="0">
                <a:pos x="T2" y="T3"/>
              </a:cxn>
              <a:cxn ang="0">
                <a:pos x="T4" y="T5"/>
              </a:cxn>
              <a:cxn ang="0">
                <a:pos x="T6" y="T7"/>
              </a:cxn>
              <a:cxn ang="0">
                <a:pos x="T8" y="T9"/>
              </a:cxn>
              <a:cxn ang="0">
                <a:pos x="T10" y="T11"/>
              </a:cxn>
              <a:cxn ang="0">
                <a:pos x="T12" y="T13"/>
              </a:cxn>
            </a:cxnLst>
            <a:rect l="0" t="0" r="r" b="b"/>
            <a:pathLst>
              <a:path w="261" h="261">
                <a:moveTo>
                  <a:pt x="130" y="0"/>
                </a:moveTo>
                <a:cubicBezTo>
                  <a:pt x="81" y="0"/>
                  <a:pt x="38" y="27"/>
                  <a:pt x="16" y="68"/>
                </a:cubicBezTo>
                <a:cubicBezTo>
                  <a:pt x="6" y="86"/>
                  <a:pt x="0" y="108"/>
                  <a:pt x="0" y="131"/>
                </a:cubicBezTo>
                <a:cubicBezTo>
                  <a:pt x="0" y="203"/>
                  <a:pt x="58" y="261"/>
                  <a:pt x="130" y="261"/>
                </a:cubicBezTo>
                <a:cubicBezTo>
                  <a:pt x="152" y="261"/>
                  <a:pt x="173" y="255"/>
                  <a:pt x="191" y="246"/>
                </a:cubicBezTo>
                <a:cubicBezTo>
                  <a:pt x="232" y="224"/>
                  <a:pt x="261" y="181"/>
                  <a:pt x="261" y="131"/>
                </a:cubicBezTo>
                <a:cubicBezTo>
                  <a:pt x="261" y="59"/>
                  <a:pt x="202" y="0"/>
                  <a:pt x="130" y="0"/>
                </a:cubicBezTo>
                <a:close/>
              </a:path>
            </a:pathLst>
          </a:custGeom>
          <a:solidFill>
            <a:schemeClr val="accent1"/>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22" name="Freeform 9"/>
          <p:cNvSpPr>
            <a:spLocks/>
          </p:cNvSpPr>
          <p:nvPr/>
        </p:nvSpPr>
        <p:spPr bwMode="auto">
          <a:xfrm>
            <a:off x="4048369" y="1564867"/>
            <a:ext cx="2001181" cy="1996728"/>
          </a:xfrm>
          <a:custGeom>
            <a:avLst/>
            <a:gdLst>
              <a:gd name="T0" fmla="*/ 93 w 629"/>
              <a:gd name="T1" fmla="*/ 311 h 631"/>
              <a:gd name="T2" fmla="*/ 99 w 629"/>
              <a:gd name="T3" fmla="*/ 301 h 631"/>
              <a:gd name="T4" fmla="*/ 166 w 629"/>
              <a:gd name="T5" fmla="*/ 317 h 631"/>
              <a:gd name="T6" fmla="*/ 308 w 629"/>
              <a:gd name="T7" fmla="*/ 176 h 631"/>
              <a:gd name="T8" fmla="*/ 290 w 629"/>
              <a:gd name="T9" fmla="*/ 107 h 631"/>
              <a:gd name="T10" fmla="*/ 629 w 629"/>
              <a:gd name="T11" fmla="*/ 0 h 631"/>
              <a:gd name="T12" fmla="*/ 629 w 629"/>
              <a:gd name="T13" fmla="*/ 95 h 631"/>
              <a:gd name="T14" fmla="*/ 380 w 629"/>
              <a:gd name="T15" fmla="*/ 164 h 631"/>
              <a:gd name="T16" fmla="*/ 420 w 629"/>
              <a:gd name="T17" fmla="*/ 221 h 631"/>
              <a:gd name="T18" fmla="*/ 219 w 629"/>
              <a:gd name="T19" fmla="*/ 425 h 631"/>
              <a:gd name="T20" fmla="*/ 162 w 629"/>
              <a:gd name="T21" fmla="*/ 387 h 631"/>
              <a:gd name="T22" fmla="*/ 97 w 629"/>
              <a:gd name="T23" fmla="*/ 631 h 631"/>
              <a:gd name="T24" fmla="*/ 0 w 629"/>
              <a:gd name="T25" fmla="*/ 631 h 631"/>
              <a:gd name="T26" fmla="*/ 93 w 629"/>
              <a:gd name="T27" fmla="*/ 31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9" h="631">
                <a:moveTo>
                  <a:pt x="93" y="311"/>
                </a:moveTo>
                <a:cubicBezTo>
                  <a:pt x="95" y="307"/>
                  <a:pt x="97" y="304"/>
                  <a:pt x="99" y="301"/>
                </a:cubicBezTo>
                <a:cubicBezTo>
                  <a:pt x="119" y="311"/>
                  <a:pt x="142" y="317"/>
                  <a:pt x="166" y="317"/>
                </a:cubicBezTo>
                <a:cubicBezTo>
                  <a:pt x="245" y="317"/>
                  <a:pt x="308" y="254"/>
                  <a:pt x="308" y="176"/>
                </a:cubicBezTo>
                <a:cubicBezTo>
                  <a:pt x="308" y="150"/>
                  <a:pt x="301" y="127"/>
                  <a:pt x="290" y="107"/>
                </a:cubicBezTo>
                <a:cubicBezTo>
                  <a:pt x="388" y="42"/>
                  <a:pt x="504" y="3"/>
                  <a:pt x="629" y="0"/>
                </a:cubicBezTo>
                <a:cubicBezTo>
                  <a:pt x="629" y="95"/>
                  <a:pt x="629" y="95"/>
                  <a:pt x="629" y="95"/>
                </a:cubicBezTo>
                <a:cubicBezTo>
                  <a:pt x="539" y="98"/>
                  <a:pt x="454" y="123"/>
                  <a:pt x="380" y="164"/>
                </a:cubicBezTo>
                <a:cubicBezTo>
                  <a:pt x="420" y="221"/>
                  <a:pt x="420" y="221"/>
                  <a:pt x="420" y="221"/>
                </a:cubicBezTo>
                <a:cubicBezTo>
                  <a:pt x="334" y="267"/>
                  <a:pt x="264" y="338"/>
                  <a:pt x="219" y="425"/>
                </a:cubicBezTo>
                <a:cubicBezTo>
                  <a:pt x="162" y="387"/>
                  <a:pt x="162" y="387"/>
                  <a:pt x="162" y="387"/>
                </a:cubicBezTo>
                <a:cubicBezTo>
                  <a:pt x="122" y="460"/>
                  <a:pt x="99" y="543"/>
                  <a:pt x="97" y="631"/>
                </a:cubicBezTo>
                <a:cubicBezTo>
                  <a:pt x="0" y="631"/>
                  <a:pt x="0" y="631"/>
                  <a:pt x="0" y="631"/>
                </a:cubicBezTo>
                <a:cubicBezTo>
                  <a:pt x="2" y="514"/>
                  <a:pt x="36" y="405"/>
                  <a:pt x="93" y="311"/>
                </a:cubicBezTo>
                <a:close/>
              </a:path>
            </a:pathLst>
          </a:custGeom>
          <a:solidFill>
            <a:srgbClr val="FFE600"/>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23" name="Freeform 10"/>
          <p:cNvSpPr>
            <a:spLocks/>
          </p:cNvSpPr>
          <p:nvPr/>
        </p:nvSpPr>
        <p:spPr bwMode="auto">
          <a:xfrm>
            <a:off x="4146195" y="1685991"/>
            <a:ext cx="830026" cy="825585"/>
          </a:xfrm>
          <a:custGeom>
            <a:avLst/>
            <a:gdLst>
              <a:gd name="T0" fmla="*/ 130 w 261"/>
              <a:gd name="T1" fmla="*/ 0 h 261"/>
              <a:gd name="T2" fmla="*/ 245 w 261"/>
              <a:gd name="T3" fmla="*/ 68 h 261"/>
              <a:gd name="T4" fmla="*/ 261 w 261"/>
              <a:gd name="T5" fmla="*/ 131 h 261"/>
              <a:gd name="T6" fmla="*/ 130 w 261"/>
              <a:gd name="T7" fmla="*/ 261 h 261"/>
              <a:gd name="T8" fmla="*/ 70 w 261"/>
              <a:gd name="T9" fmla="*/ 246 h 261"/>
              <a:gd name="T10" fmla="*/ 0 w 261"/>
              <a:gd name="T11" fmla="*/ 131 h 261"/>
              <a:gd name="T12" fmla="*/ 130 w 261"/>
              <a:gd name="T13" fmla="*/ 0 h 261"/>
            </a:gdLst>
            <a:ahLst/>
            <a:cxnLst>
              <a:cxn ang="0">
                <a:pos x="T0" y="T1"/>
              </a:cxn>
              <a:cxn ang="0">
                <a:pos x="T2" y="T3"/>
              </a:cxn>
              <a:cxn ang="0">
                <a:pos x="T4" y="T5"/>
              </a:cxn>
              <a:cxn ang="0">
                <a:pos x="T6" y="T7"/>
              </a:cxn>
              <a:cxn ang="0">
                <a:pos x="T8" y="T9"/>
              </a:cxn>
              <a:cxn ang="0">
                <a:pos x="T10" y="T11"/>
              </a:cxn>
              <a:cxn ang="0">
                <a:pos x="T12" y="T13"/>
              </a:cxn>
            </a:cxnLst>
            <a:rect l="0" t="0" r="r" b="b"/>
            <a:pathLst>
              <a:path w="261" h="261">
                <a:moveTo>
                  <a:pt x="130" y="0"/>
                </a:moveTo>
                <a:cubicBezTo>
                  <a:pt x="180" y="0"/>
                  <a:pt x="222" y="27"/>
                  <a:pt x="245" y="68"/>
                </a:cubicBezTo>
                <a:cubicBezTo>
                  <a:pt x="255" y="86"/>
                  <a:pt x="261" y="108"/>
                  <a:pt x="261" y="131"/>
                </a:cubicBezTo>
                <a:cubicBezTo>
                  <a:pt x="261" y="203"/>
                  <a:pt x="202" y="261"/>
                  <a:pt x="130" y="261"/>
                </a:cubicBezTo>
                <a:cubicBezTo>
                  <a:pt x="108" y="261"/>
                  <a:pt x="88" y="255"/>
                  <a:pt x="70" y="246"/>
                </a:cubicBezTo>
                <a:cubicBezTo>
                  <a:pt x="28" y="224"/>
                  <a:pt x="0" y="181"/>
                  <a:pt x="0" y="131"/>
                </a:cubicBezTo>
                <a:cubicBezTo>
                  <a:pt x="0" y="59"/>
                  <a:pt x="58" y="0"/>
                  <a:pt x="130" y="0"/>
                </a:cubicBezTo>
                <a:close/>
              </a:path>
            </a:pathLst>
          </a:custGeom>
          <a:solidFill>
            <a:srgbClr val="FFE600"/>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26" name="Freeform 13"/>
          <p:cNvSpPr>
            <a:spLocks/>
          </p:cNvSpPr>
          <p:nvPr/>
        </p:nvSpPr>
        <p:spPr bwMode="auto">
          <a:xfrm>
            <a:off x="6159590" y="3664795"/>
            <a:ext cx="2001180" cy="1996728"/>
          </a:xfrm>
          <a:custGeom>
            <a:avLst/>
            <a:gdLst>
              <a:gd name="T0" fmla="*/ 535 w 629"/>
              <a:gd name="T1" fmla="*/ 321 h 631"/>
              <a:gd name="T2" fmla="*/ 529 w 629"/>
              <a:gd name="T3" fmla="*/ 331 h 631"/>
              <a:gd name="T4" fmla="*/ 462 w 629"/>
              <a:gd name="T5" fmla="*/ 314 h 631"/>
              <a:gd name="T6" fmla="*/ 320 w 629"/>
              <a:gd name="T7" fmla="*/ 456 h 631"/>
              <a:gd name="T8" fmla="*/ 338 w 629"/>
              <a:gd name="T9" fmla="*/ 525 h 631"/>
              <a:gd name="T10" fmla="*/ 0 w 629"/>
              <a:gd name="T11" fmla="*/ 631 h 631"/>
              <a:gd name="T12" fmla="*/ 0 w 629"/>
              <a:gd name="T13" fmla="*/ 536 h 631"/>
              <a:gd name="T14" fmla="*/ 248 w 629"/>
              <a:gd name="T15" fmla="*/ 467 h 631"/>
              <a:gd name="T16" fmla="*/ 209 w 629"/>
              <a:gd name="T17" fmla="*/ 410 h 631"/>
              <a:gd name="T18" fmla="*/ 409 w 629"/>
              <a:gd name="T19" fmla="*/ 207 h 631"/>
              <a:gd name="T20" fmla="*/ 467 w 629"/>
              <a:gd name="T21" fmla="*/ 244 h 631"/>
              <a:gd name="T22" fmla="*/ 531 w 629"/>
              <a:gd name="T23" fmla="*/ 0 h 631"/>
              <a:gd name="T24" fmla="*/ 629 w 629"/>
              <a:gd name="T25" fmla="*/ 0 h 631"/>
              <a:gd name="T26" fmla="*/ 535 w 629"/>
              <a:gd name="T27" fmla="*/ 32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9" h="631">
                <a:moveTo>
                  <a:pt x="535" y="321"/>
                </a:moveTo>
                <a:cubicBezTo>
                  <a:pt x="533" y="324"/>
                  <a:pt x="531" y="327"/>
                  <a:pt x="529" y="331"/>
                </a:cubicBezTo>
                <a:cubicBezTo>
                  <a:pt x="509" y="320"/>
                  <a:pt x="486" y="314"/>
                  <a:pt x="462" y="314"/>
                </a:cubicBezTo>
                <a:cubicBezTo>
                  <a:pt x="384" y="314"/>
                  <a:pt x="320" y="377"/>
                  <a:pt x="320" y="456"/>
                </a:cubicBezTo>
                <a:cubicBezTo>
                  <a:pt x="320" y="481"/>
                  <a:pt x="327" y="504"/>
                  <a:pt x="338" y="525"/>
                </a:cubicBezTo>
                <a:cubicBezTo>
                  <a:pt x="241" y="589"/>
                  <a:pt x="125" y="628"/>
                  <a:pt x="0" y="631"/>
                </a:cubicBezTo>
                <a:cubicBezTo>
                  <a:pt x="0" y="536"/>
                  <a:pt x="0" y="536"/>
                  <a:pt x="0" y="536"/>
                </a:cubicBezTo>
                <a:cubicBezTo>
                  <a:pt x="90" y="533"/>
                  <a:pt x="174" y="508"/>
                  <a:pt x="248" y="467"/>
                </a:cubicBezTo>
                <a:cubicBezTo>
                  <a:pt x="209" y="410"/>
                  <a:pt x="209" y="410"/>
                  <a:pt x="209" y="410"/>
                </a:cubicBezTo>
                <a:cubicBezTo>
                  <a:pt x="294" y="364"/>
                  <a:pt x="364" y="293"/>
                  <a:pt x="409" y="207"/>
                </a:cubicBezTo>
                <a:cubicBezTo>
                  <a:pt x="467" y="244"/>
                  <a:pt x="467" y="244"/>
                  <a:pt x="467" y="244"/>
                </a:cubicBezTo>
                <a:cubicBezTo>
                  <a:pt x="506" y="171"/>
                  <a:pt x="529" y="88"/>
                  <a:pt x="531" y="0"/>
                </a:cubicBezTo>
                <a:cubicBezTo>
                  <a:pt x="629" y="0"/>
                  <a:pt x="629" y="0"/>
                  <a:pt x="629" y="0"/>
                </a:cubicBezTo>
                <a:cubicBezTo>
                  <a:pt x="626" y="117"/>
                  <a:pt x="592" y="227"/>
                  <a:pt x="535" y="321"/>
                </a:cubicBezTo>
                <a:close/>
              </a:path>
            </a:pathLst>
          </a:custGeom>
          <a:solidFill>
            <a:schemeClr val="accent6"/>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27" name="Freeform 14"/>
          <p:cNvSpPr>
            <a:spLocks/>
          </p:cNvSpPr>
          <p:nvPr/>
        </p:nvSpPr>
        <p:spPr bwMode="auto">
          <a:xfrm>
            <a:off x="7258320" y="4719049"/>
            <a:ext cx="777159" cy="825585"/>
          </a:xfrm>
          <a:custGeom>
            <a:avLst/>
            <a:gdLst>
              <a:gd name="T0" fmla="*/ 130 w 261"/>
              <a:gd name="T1" fmla="*/ 261 h 261"/>
              <a:gd name="T2" fmla="*/ 16 w 261"/>
              <a:gd name="T3" fmla="*/ 193 h 261"/>
              <a:gd name="T4" fmla="*/ 0 w 261"/>
              <a:gd name="T5" fmla="*/ 131 h 261"/>
              <a:gd name="T6" fmla="*/ 130 w 261"/>
              <a:gd name="T7" fmla="*/ 0 h 261"/>
              <a:gd name="T8" fmla="*/ 191 w 261"/>
              <a:gd name="T9" fmla="*/ 15 h 261"/>
              <a:gd name="T10" fmla="*/ 261 w 261"/>
              <a:gd name="T11" fmla="*/ 131 h 261"/>
              <a:gd name="T12" fmla="*/ 130 w 261"/>
              <a:gd name="T13" fmla="*/ 261 h 261"/>
            </a:gdLst>
            <a:ahLst/>
            <a:cxnLst>
              <a:cxn ang="0">
                <a:pos x="T0" y="T1"/>
              </a:cxn>
              <a:cxn ang="0">
                <a:pos x="T2" y="T3"/>
              </a:cxn>
              <a:cxn ang="0">
                <a:pos x="T4" y="T5"/>
              </a:cxn>
              <a:cxn ang="0">
                <a:pos x="T6" y="T7"/>
              </a:cxn>
              <a:cxn ang="0">
                <a:pos x="T8" y="T9"/>
              </a:cxn>
              <a:cxn ang="0">
                <a:pos x="T10" y="T11"/>
              </a:cxn>
              <a:cxn ang="0">
                <a:pos x="T12" y="T13"/>
              </a:cxn>
            </a:cxnLst>
            <a:rect l="0" t="0" r="r" b="b"/>
            <a:pathLst>
              <a:path w="261" h="261">
                <a:moveTo>
                  <a:pt x="130" y="261"/>
                </a:moveTo>
                <a:cubicBezTo>
                  <a:pt x="81" y="261"/>
                  <a:pt x="38" y="234"/>
                  <a:pt x="16" y="193"/>
                </a:cubicBezTo>
                <a:cubicBezTo>
                  <a:pt x="6" y="175"/>
                  <a:pt x="0" y="153"/>
                  <a:pt x="0" y="131"/>
                </a:cubicBezTo>
                <a:cubicBezTo>
                  <a:pt x="0" y="59"/>
                  <a:pt x="58" y="0"/>
                  <a:pt x="130" y="0"/>
                </a:cubicBezTo>
                <a:cubicBezTo>
                  <a:pt x="152" y="0"/>
                  <a:pt x="173" y="6"/>
                  <a:pt x="191" y="15"/>
                </a:cubicBezTo>
                <a:cubicBezTo>
                  <a:pt x="232" y="37"/>
                  <a:pt x="261" y="81"/>
                  <a:pt x="261" y="131"/>
                </a:cubicBezTo>
                <a:cubicBezTo>
                  <a:pt x="261" y="203"/>
                  <a:pt x="202" y="261"/>
                  <a:pt x="130" y="261"/>
                </a:cubicBezTo>
                <a:close/>
              </a:path>
            </a:pathLst>
          </a:custGeom>
          <a:solidFill>
            <a:srgbClr val="FFF27F"/>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30" name="Freeform 17"/>
          <p:cNvSpPr>
            <a:spLocks/>
          </p:cNvSpPr>
          <p:nvPr/>
        </p:nvSpPr>
        <p:spPr bwMode="auto">
          <a:xfrm>
            <a:off x="4048368" y="3664795"/>
            <a:ext cx="2001181" cy="1996728"/>
          </a:xfrm>
          <a:custGeom>
            <a:avLst/>
            <a:gdLst>
              <a:gd name="T0" fmla="*/ 93 w 629"/>
              <a:gd name="T1" fmla="*/ 321 h 631"/>
              <a:gd name="T2" fmla="*/ 99 w 629"/>
              <a:gd name="T3" fmla="*/ 331 h 631"/>
              <a:gd name="T4" fmla="*/ 166 w 629"/>
              <a:gd name="T5" fmla="*/ 314 h 631"/>
              <a:gd name="T6" fmla="*/ 308 w 629"/>
              <a:gd name="T7" fmla="*/ 456 h 631"/>
              <a:gd name="T8" fmla="*/ 290 w 629"/>
              <a:gd name="T9" fmla="*/ 525 h 631"/>
              <a:gd name="T10" fmla="*/ 629 w 629"/>
              <a:gd name="T11" fmla="*/ 631 h 631"/>
              <a:gd name="T12" fmla="*/ 629 w 629"/>
              <a:gd name="T13" fmla="*/ 536 h 631"/>
              <a:gd name="T14" fmla="*/ 380 w 629"/>
              <a:gd name="T15" fmla="*/ 467 h 631"/>
              <a:gd name="T16" fmla="*/ 420 w 629"/>
              <a:gd name="T17" fmla="*/ 410 h 631"/>
              <a:gd name="T18" fmla="*/ 219 w 629"/>
              <a:gd name="T19" fmla="*/ 207 h 631"/>
              <a:gd name="T20" fmla="*/ 162 w 629"/>
              <a:gd name="T21" fmla="*/ 244 h 631"/>
              <a:gd name="T22" fmla="*/ 97 w 629"/>
              <a:gd name="T23" fmla="*/ 0 h 631"/>
              <a:gd name="T24" fmla="*/ 0 w 629"/>
              <a:gd name="T25" fmla="*/ 0 h 631"/>
              <a:gd name="T26" fmla="*/ 93 w 629"/>
              <a:gd name="T27" fmla="*/ 321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9" h="631">
                <a:moveTo>
                  <a:pt x="93" y="321"/>
                </a:moveTo>
                <a:cubicBezTo>
                  <a:pt x="95" y="324"/>
                  <a:pt x="97" y="327"/>
                  <a:pt x="99" y="331"/>
                </a:cubicBezTo>
                <a:cubicBezTo>
                  <a:pt x="119" y="320"/>
                  <a:pt x="142" y="314"/>
                  <a:pt x="166" y="314"/>
                </a:cubicBezTo>
                <a:cubicBezTo>
                  <a:pt x="245" y="314"/>
                  <a:pt x="308" y="377"/>
                  <a:pt x="308" y="456"/>
                </a:cubicBezTo>
                <a:cubicBezTo>
                  <a:pt x="308" y="481"/>
                  <a:pt x="301" y="504"/>
                  <a:pt x="290" y="525"/>
                </a:cubicBezTo>
                <a:cubicBezTo>
                  <a:pt x="388" y="589"/>
                  <a:pt x="504" y="628"/>
                  <a:pt x="629" y="631"/>
                </a:cubicBezTo>
                <a:cubicBezTo>
                  <a:pt x="629" y="536"/>
                  <a:pt x="629" y="536"/>
                  <a:pt x="629" y="536"/>
                </a:cubicBezTo>
                <a:cubicBezTo>
                  <a:pt x="539" y="533"/>
                  <a:pt x="454" y="508"/>
                  <a:pt x="380" y="467"/>
                </a:cubicBezTo>
                <a:cubicBezTo>
                  <a:pt x="420" y="410"/>
                  <a:pt x="420" y="410"/>
                  <a:pt x="420" y="410"/>
                </a:cubicBezTo>
                <a:cubicBezTo>
                  <a:pt x="334" y="364"/>
                  <a:pt x="264" y="293"/>
                  <a:pt x="219" y="207"/>
                </a:cubicBezTo>
                <a:cubicBezTo>
                  <a:pt x="162" y="244"/>
                  <a:pt x="162" y="244"/>
                  <a:pt x="162" y="244"/>
                </a:cubicBezTo>
                <a:cubicBezTo>
                  <a:pt x="122" y="171"/>
                  <a:pt x="99" y="88"/>
                  <a:pt x="97" y="0"/>
                </a:cubicBezTo>
                <a:cubicBezTo>
                  <a:pt x="0" y="0"/>
                  <a:pt x="0" y="0"/>
                  <a:pt x="0" y="0"/>
                </a:cubicBezTo>
                <a:cubicBezTo>
                  <a:pt x="2" y="117"/>
                  <a:pt x="36" y="227"/>
                  <a:pt x="93" y="321"/>
                </a:cubicBezTo>
                <a:close/>
              </a:path>
            </a:pathLst>
          </a:custGeom>
          <a:solidFill>
            <a:schemeClr val="accent3"/>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31" name="Freeform 18"/>
          <p:cNvSpPr>
            <a:spLocks/>
          </p:cNvSpPr>
          <p:nvPr/>
        </p:nvSpPr>
        <p:spPr bwMode="auto">
          <a:xfrm>
            <a:off x="4129260" y="4719050"/>
            <a:ext cx="830026" cy="825585"/>
          </a:xfrm>
          <a:custGeom>
            <a:avLst/>
            <a:gdLst>
              <a:gd name="T0" fmla="*/ 130 w 261"/>
              <a:gd name="T1" fmla="*/ 261 h 261"/>
              <a:gd name="T2" fmla="*/ 245 w 261"/>
              <a:gd name="T3" fmla="*/ 193 h 261"/>
              <a:gd name="T4" fmla="*/ 261 w 261"/>
              <a:gd name="T5" fmla="*/ 131 h 261"/>
              <a:gd name="T6" fmla="*/ 130 w 261"/>
              <a:gd name="T7" fmla="*/ 0 h 261"/>
              <a:gd name="T8" fmla="*/ 70 w 261"/>
              <a:gd name="T9" fmla="*/ 15 h 261"/>
              <a:gd name="T10" fmla="*/ 0 w 261"/>
              <a:gd name="T11" fmla="*/ 131 h 261"/>
              <a:gd name="T12" fmla="*/ 130 w 261"/>
              <a:gd name="T13" fmla="*/ 261 h 261"/>
            </a:gdLst>
            <a:ahLst/>
            <a:cxnLst>
              <a:cxn ang="0">
                <a:pos x="T0" y="T1"/>
              </a:cxn>
              <a:cxn ang="0">
                <a:pos x="T2" y="T3"/>
              </a:cxn>
              <a:cxn ang="0">
                <a:pos x="T4" y="T5"/>
              </a:cxn>
              <a:cxn ang="0">
                <a:pos x="T6" y="T7"/>
              </a:cxn>
              <a:cxn ang="0">
                <a:pos x="T8" y="T9"/>
              </a:cxn>
              <a:cxn ang="0">
                <a:pos x="T10" y="T11"/>
              </a:cxn>
              <a:cxn ang="0">
                <a:pos x="T12" y="T13"/>
              </a:cxn>
            </a:cxnLst>
            <a:rect l="0" t="0" r="r" b="b"/>
            <a:pathLst>
              <a:path w="261" h="261">
                <a:moveTo>
                  <a:pt x="130" y="261"/>
                </a:moveTo>
                <a:cubicBezTo>
                  <a:pt x="180" y="261"/>
                  <a:pt x="222" y="234"/>
                  <a:pt x="245" y="193"/>
                </a:cubicBezTo>
                <a:cubicBezTo>
                  <a:pt x="255" y="175"/>
                  <a:pt x="261" y="153"/>
                  <a:pt x="261" y="131"/>
                </a:cubicBezTo>
                <a:cubicBezTo>
                  <a:pt x="261" y="59"/>
                  <a:pt x="202" y="0"/>
                  <a:pt x="130" y="0"/>
                </a:cubicBezTo>
                <a:cubicBezTo>
                  <a:pt x="108" y="0"/>
                  <a:pt x="88" y="6"/>
                  <a:pt x="70" y="15"/>
                </a:cubicBezTo>
                <a:cubicBezTo>
                  <a:pt x="28" y="37"/>
                  <a:pt x="0" y="81"/>
                  <a:pt x="0" y="131"/>
                </a:cubicBezTo>
                <a:cubicBezTo>
                  <a:pt x="0" y="203"/>
                  <a:pt x="58" y="261"/>
                  <a:pt x="130" y="261"/>
                </a:cubicBezTo>
                <a:close/>
              </a:path>
            </a:pathLst>
          </a:custGeom>
          <a:solidFill>
            <a:schemeClr val="accent3"/>
          </a:solidFill>
          <a:ln>
            <a:noFill/>
          </a:ln>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34" name="TextBox 33"/>
          <p:cNvSpPr txBox="1"/>
          <p:nvPr/>
        </p:nvSpPr>
        <p:spPr>
          <a:xfrm>
            <a:off x="5143266" y="2468463"/>
            <a:ext cx="1961736" cy="1405354"/>
          </a:xfrm>
          <a:prstGeom prst="rect">
            <a:avLst/>
          </a:prstGeom>
          <a:noFill/>
        </p:spPr>
        <p:txBody>
          <a:bodyPr spcFirstLastPara="1" wrap="none" lIns="0" tIns="27404" rIns="0" bIns="0" numCol="1" rtlCol="0">
            <a:prstTxWarp prst="textArchUp">
              <a:avLst/>
            </a:prstTxWarp>
            <a:spAutoFit/>
          </a:bodyPr>
          <a:lstStyle/>
          <a:p>
            <a:pPr algn="ctr">
              <a:lnSpc>
                <a:spcPct val="85000"/>
              </a:lnSpc>
              <a:spcAft>
                <a:spcPts val="450"/>
              </a:spcAft>
              <a:buClr>
                <a:schemeClr val="accent2"/>
              </a:buClr>
              <a:buSzPct val="70000"/>
            </a:pPr>
            <a:r>
              <a:rPr lang="en-US" sz="1600" b="1" dirty="0" smtClean="0">
                <a:solidFill>
                  <a:srgbClr val="FFE600"/>
                </a:solidFill>
                <a:latin typeface="+mj-lt"/>
                <a:cs typeface="Arial" pitchFamily="34" charset="0"/>
              </a:rPr>
              <a:t>Advance the </a:t>
            </a:r>
            <a:r>
              <a:rPr lang="en-US" sz="1600" b="1" dirty="0">
                <a:solidFill>
                  <a:srgbClr val="FFE600"/>
                </a:solidFill>
                <a:latin typeface="+mj-lt"/>
                <a:cs typeface="Arial" pitchFamily="34" charset="0"/>
              </a:rPr>
              <a:t>enterprise</a:t>
            </a:r>
          </a:p>
        </p:txBody>
      </p:sp>
      <p:sp>
        <p:nvSpPr>
          <p:cNvPr id="35" name="TextBox 34"/>
          <p:cNvSpPr txBox="1"/>
          <p:nvPr/>
        </p:nvSpPr>
        <p:spPr>
          <a:xfrm>
            <a:off x="5267925" y="3992046"/>
            <a:ext cx="1689187" cy="829165"/>
          </a:xfrm>
          <a:prstGeom prst="rect">
            <a:avLst/>
          </a:prstGeom>
          <a:noFill/>
        </p:spPr>
        <p:txBody>
          <a:bodyPr spcFirstLastPara="1" wrap="none" lIns="0" tIns="27404" rIns="0" bIns="0" numCol="1" rtlCol="0">
            <a:prstTxWarp prst="textArchDown">
              <a:avLst>
                <a:gd name="adj" fmla="val 391253"/>
              </a:avLst>
            </a:prstTxWarp>
            <a:spAutoFit/>
          </a:bodyPr>
          <a:lstStyle/>
          <a:p>
            <a:pPr algn="ctr">
              <a:buClr>
                <a:schemeClr val="accent2"/>
              </a:buClr>
              <a:buSzPct val="70000"/>
            </a:pPr>
            <a:r>
              <a:rPr lang="en-US" sz="1600" spc="75" dirty="0">
                <a:solidFill>
                  <a:srgbClr val="FFE600"/>
                </a:solidFill>
                <a:latin typeface="+mj-lt"/>
                <a:cs typeface="Arial" pitchFamily="34" charset="0"/>
              </a:rPr>
              <a:t> </a:t>
            </a:r>
            <a:r>
              <a:rPr lang="en-US" sz="1600" b="1" spc="75" dirty="0">
                <a:solidFill>
                  <a:srgbClr val="FFE600"/>
                </a:solidFill>
                <a:latin typeface="+mj-lt"/>
                <a:cs typeface="Arial" pitchFamily="34" charset="0"/>
              </a:rPr>
              <a:t>One view of risk</a:t>
            </a:r>
          </a:p>
        </p:txBody>
      </p:sp>
      <p:sp>
        <p:nvSpPr>
          <p:cNvPr id="36" name="Freeform 78"/>
          <p:cNvSpPr>
            <a:spLocks noChangeAspect="1" noEditPoints="1"/>
          </p:cNvSpPr>
          <p:nvPr/>
        </p:nvSpPr>
        <p:spPr bwMode="auto">
          <a:xfrm rot="19191609">
            <a:off x="4307342" y="1864241"/>
            <a:ext cx="522853" cy="516797"/>
          </a:xfrm>
          <a:custGeom>
            <a:avLst/>
            <a:gdLst>
              <a:gd name="T0" fmla="*/ 2147483647 w 4790"/>
              <a:gd name="T1" fmla="*/ 2147483647 h 4763"/>
              <a:gd name="T2" fmla="*/ 2147483647 w 4790"/>
              <a:gd name="T3" fmla="*/ 2147483647 h 4763"/>
              <a:gd name="T4" fmla="*/ 2147483647 w 4790"/>
              <a:gd name="T5" fmla="*/ 2147483647 h 4763"/>
              <a:gd name="T6" fmla="*/ 2147483647 w 4790"/>
              <a:gd name="T7" fmla="*/ 2147483647 h 4763"/>
              <a:gd name="T8" fmla="*/ 2147483647 w 4790"/>
              <a:gd name="T9" fmla="*/ 2147483647 h 4763"/>
              <a:gd name="T10" fmla="*/ 2147483647 w 4790"/>
              <a:gd name="T11" fmla="*/ 2147483647 h 4763"/>
              <a:gd name="T12" fmla="*/ 2147483647 w 4790"/>
              <a:gd name="T13" fmla="*/ 2147483647 h 4763"/>
              <a:gd name="T14" fmla="*/ 2147483647 w 4790"/>
              <a:gd name="T15" fmla="*/ 2147483647 h 4763"/>
              <a:gd name="T16" fmla="*/ 2147483647 w 4790"/>
              <a:gd name="T17" fmla="*/ 2147483647 h 4763"/>
              <a:gd name="T18" fmla="*/ 2147483647 w 4790"/>
              <a:gd name="T19" fmla="*/ 2147483647 h 4763"/>
              <a:gd name="T20" fmla="*/ 2147483647 w 4790"/>
              <a:gd name="T21" fmla="*/ 2147483647 h 4763"/>
              <a:gd name="T22" fmla="*/ 2147483647 w 4790"/>
              <a:gd name="T23" fmla="*/ 2147483647 h 4763"/>
              <a:gd name="T24" fmla="*/ 2147483647 w 4790"/>
              <a:gd name="T25" fmla="*/ 2147483647 h 4763"/>
              <a:gd name="T26" fmla="*/ 2147483647 w 4790"/>
              <a:gd name="T27" fmla="*/ 2147483647 h 4763"/>
              <a:gd name="T28" fmla="*/ 2147483647 w 4790"/>
              <a:gd name="T29" fmla="*/ 2147483647 h 4763"/>
              <a:gd name="T30" fmla="*/ 2147483647 w 4790"/>
              <a:gd name="T31" fmla="*/ 0 h 4763"/>
              <a:gd name="T32" fmla="*/ 2147483647 w 4790"/>
              <a:gd name="T33" fmla="*/ 2147483647 h 4763"/>
              <a:gd name="T34" fmla="*/ 2147483647 w 4790"/>
              <a:gd name="T35" fmla="*/ 2147483647 h 4763"/>
              <a:gd name="T36" fmla="*/ 2147483647 w 4790"/>
              <a:gd name="T37" fmla="*/ 2147483647 h 4763"/>
              <a:gd name="T38" fmla="*/ 2147483647 w 4790"/>
              <a:gd name="T39" fmla="*/ 2147483647 h 4763"/>
              <a:gd name="T40" fmla="*/ 2147483647 w 4790"/>
              <a:gd name="T41" fmla="*/ 2147483647 h 4763"/>
              <a:gd name="T42" fmla="*/ 2147483647 w 4790"/>
              <a:gd name="T43" fmla="*/ 2147483647 h 4763"/>
              <a:gd name="T44" fmla="*/ 2147483647 w 4790"/>
              <a:gd name="T45" fmla="*/ 2147483647 h 4763"/>
              <a:gd name="T46" fmla="*/ 2147483647 w 4790"/>
              <a:gd name="T47" fmla="*/ 2147483647 h 4763"/>
              <a:gd name="T48" fmla="*/ 2147483647 w 4790"/>
              <a:gd name="T49" fmla="*/ 2147483647 h 4763"/>
              <a:gd name="T50" fmla="*/ 2147483647 w 4790"/>
              <a:gd name="T51" fmla="*/ 2147483647 h 4763"/>
              <a:gd name="T52" fmla="*/ 2147483647 w 4790"/>
              <a:gd name="T53" fmla="*/ 2147483647 h 4763"/>
              <a:gd name="T54" fmla="*/ 2147483647 w 4790"/>
              <a:gd name="T55" fmla="*/ 2147483647 h 4763"/>
              <a:gd name="T56" fmla="*/ 2147483647 w 4790"/>
              <a:gd name="T57" fmla="*/ 2147483647 h 4763"/>
              <a:gd name="T58" fmla="*/ 2147483647 w 4790"/>
              <a:gd name="T59" fmla="*/ 2147483647 h 4763"/>
              <a:gd name="T60" fmla="*/ 2147483647 w 4790"/>
              <a:gd name="T61" fmla="*/ 2147483647 h 4763"/>
              <a:gd name="T62" fmla="*/ 2147483647 w 4790"/>
              <a:gd name="T63" fmla="*/ 2147483647 h 4763"/>
              <a:gd name="T64" fmla="*/ 2147483647 w 4790"/>
              <a:gd name="T65" fmla="*/ 2147483647 h 4763"/>
              <a:gd name="T66" fmla="*/ 2147483647 w 4790"/>
              <a:gd name="T67" fmla="*/ 2147483647 h 4763"/>
              <a:gd name="T68" fmla="*/ 2147483647 w 4790"/>
              <a:gd name="T69" fmla="*/ 2147483647 h 4763"/>
              <a:gd name="T70" fmla="*/ 2147483647 w 4790"/>
              <a:gd name="T71" fmla="*/ 2147483647 h 4763"/>
              <a:gd name="T72" fmla="*/ 2147483647 w 4790"/>
              <a:gd name="T73" fmla="*/ 2147483647 h 4763"/>
              <a:gd name="T74" fmla="*/ 2147483647 w 4790"/>
              <a:gd name="T75" fmla="*/ 2147483647 h 4763"/>
              <a:gd name="T76" fmla="*/ 2147483647 w 4790"/>
              <a:gd name="T77" fmla="*/ 2147483647 h 4763"/>
              <a:gd name="T78" fmla="*/ 2147483647 w 4790"/>
              <a:gd name="T79" fmla="*/ 2147483647 h 4763"/>
              <a:gd name="T80" fmla="*/ 2147483647 w 4790"/>
              <a:gd name="T81" fmla="*/ 2147483647 h 4763"/>
              <a:gd name="T82" fmla="*/ 2147483647 w 4790"/>
              <a:gd name="T83" fmla="*/ 2147483647 h 4763"/>
              <a:gd name="T84" fmla="*/ 2147483647 w 4790"/>
              <a:gd name="T85" fmla="*/ 2147483647 h 4763"/>
              <a:gd name="T86" fmla="*/ 2147483647 w 4790"/>
              <a:gd name="T87" fmla="*/ 2147483647 h 4763"/>
              <a:gd name="T88" fmla="*/ 2147483647 w 4790"/>
              <a:gd name="T89" fmla="*/ 2147483647 h 4763"/>
              <a:gd name="T90" fmla="*/ 2147483647 w 4790"/>
              <a:gd name="T91" fmla="*/ 2147483647 h 4763"/>
              <a:gd name="T92" fmla="*/ 2147483647 w 4790"/>
              <a:gd name="T93" fmla="*/ 2147483647 h 4763"/>
              <a:gd name="T94" fmla="*/ 2147483647 w 4790"/>
              <a:gd name="T95" fmla="*/ 2147483647 h 4763"/>
              <a:gd name="T96" fmla="*/ 2147483647 w 4790"/>
              <a:gd name="T97" fmla="*/ 2147483647 h 4763"/>
              <a:gd name="T98" fmla="*/ 2147483647 w 4790"/>
              <a:gd name="T99" fmla="*/ 2147483647 h 4763"/>
              <a:gd name="T100" fmla="*/ 2147483647 w 4790"/>
              <a:gd name="T101" fmla="*/ 2147483647 h 4763"/>
              <a:gd name="T102" fmla="*/ 2147483647 w 4790"/>
              <a:gd name="T103" fmla="*/ 2147483647 h 4763"/>
              <a:gd name="T104" fmla="*/ 2147483647 w 4790"/>
              <a:gd name="T105" fmla="*/ 2147483647 h 4763"/>
              <a:gd name="T106" fmla="*/ 2147483647 w 4790"/>
              <a:gd name="T107" fmla="*/ 2147483647 h 4763"/>
              <a:gd name="T108" fmla="*/ 2147483647 w 4790"/>
              <a:gd name="T109" fmla="*/ 2147483647 h 4763"/>
              <a:gd name="T110" fmla="*/ 2147483647 w 4790"/>
              <a:gd name="T111" fmla="*/ 2147483647 h 4763"/>
              <a:gd name="T112" fmla="*/ 2147483647 w 4790"/>
              <a:gd name="T113" fmla="*/ 2147483647 h 4763"/>
              <a:gd name="T114" fmla="*/ 2147483647 w 4790"/>
              <a:gd name="T115" fmla="*/ 2147483647 h 4763"/>
              <a:gd name="T116" fmla="*/ 2147483647 w 4790"/>
              <a:gd name="T117" fmla="*/ 2147483647 h 4763"/>
              <a:gd name="T118" fmla="*/ 2147483647 w 4790"/>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790"/>
              <a:gd name="T181" fmla="*/ 0 h 4763"/>
              <a:gd name="T182" fmla="*/ 4790 w 4790"/>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790" h="4763">
                <a:moveTo>
                  <a:pt x="2669" y="862"/>
                </a:moveTo>
                <a:lnTo>
                  <a:pt x="2669" y="1219"/>
                </a:lnTo>
                <a:lnTo>
                  <a:pt x="2569" y="1219"/>
                </a:lnTo>
                <a:lnTo>
                  <a:pt x="2569" y="862"/>
                </a:lnTo>
                <a:lnTo>
                  <a:pt x="2669" y="862"/>
                </a:lnTo>
                <a:close/>
                <a:moveTo>
                  <a:pt x="2441" y="862"/>
                </a:moveTo>
                <a:lnTo>
                  <a:pt x="2441" y="1219"/>
                </a:lnTo>
                <a:lnTo>
                  <a:pt x="2341" y="1219"/>
                </a:lnTo>
                <a:lnTo>
                  <a:pt x="2341" y="862"/>
                </a:lnTo>
                <a:lnTo>
                  <a:pt x="2441" y="862"/>
                </a:lnTo>
                <a:close/>
                <a:moveTo>
                  <a:pt x="2214" y="862"/>
                </a:moveTo>
                <a:lnTo>
                  <a:pt x="2214" y="1219"/>
                </a:lnTo>
                <a:lnTo>
                  <a:pt x="2115" y="1219"/>
                </a:lnTo>
                <a:lnTo>
                  <a:pt x="2115" y="862"/>
                </a:lnTo>
                <a:lnTo>
                  <a:pt x="2214" y="862"/>
                </a:lnTo>
                <a:close/>
                <a:moveTo>
                  <a:pt x="2081" y="2490"/>
                </a:moveTo>
                <a:lnTo>
                  <a:pt x="1783" y="973"/>
                </a:lnTo>
                <a:lnTo>
                  <a:pt x="2029" y="973"/>
                </a:lnTo>
                <a:lnTo>
                  <a:pt x="2029" y="1072"/>
                </a:lnTo>
                <a:lnTo>
                  <a:pt x="1904" y="1072"/>
                </a:lnTo>
                <a:lnTo>
                  <a:pt x="2178" y="2471"/>
                </a:lnTo>
                <a:lnTo>
                  <a:pt x="2081" y="2490"/>
                </a:lnTo>
                <a:close/>
                <a:moveTo>
                  <a:pt x="2345" y="3271"/>
                </a:moveTo>
                <a:lnTo>
                  <a:pt x="2345" y="2596"/>
                </a:lnTo>
                <a:lnTo>
                  <a:pt x="2445" y="2596"/>
                </a:lnTo>
                <a:lnTo>
                  <a:pt x="2445" y="3271"/>
                </a:lnTo>
                <a:lnTo>
                  <a:pt x="2345" y="3271"/>
                </a:lnTo>
                <a:close/>
                <a:moveTo>
                  <a:pt x="1627" y="3271"/>
                </a:moveTo>
                <a:lnTo>
                  <a:pt x="1627" y="2698"/>
                </a:lnTo>
                <a:lnTo>
                  <a:pt x="1588" y="2673"/>
                </a:lnTo>
                <a:lnTo>
                  <a:pt x="1551" y="2648"/>
                </a:lnTo>
                <a:lnTo>
                  <a:pt x="1513" y="2621"/>
                </a:lnTo>
                <a:lnTo>
                  <a:pt x="1478" y="2592"/>
                </a:lnTo>
                <a:lnTo>
                  <a:pt x="1443" y="2563"/>
                </a:lnTo>
                <a:lnTo>
                  <a:pt x="1409" y="2533"/>
                </a:lnTo>
                <a:lnTo>
                  <a:pt x="1376" y="2502"/>
                </a:lnTo>
                <a:lnTo>
                  <a:pt x="1344" y="2470"/>
                </a:lnTo>
                <a:lnTo>
                  <a:pt x="1313" y="2436"/>
                </a:lnTo>
                <a:lnTo>
                  <a:pt x="1283" y="2403"/>
                </a:lnTo>
                <a:lnTo>
                  <a:pt x="1254" y="2367"/>
                </a:lnTo>
                <a:lnTo>
                  <a:pt x="1227" y="2330"/>
                </a:lnTo>
                <a:lnTo>
                  <a:pt x="1199" y="2294"/>
                </a:lnTo>
                <a:lnTo>
                  <a:pt x="1174" y="2256"/>
                </a:lnTo>
                <a:lnTo>
                  <a:pt x="1150" y="2217"/>
                </a:lnTo>
                <a:lnTo>
                  <a:pt x="1126" y="2178"/>
                </a:lnTo>
                <a:lnTo>
                  <a:pt x="1105" y="2139"/>
                </a:lnTo>
                <a:lnTo>
                  <a:pt x="1084" y="2098"/>
                </a:lnTo>
                <a:lnTo>
                  <a:pt x="1064" y="2055"/>
                </a:lnTo>
                <a:lnTo>
                  <a:pt x="1046" y="2013"/>
                </a:lnTo>
                <a:lnTo>
                  <a:pt x="1029" y="1970"/>
                </a:lnTo>
                <a:lnTo>
                  <a:pt x="1014" y="1926"/>
                </a:lnTo>
                <a:lnTo>
                  <a:pt x="999" y="1882"/>
                </a:lnTo>
                <a:lnTo>
                  <a:pt x="986" y="1837"/>
                </a:lnTo>
                <a:lnTo>
                  <a:pt x="975" y="1791"/>
                </a:lnTo>
                <a:lnTo>
                  <a:pt x="965" y="1745"/>
                </a:lnTo>
                <a:lnTo>
                  <a:pt x="957" y="1699"/>
                </a:lnTo>
                <a:lnTo>
                  <a:pt x="949" y="1652"/>
                </a:lnTo>
                <a:lnTo>
                  <a:pt x="944" y="1604"/>
                </a:lnTo>
                <a:lnTo>
                  <a:pt x="940" y="1556"/>
                </a:lnTo>
                <a:lnTo>
                  <a:pt x="938" y="1507"/>
                </a:lnTo>
                <a:lnTo>
                  <a:pt x="937" y="1459"/>
                </a:lnTo>
                <a:lnTo>
                  <a:pt x="938" y="1421"/>
                </a:lnTo>
                <a:lnTo>
                  <a:pt x="939" y="1384"/>
                </a:lnTo>
                <a:lnTo>
                  <a:pt x="942" y="1346"/>
                </a:lnTo>
                <a:lnTo>
                  <a:pt x="944" y="1309"/>
                </a:lnTo>
                <a:lnTo>
                  <a:pt x="949" y="1273"/>
                </a:lnTo>
                <a:lnTo>
                  <a:pt x="954" y="1237"/>
                </a:lnTo>
                <a:lnTo>
                  <a:pt x="959" y="1201"/>
                </a:lnTo>
                <a:lnTo>
                  <a:pt x="966" y="1165"/>
                </a:lnTo>
                <a:lnTo>
                  <a:pt x="974" y="1130"/>
                </a:lnTo>
                <a:lnTo>
                  <a:pt x="983" y="1094"/>
                </a:lnTo>
                <a:lnTo>
                  <a:pt x="993" y="1060"/>
                </a:lnTo>
                <a:lnTo>
                  <a:pt x="1003" y="1025"/>
                </a:lnTo>
                <a:lnTo>
                  <a:pt x="1014" y="991"/>
                </a:lnTo>
                <a:lnTo>
                  <a:pt x="1025" y="957"/>
                </a:lnTo>
                <a:lnTo>
                  <a:pt x="1037" y="924"/>
                </a:lnTo>
                <a:lnTo>
                  <a:pt x="1051" y="891"/>
                </a:lnTo>
                <a:lnTo>
                  <a:pt x="1066" y="858"/>
                </a:lnTo>
                <a:lnTo>
                  <a:pt x="1081" y="826"/>
                </a:lnTo>
                <a:lnTo>
                  <a:pt x="1096" y="795"/>
                </a:lnTo>
                <a:lnTo>
                  <a:pt x="1113" y="764"/>
                </a:lnTo>
                <a:lnTo>
                  <a:pt x="1130" y="732"/>
                </a:lnTo>
                <a:lnTo>
                  <a:pt x="1148" y="702"/>
                </a:lnTo>
                <a:lnTo>
                  <a:pt x="1167" y="673"/>
                </a:lnTo>
                <a:lnTo>
                  <a:pt x="1186" y="643"/>
                </a:lnTo>
                <a:lnTo>
                  <a:pt x="1206" y="614"/>
                </a:lnTo>
                <a:lnTo>
                  <a:pt x="1227" y="587"/>
                </a:lnTo>
                <a:lnTo>
                  <a:pt x="1248" y="558"/>
                </a:lnTo>
                <a:lnTo>
                  <a:pt x="1270" y="531"/>
                </a:lnTo>
                <a:lnTo>
                  <a:pt x="1293" y="504"/>
                </a:lnTo>
                <a:lnTo>
                  <a:pt x="1315" y="478"/>
                </a:lnTo>
                <a:lnTo>
                  <a:pt x="1340" y="452"/>
                </a:lnTo>
                <a:lnTo>
                  <a:pt x="1364" y="427"/>
                </a:lnTo>
                <a:lnTo>
                  <a:pt x="1389" y="402"/>
                </a:lnTo>
                <a:lnTo>
                  <a:pt x="1415" y="379"/>
                </a:lnTo>
                <a:lnTo>
                  <a:pt x="1441" y="356"/>
                </a:lnTo>
                <a:lnTo>
                  <a:pt x="1467" y="334"/>
                </a:lnTo>
                <a:lnTo>
                  <a:pt x="1495" y="311"/>
                </a:lnTo>
                <a:lnTo>
                  <a:pt x="1523" y="290"/>
                </a:lnTo>
                <a:lnTo>
                  <a:pt x="1551" y="269"/>
                </a:lnTo>
                <a:lnTo>
                  <a:pt x="1579" y="249"/>
                </a:lnTo>
                <a:lnTo>
                  <a:pt x="1609" y="230"/>
                </a:lnTo>
                <a:lnTo>
                  <a:pt x="1639" y="212"/>
                </a:lnTo>
                <a:lnTo>
                  <a:pt x="1669" y="193"/>
                </a:lnTo>
                <a:lnTo>
                  <a:pt x="1700" y="176"/>
                </a:lnTo>
                <a:lnTo>
                  <a:pt x="1731" y="159"/>
                </a:lnTo>
                <a:lnTo>
                  <a:pt x="1762" y="144"/>
                </a:lnTo>
                <a:lnTo>
                  <a:pt x="1795" y="130"/>
                </a:lnTo>
                <a:lnTo>
                  <a:pt x="1827" y="115"/>
                </a:lnTo>
                <a:lnTo>
                  <a:pt x="1861" y="101"/>
                </a:lnTo>
                <a:lnTo>
                  <a:pt x="1894" y="88"/>
                </a:lnTo>
                <a:lnTo>
                  <a:pt x="1928" y="77"/>
                </a:lnTo>
                <a:lnTo>
                  <a:pt x="1962" y="66"/>
                </a:lnTo>
                <a:lnTo>
                  <a:pt x="1996" y="56"/>
                </a:lnTo>
                <a:lnTo>
                  <a:pt x="2030" y="46"/>
                </a:lnTo>
                <a:lnTo>
                  <a:pt x="2066" y="37"/>
                </a:lnTo>
                <a:lnTo>
                  <a:pt x="2101" y="30"/>
                </a:lnTo>
                <a:lnTo>
                  <a:pt x="2137" y="22"/>
                </a:lnTo>
                <a:lnTo>
                  <a:pt x="2173" y="17"/>
                </a:lnTo>
                <a:lnTo>
                  <a:pt x="2209" y="12"/>
                </a:lnTo>
                <a:lnTo>
                  <a:pt x="2246" y="7"/>
                </a:lnTo>
                <a:lnTo>
                  <a:pt x="2283" y="5"/>
                </a:lnTo>
                <a:lnTo>
                  <a:pt x="2320" y="2"/>
                </a:lnTo>
                <a:lnTo>
                  <a:pt x="2358" y="1"/>
                </a:lnTo>
                <a:lnTo>
                  <a:pt x="2395" y="0"/>
                </a:lnTo>
                <a:lnTo>
                  <a:pt x="2432" y="1"/>
                </a:lnTo>
                <a:lnTo>
                  <a:pt x="2470" y="2"/>
                </a:lnTo>
                <a:lnTo>
                  <a:pt x="2507" y="5"/>
                </a:lnTo>
                <a:lnTo>
                  <a:pt x="2544" y="7"/>
                </a:lnTo>
                <a:lnTo>
                  <a:pt x="2581" y="12"/>
                </a:lnTo>
                <a:lnTo>
                  <a:pt x="2617" y="17"/>
                </a:lnTo>
                <a:lnTo>
                  <a:pt x="2653" y="22"/>
                </a:lnTo>
                <a:lnTo>
                  <a:pt x="2689" y="30"/>
                </a:lnTo>
                <a:lnTo>
                  <a:pt x="2725" y="37"/>
                </a:lnTo>
                <a:lnTo>
                  <a:pt x="2760" y="46"/>
                </a:lnTo>
                <a:lnTo>
                  <a:pt x="2795" y="56"/>
                </a:lnTo>
                <a:lnTo>
                  <a:pt x="2828" y="66"/>
                </a:lnTo>
                <a:lnTo>
                  <a:pt x="2863" y="77"/>
                </a:lnTo>
                <a:lnTo>
                  <a:pt x="2897" y="88"/>
                </a:lnTo>
                <a:lnTo>
                  <a:pt x="2929" y="101"/>
                </a:lnTo>
                <a:lnTo>
                  <a:pt x="2963" y="115"/>
                </a:lnTo>
                <a:lnTo>
                  <a:pt x="2995" y="130"/>
                </a:lnTo>
                <a:lnTo>
                  <a:pt x="3028" y="144"/>
                </a:lnTo>
                <a:lnTo>
                  <a:pt x="3059" y="159"/>
                </a:lnTo>
                <a:lnTo>
                  <a:pt x="3090" y="176"/>
                </a:lnTo>
                <a:lnTo>
                  <a:pt x="3121" y="193"/>
                </a:lnTo>
                <a:lnTo>
                  <a:pt x="3151" y="212"/>
                </a:lnTo>
                <a:lnTo>
                  <a:pt x="3181" y="230"/>
                </a:lnTo>
                <a:lnTo>
                  <a:pt x="3211" y="249"/>
                </a:lnTo>
                <a:lnTo>
                  <a:pt x="3239" y="269"/>
                </a:lnTo>
                <a:lnTo>
                  <a:pt x="3268" y="290"/>
                </a:lnTo>
                <a:lnTo>
                  <a:pt x="3295" y="311"/>
                </a:lnTo>
                <a:lnTo>
                  <a:pt x="3323" y="334"/>
                </a:lnTo>
                <a:lnTo>
                  <a:pt x="3349" y="356"/>
                </a:lnTo>
                <a:lnTo>
                  <a:pt x="3375" y="379"/>
                </a:lnTo>
                <a:lnTo>
                  <a:pt x="3401" y="402"/>
                </a:lnTo>
                <a:lnTo>
                  <a:pt x="3426" y="427"/>
                </a:lnTo>
                <a:lnTo>
                  <a:pt x="3451" y="452"/>
                </a:lnTo>
                <a:lnTo>
                  <a:pt x="3475" y="478"/>
                </a:lnTo>
                <a:lnTo>
                  <a:pt x="3497" y="504"/>
                </a:lnTo>
                <a:lnTo>
                  <a:pt x="3521" y="531"/>
                </a:lnTo>
                <a:lnTo>
                  <a:pt x="3542" y="558"/>
                </a:lnTo>
                <a:lnTo>
                  <a:pt x="3563" y="587"/>
                </a:lnTo>
                <a:lnTo>
                  <a:pt x="3584" y="614"/>
                </a:lnTo>
                <a:lnTo>
                  <a:pt x="3604" y="643"/>
                </a:lnTo>
                <a:lnTo>
                  <a:pt x="3624" y="673"/>
                </a:lnTo>
                <a:lnTo>
                  <a:pt x="3642" y="702"/>
                </a:lnTo>
                <a:lnTo>
                  <a:pt x="3660" y="732"/>
                </a:lnTo>
                <a:lnTo>
                  <a:pt x="3678" y="764"/>
                </a:lnTo>
                <a:lnTo>
                  <a:pt x="3694" y="795"/>
                </a:lnTo>
                <a:lnTo>
                  <a:pt x="3710" y="826"/>
                </a:lnTo>
                <a:lnTo>
                  <a:pt x="3725" y="858"/>
                </a:lnTo>
                <a:lnTo>
                  <a:pt x="3739" y="891"/>
                </a:lnTo>
                <a:lnTo>
                  <a:pt x="3753" y="924"/>
                </a:lnTo>
                <a:lnTo>
                  <a:pt x="3765" y="957"/>
                </a:lnTo>
                <a:lnTo>
                  <a:pt x="3776" y="991"/>
                </a:lnTo>
                <a:lnTo>
                  <a:pt x="3787" y="1025"/>
                </a:lnTo>
                <a:lnTo>
                  <a:pt x="3799" y="1060"/>
                </a:lnTo>
                <a:lnTo>
                  <a:pt x="3807" y="1094"/>
                </a:lnTo>
                <a:lnTo>
                  <a:pt x="3816" y="1130"/>
                </a:lnTo>
                <a:lnTo>
                  <a:pt x="3824" y="1165"/>
                </a:lnTo>
                <a:lnTo>
                  <a:pt x="3831" y="1201"/>
                </a:lnTo>
                <a:lnTo>
                  <a:pt x="3837" y="1237"/>
                </a:lnTo>
                <a:lnTo>
                  <a:pt x="3842" y="1273"/>
                </a:lnTo>
                <a:lnTo>
                  <a:pt x="3846" y="1309"/>
                </a:lnTo>
                <a:lnTo>
                  <a:pt x="3850" y="1346"/>
                </a:lnTo>
                <a:lnTo>
                  <a:pt x="3851" y="1384"/>
                </a:lnTo>
                <a:lnTo>
                  <a:pt x="3853" y="1421"/>
                </a:lnTo>
                <a:lnTo>
                  <a:pt x="3853" y="1459"/>
                </a:lnTo>
                <a:lnTo>
                  <a:pt x="3852" y="1507"/>
                </a:lnTo>
                <a:lnTo>
                  <a:pt x="3850" y="1556"/>
                </a:lnTo>
                <a:lnTo>
                  <a:pt x="3846" y="1604"/>
                </a:lnTo>
                <a:lnTo>
                  <a:pt x="3841" y="1652"/>
                </a:lnTo>
                <a:lnTo>
                  <a:pt x="3833" y="1699"/>
                </a:lnTo>
                <a:lnTo>
                  <a:pt x="3825" y="1745"/>
                </a:lnTo>
                <a:lnTo>
                  <a:pt x="3815" y="1791"/>
                </a:lnTo>
                <a:lnTo>
                  <a:pt x="3804" y="1837"/>
                </a:lnTo>
                <a:lnTo>
                  <a:pt x="3791" y="1882"/>
                </a:lnTo>
                <a:lnTo>
                  <a:pt x="3777" y="1926"/>
                </a:lnTo>
                <a:lnTo>
                  <a:pt x="3761" y="1970"/>
                </a:lnTo>
                <a:lnTo>
                  <a:pt x="3744" y="2013"/>
                </a:lnTo>
                <a:lnTo>
                  <a:pt x="3726" y="2055"/>
                </a:lnTo>
                <a:lnTo>
                  <a:pt x="3706" y="2098"/>
                </a:lnTo>
                <a:lnTo>
                  <a:pt x="3685" y="2139"/>
                </a:lnTo>
                <a:lnTo>
                  <a:pt x="3664" y="2178"/>
                </a:lnTo>
                <a:lnTo>
                  <a:pt x="3640" y="2217"/>
                </a:lnTo>
                <a:lnTo>
                  <a:pt x="3617" y="2256"/>
                </a:lnTo>
                <a:lnTo>
                  <a:pt x="3591" y="2294"/>
                </a:lnTo>
                <a:lnTo>
                  <a:pt x="3564" y="2330"/>
                </a:lnTo>
                <a:lnTo>
                  <a:pt x="3536" y="2367"/>
                </a:lnTo>
                <a:lnTo>
                  <a:pt x="3507" y="2403"/>
                </a:lnTo>
                <a:lnTo>
                  <a:pt x="3477" y="2436"/>
                </a:lnTo>
                <a:lnTo>
                  <a:pt x="3446" y="2470"/>
                </a:lnTo>
                <a:lnTo>
                  <a:pt x="3414" y="2502"/>
                </a:lnTo>
                <a:lnTo>
                  <a:pt x="3381" y="2533"/>
                </a:lnTo>
                <a:lnTo>
                  <a:pt x="3348" y="2563"/>
                </a:lnTo>
                <a:lnTo>
                  <a:pt x="3313" y="2592"/>
                </a:lnTo>
                <a:lnTo>
                  <a:pt x="3277" y="2621"/>
                </a:lnTo>
                <a:lnTo>
                  <a:pt x="3239" y="2648"/>
                </a:lnTo>
                <a:lnTo>
                  <a:pt x="3202" y="2673"/>
                </a:lnTo>
                <a:lnTo>
                  <a:pt x="3163" y="2698"/>
                </a:lnTo>
                <a:lnTo>
                  <a:pt x="3163" y="3271"/>
                </a:lnTo>
                <a:lnTo>
                  <a:pt x="2964" y="3271"/>
                </a:lnTo>
                <a:lnTo>
                  <a:pt x="2964" y="2583"/>
                </a:lnTo>
                <a:lnTo>
                  <a:pt x="3004" y="2561"/>
                </a:lnTo>
                <a:lnTo>
                  <a:pt x="3041" y="2537"/>
                </a:lnTo>
                <a:lnTo>
                  <a:pt x="3079" y="2512"/>
                </a:lnTo>
                <a:lnTo>
                  <a:pt x="3115" y="2487"/>
                </a:lnTo>
                <a:lnTo>
                  <a:pt x="3151" y="2461"/>
                </a:lnTo>
                <a:lnTo>
                  <a:pt x="3185" y="2434"/>
                </a:lnTo>
                <a:lnTo>
                  <a:pt x="3218" y="2405"/>
                </a:lnTo>
                <a:lnTo>
                  <a:pt x="3251" y="2377"/>
                </a:lnTo>
                <a:lnTo>
                  <a:pt x="3282" y="2348"/>
                </a:lnTo>
                <a:lnTo>
                  <a:pt x="3312" y="2317"/>
                </a:lnTo>
                <a:lnTo>
                  <a:pt x="3340" y="2286"/>
                </a:lnTo>
                <a:lnTo>
                  <a:pt x="3368" y="2254"/>
                </a:lnTo>
                <a:lnTo>
                  <a:pt x="3395" y="2221"/>
                </a:lnTo>
                <a:lnTo>
                  <a:pt x="3420" y="2187"/>
                </a:lnTo>
                <a:lnTo>
                  <a:pt x="3445" y="2154"/>
                </a:lnTo>
                <a:lnTo>
                  <a:pt x="3467" y="2119"/>
                </a:lnTo>
                <a:lnTo>
                  <a:pt x="3490" y="2083"/>
                </a:lnTo>
                <a:lnTo>
                  <a:pt x="3510" y="2046"/>
                </a:lnTo>
                <a:lnTo>
                  <a:pt x="3530" y="2009"/>
                </a:lnTo>
                <a:lnTo>
                  <a:pt x="3547" y="1970"/>
                </a:lnTo>
                <a:lnTo>
                  <a:pt x="3563" y="1932"/>
                </a:lnTo>
                <a:lnTo>
                  <a:pt x="3579" y="1892"/>
                </a:lnTo>
                <a:lnTo>
                  <a:pt x="3593" y="1852"/>
                </a:lnTo>
                <a:lnTo>
                  <a:pt x="3606" y="1811"/>
                </a:lnTo>
                <a:lnTo>
                  <a:pt x="3617" y="1770"/>
                </a:lnTo>
                <a:lnTo>
                  <a:pt x="3627" y="1728"/>
                </a:lnTo>
                <a:lnTo>
                  <a:pt x="3635" y="1684"/>
                </a:lnTo>
                <a:lnTo>
                  <a:pt x="3642" y="1640"/>
                </a:lnTo>
                <a:lnTo>
                  <a:pt x="3647" y="1596"/>
                </a:lnTo>
                <a:lnTo>
                  <a:pt x="3652" y="1551"/>
                </a:lnTo>
                <a:lnTo>
                  <a:pt x="3653" y="1505"/>
                </a:lnTo>
                <a:lnTo>
                  <a:pt x="3654" y="1459"/>
                </a:lnTo>
                <a:lnTo>
                  <a:pt x="3654" y="1426"/>
                </a:lnTo>
                <a:lnTo>
                  <a:pt x="3653" y="1394"/>
                </a:lnTo>
                <a:lnTo>
                  <a:pt x="3650" y="1361"/>
                </a:lnTo>
                <a:lnTo>
                  <a:pt x="3648" y="1330"/>
                </a:lnTo>
                <a:lnTo>
                  <a:pt x="3644" y="1298"/>
                </a:lnTo>
                <a:lnTo>
                  <a:pt x="3639" y="1267"/>
                </a:lnTo>
                <a:lnTo>
                  <a:pt x="3634" y="1236"/>
                </a:lnTo>
                <a:lnTo>
                  <a:pt x="3628" y="1204"/>
                </a:lnTo>
                <a:lnTo>
                  <a:pt x="3622" y="1175"/>
                </a:lnTo>
                <a:lnTo>
                  <a:pt x="3614" y="1143"/>
                </a:lnTo>
                <a:lnTo>
                  <a:pt x="3607" y="1114"/>
                </a:lnTo>
                <a:lnTo>
                  <a:pt x="3598" y="1084"/>
                </a:lnTo>
                <a:lnTo>
                  <a:pt x="3588" y="1055"/>
                </a:lnTo>
                <a:lnTo>
                  <a:pt x="3578" y="1025"/>
                </a:lnTo>
                <a:lnTo>
                  <a:pt x="3567" y="996"/>
                </a:lnTo>
                <a:lnTo>
                  <a:pt x="3556" y="969"/>
                </a:lnTo>
                <a:lnTo>
                  <a:pt x="3543" y="940"/>
                </a:lnTo>
                <a:lnTo>
                  <a:pt x="3530" y="913"/>
                </a:lnTo>
                <a:lnTo>
                  <a:pt x="3502" y="858"/>
                </a:lnTo>
                <a:lnTo>
                  <a:pt x="3472" y="806"/>
                </a:lnTo>
                <a:lnTo>
                  <a:pt x="3439" y="755"/>
                </a:lnTo>
                <a:lnTo>
                  <a:pt x="3404" y="705"/>
                </a:lnTo>
                <a:lnTo>
                  <a:pt x="3366" y="658"/>
                </a:lnTo>
                <a:lnTo>
                  <a:pt x="3327" y="612"/>
                </a:lnTo>
                <a:lnTo>
                  <a:pt x="3285" y="568"/>
                </a:lnTo>
                <a:lnTo>
                  <a:pt x="3242" y="527"/>
                </a:lnTo>
                <a:lnTo>
                  <a:pt x="3196" y="487"/>
                </a:lnTo>
                <a:lnTo>
                  <a:pt x="3148" y="450"/>
                </a:lnTo>
                <a:lnTo>
                  <a:pt x="3099" y="415"/>
                </a:lnTo>
                <a:lnTo>
                  <a:pt x="3048" y="382"/>
                </a:lnTo>
                <a:lnTo>
                  <a:pt x="2995" y="351"/>
                </a:lnTo>
                <a:lnTo>
                  <a:pt x="2941" y="324"/>
                </a:lnTo>
                <a:lnTo>
                  <a:pt x="2913" y="310"/>
                </a:lnTo>
                <a:lnTo>
                  <a:pt x="2886" y="299"/>
                </a:lnTo>
                <a:lnTo>
                  <a:pt x="2857" y="286"/>
                </a:lnTo>
                <a:lnTo>
                  <a:pt x="2828" y="277"/>
                </a:lnTo>
                <a:lnTo>
                  <a:pt x="2799" y="265"/>
                </a:lnTo>
                <a:lnTo>
                  <a:pt x="2770" y="257"/>
                </a:lnTo>
                <a:lnTo>
                  <a:pt x="2740" y="248"/>
                </a:lnTo>
                <a:lnTo>
                  <a:pt x="2710" y="239"/>
                </a:lnTo>
                <a:lnTo>
                  <a:pt x="2679" y="232"/>
                </a:lnTo>
                <a:lnTo>
                  <a:pt x="2649" y="225"/>
                </a:lnTo>
                <a:lnTo>
                  <a:pt x="2618" y="219"/>
                </a:lnTo>
                <a:lnTo>
                  <a:pt x="2587" y="214"/>
                </a:lnTo>
                <a:lnTo>
                  <a:pt x="2556" y="209"/>
                </a:lnTo>
                <a:lnTo>
                  <a:pt x="2523" y="206"/>
                </a:lnTo>
                <a:lnTo>
                  <a:pt x="2492" y="203"/>
                </a:lnTo>
                <a:lnTo>
                  <a:pt x="2460" y="201"/>
                </a:lnTo>
                <a:lnTo>
                  <a:pt x="2427" y="201"/>
                </a:lnTo>
                <a:lnTo>
                  <a:pt x="2395" y="199"/>
                </a:lnTo>
                <a:lnTo>
                  <a:pt x="2363" y="201"/>
                </a:lnTo>
                <a:lnTo>
                  <a:pt x="2330" y="201"/>
                </a:lnTo>
                <a:lnTo>
                  <a:pt x="2298" y="203"/>
                </a:lnTo>
                <a:lnTo>
                  <a:pt x="2267" y="206"/>
                </a:lnTo>
                <a:lnTo>
                  <a:pt x="2234" y="209"/>
                </a:lnTo>
                <a:lnTo>
                  <a:pt x="2203" y="214"/>
                </a:lnTo>
                <a:lnTo>
                  <a:pt x="2172" y="219"/>
                </a:lnTo>
                <a:lnTo>
                  <a:pt x="2141" y="225"/>
                </a:lnTo>
                <a:lnTo>
                  <a:pt x="2111" y="232"/>
                </a:lnTo>
                <a:lnTo>
                  <a:pt x="2080" y="239"/>
                </a:lnTo>
                <a:lnTo>
                  <a:pt x="2050" y="248"/>
                </a:lnTo>
                <a:lnTo>
                  <a:pt x="2020" y="257"/>
                </a:lnTo>
                <a:lnTo>
                  <a:pt x="1991" y="265"/>
                </a:lnTo>
                <a:lnTo>
                  <a:pt x="1963" y="277"/>
                </a:lnTo>
                <a:lnTo>
                  <a:pt x="1933" y="286"/>
                </a:lnTo>
                <a:lnTo>
                  <a:pt x="1906" y="299"/>
                </a:lnTo>
                <a:lnTo>
                  <a:pt x="1877" y="310"/>
                </a:lnTo>
                <a:lnTo>
                  <a:pt x="1849" y="324"/>
                </a:lnTo>
                <a:lnTo>
                  <a:pt x="1795" y="351"/>
                </a:lnTo>
                <a:lnTo>
                  <a:pt x="1742" y="382"/>
                </a:lnTo>
                <a:lnTo>
                  <a:pt x="1691" y="415"/>
                </a:lnTo>
                <a:lnTo>
                  <a:pt x="1642" y="450"/>
                </a:lnTo>
                <a:lnTo>
                  <a:pt x="1594" y="487"/>
                </a:lnTo>
                <a:lnTo>
                  <a:pt x="1548" y="527"/>
                </a:lnTo>
                <a:lnTo>
                  <a:pt x="1505" y="568"/>
                </a:lnTo>
                <a:lnTo>
                  <a:pt x="1463" y="612"/>
                </a:lnTo>
                <a:lnTo>
                  <a:pt x="1424" y="658"/>
                </a:lnTo>
                <a:lnTo>
                  <a:pt x="1386" y="705"/>
                </a:lnTo>
                <a:lnTo>
                  <a:pt x="1351" y="755"/>
                </a:lnTo>
                <a:lnTo>
                  <a:pt x="1319" y="806"/>
                </a:lnTo>
                <a:lnTo>
                  <a:pt x="1288" y="858"/>
                </a:lnTo>
                <a:lnTo>
                  <a:pt x="1260" y="913"/>
                </a:lnTo>
                <a:lnTo>
                  <a:pt x="1248" y="940"/>
                </a:lnTo>
                <a:lnTo>
                  <a:pt x="1235" y="969"/>
                </a:lnTo>
                <a:lnTo>
                  <a:pt x="1223" y="996"/>
                </a:lnTo>
                <a:lnTo>
                  <a:pt x="1213" y="1025"/>
                </a:lnTo>
                <a:lnTo>
                  <a:pt x="1202" y="1055"/>
                </a:lnTo>
                <a:lnTo>
                  <a:pt x="1193" y="1084"/>
                </a:lnTo>
                <a:lnTo>
                  <a:pt x="1184" y="1114"/>
                </a:lnTo>
                <a:lnTo>
                  <a:pt x="1176" y="1143"/>
                </a:lnTo>
                <a:lnTo>
                  <a:pt x="1168" y="1175"/>
                </a:lnTo>
                <a:lnTo>
                  <a:pt x="1162" y="1204"/>
                </a:lnTo>
                <a:lnTo>
                  <a:pt x="1156" y="1236"/>
                </a:lnTo>
                <a:lnTo>
                  <a:pt x="1151" y="1267"/>
                </a:lnTo>
                <a:lnTo>
                  <a:pt x="1146" y="1298"/>
                </a:lnTo>
                <a:lnTo>
                  <a:pt x="1142" y="1330"/>
                </a:lnTo>
                <a:lnTo>
                  <a:pt x="1140" y="1361"/>
                </a:lnTo>
                <a:lnTo>
                  <a:pt x="1138" y="1394"/>
                </a:lnTo>
                <a:lnTo>
                  <a:pt x="1137" y="1426"/>
                </a:lnTo>
                <a:lnTo>
                  <a:pt x="1136" y="1459"/>
                </a:lnTo>
                <a:lnTo>
                  <a:pt x="1137" y="1505"/>
                </a:lnTo>
                <a:lnTo>
                  <a:pt x="1140" y="1551"/>
                </a:lnTo>
                <a:lnTo>
                  <a:pt x="1143" y="1596"/>
                </a:lnTo>
                <a:lnTo>
                  <a:pt x="1148" y="1640"/>
                </a:lnTo>
                <a:lnTo>
                  <a:pt x="1156" y="1684"/>
                </a:lnTo>
                <a:lnTo>
                  <a:pt x="1163" y="1728"/>
                </a:lnTo>
                <a:lnTo>
                  <a:pt x="1173" y="1770"/>
                </a:lnTo>
                <a:lnTo>
                  <a:pt x="1184" y="1811"/>
                </a:lnTo>
                <a:lnTo>
                  <a:pt x="1197" y="1852"/>
                </a:lnTo>
                <a:lnTo>
                  <a:pt x="1211" y="1892"/>
                </a:lnTo>
                <a:lnTo>
                  <a:pt x="1227" y="1932"/>
                </a:lnTo>
                <a:lnTo>
                  <a:pt x="1243" y="1970"/>
                </a:lnTo>
                <a:lnTo>
                  <a:pt x="1262" y="2009"/>
                </a:lnTo>
                <a:lnTo>
                  <a:pt x="1280" y="2046"/>
                </a:lnTo>
                <a:lnTo>
                  <a:pt x="1301" y="2083"/>
                </a:lnTo>
                <a:lnTo>
                  <a:pt x="1323" y="2119"/>
                </a:lnTo>
                <a:lnTo>
                  <a:pt x="1346" y="2154"/>
                </a:lnTo>
                <a:lnTo>
                  <a:pt x="1370" y="2187"/>
                </a:lnTo>
                <a:lnTo>
                  <a:pt x="1396" y="2221"/>
                </a:lnTo>
                <a:lnTo>
                  <a:pt x="1422" y="2254"/>
                </a:lnTo>
                <a:lnTo>
                  <a:pt x="1450" y="2286"/>
                </a:lnTo>
                <a:lnTo>
                  <a:pt x="1478" y="2317"/>
                </a:lnTo>
                <a:lnTo>
                  <a:pt x="1509" y="2348"/>
                </a:lnTo>
                <a:lnTo>
                  <a:pt x="1541" y="2377"/>
                </a:lnTo>
                <a:lnTo>
                  <a:pt x="1572" y="2405"/>
                </a:lnTo>
                <a:lnTo>
                  <a:pt x="1605" y="2434"/>
                </a:lnTo>
                <a:lnTo>
                  <a:pt x="1640" y="2461"/>
                </a:lnTo>
                <a:lnTo>
                  <a:pt x="1675" y="2487"/>
                </a:lnTo>
                <a:lnTo>
                  <a:pt x="1711" y="2512"/>
                </a:lnTo>
                <a:lnTo>
                  <a:pt x="1749" y="2537"/>
                </a:lnTo>
                <a:lnTo>
                  <a:pt x="1786" y="2561"/>
                </a:lnTo>
                <a:lnTo>
                  <a:pt x="1826" y="2583"/>
                </a:lnTo>
                <a:lnTo>
                  <a:pt x="1826" y="3271"/>
                </a:lnTo>
                <a:lnTo>
                  <a:pt x="1627" y="3271"/>
                </a:lnTo>
                <a:close/>
                <a:moveTo>
                  <a:pt x="1827" y="3841"/>
                </a:moveTo>
                <a:lnTo>
                  <a:pt x="1826" y="4301"/>
                </a:lnTo>
                <a:lnTo>
                  <a:pt x="2204" y="4564"/>
                </a:lnTo>
                <a:lnTo>
                  <a:pt x="2591" y="4564"/>
                </a:lnTo>
                <a:lnTo>
                  <a:pt x="2949" y="4315"/>
                </a:lnTo>
                <a:lnTo>
                  <a:pt x="1827" y="3841"/>
                </a:lnTo>
                <a:close/>
                <a:moveTo>
                  <a:pt x="1661" y="3470"/>
                </a:moveTo>
                <a:lnTo>
                  <a:pt x="2970" y="4028"/>
                </a:lnTo>
                <a:lnTo>
                  <a:pt x="2970" y="3920"/>
                </a:lnTo>
                <a:lnTo>
                  <a:pt x="1916" y="3470"/>
                </a:lnTo>
                <a:lnTo>
                  <a:pt x="3170" y="3470"/>
                </a:lnTo>
                <a:lnTo>
                  <a:pt x="3170" y="4406"/>
                </a:lnTo>
                <a:lnTo>
                  <a:pt x="2653" y="4763"/>
                </a:lnTo>
                <a:lnTo>
                  <a:pt x="2142" y="4763"/>
                </a:lnTo>
                <a:lnTo>
                  <a:pt x="1625" y="4406"/>
                </a:lnTo>
                <a:lnTo>
                  <a:pt x="1629" y="3470"/>
                </a:lnTo>
                <a:lnTo>
                  <a:pt x="1661" y="3470"/>
                </a:lnTo>
                <a:close/>
                <a:moveTo>
                  <a:pt x="2620" y="2471"/>
                </a:moveTo>
                <a:lnTo>
                  <a:pt x="2886" y="1072"/>
                </a:lnTo>
                <a:lnTo>
                  <a:pt x="2770" y="1072"/>
                </a:lnTo>
                <a:lnTo>
                  <a:pt x="2770" y="973"/>
                </a:lnTo>
                <a:lnTo>
                  <a:pt x="3007" y="973"/>
                </a:lnTo>
                <a:lnTo>
                  <a:pt x="2719" y="2490"/>
                </a:lnTo>
                <a:lnTo>
                  <a:pt x="2620" y="2471"/>
                </a:lnTo>
                <a:close/>
                <a:moveTo>
                  <a:pt x="3860" y="2201"/>
                </a:moveTo>
                <a:lnTo>
                  <a:pt x="4518" y="2581"/>
                </a:lnTo>
                <a:lnTo>
                  <a:pt x="4419" y="2754"/>
                </a:lnTo>
                <a:lnTo>
                  <a:pt x="3758" y="2372"/>
                </a:lnTo>
                <a:lnTo>
                  <a:pt x="3785" y="2330"/>
                </a:lnTo>
                <a:lnTo>
                  <a:pt x="3811" y="2288"/>
                </a:lnTo>
                <a:lnTo>
                  <a:pt x="3836" y="2244"/>
                </a:lnTo>
                <a:lnTo>
                  <a:pt x="3860" y="2201"/>
                </a:lnTo>
                <a:close/>
                <a:moveTo>
                  <a:pt x="371" y="186"/>
                </a:moveTo>
                <a:lnTo>
                  <a:pt x="1008" y="553"/>
                </a:lnTo>
                <a:lnTo>
                  <a:pt x="981" y="595"/>
                </a:lnTo>
                <a:lnTo>
                  <a:pt x="957" y="639"/>
                </a:lnTo>
                <a:lnTo>
                  <a:pt x="933" y="683"/>
                </a:lnTo>
                <a:lnTo>
                  <a:pt x="910" y="727"/>
                </a:lnTo>
                <a:lnTo>
                  <a:pt x="272" y="359"/>
                </a:lnTo>
                <a:lnTo>
                  <a:pt x="371" y="186"/>
                </a:lnTo>
                <a:close/>
                <a:moveTo>
                  <a:pt x="1035" y="2370"/>
                </a:moveTo>
                <a:lnTo>
                  <a:pt x="371" y="2754"/>
                </a:lnTo>
                <a:lnTo>
                  <a:pt x="272" y="2581"/>
                </a:lnTo>
                <a:lnTo>
                  <a:pt x="933" y="2200"/>
                </a:lnTo>
                <a:lnTo>
                  <a:pt x="957" y="2243"/>
                </a:lnTo>
                <a:lnTo>
                  <a:pt x="981" y="2287"/>
                </a:lnTo>
                <a:lnTo>
                  <a:pt x="1008" y="2329"/>
                </a:lnTo>
                <a:lnTo>
                  <a:pt x="1035" y="2370"/>
                </a:lnTo>
                <a:close/>
                <a:moveTo>
                  <a:pt x="4518" y="359"/>
                </a:moveTo>
                <a:lnTo>
                  <a:pt x="3882" y="726"/>
                </a:lnTo>
                <a:lnTo>
                  <a:pt x="3860" y="681"/>
                </a:lnTo>
                <a:lnTo>
                  <a:pt x="3836" y="638"/>
                </a:lnTo>
                <a:lnTo>
                  <a:pt x="3811" y="594"/>
                </a:lnTo>
                <a:lnTo>
                  <a:pt x="3785" y="552"/>
                </a:lnTo>
                <a:lnTo>
                  <a:pt x="4419" y="186"/>
                </a:lnTo>
                <a:lnTo>
                  <a:pt x="4518" y="359"/>
                </a:lnTo>
                <a:close/>
                <a:moveTo>
                  <a:pt x="753" y="1569"/>
                </a:moveTo>
                <a:lnTo>
                  <a:pt x="0" y="1569"/>
                </a:lnTo>
                <a:lnTo>
                  <a:pt x="0" y="1370"/>
                </a:lnTo>
                <a:lnTo>
                  <a:pt x="750" y="1370"/>
                </a:lnTo>
                <a:lnTo>
                  <a:pt x="749" y="1405"/>
                </a:lnTo>
                <a:lnTo>
                  <a:pt x="749" y="1441"/>
                </a:lnTo>
                <a:lnTo>
                  <a:pt x="750" y="1506"/>
                </a:lnTo>
                <a:lnTo>
                  <a:pt x="753" y="1569"/>
                </a:lnTo>
                <a:close/>
                <a:moveTo>
                  <a:pt x="4790" y="1569"/>
                </a:moveTo>
                <a:lnTo>
                  <a:pt x="4040" y="1569"/>
                </a:lnTo>
                <a:lnTo>
                  <a:pt x="4044" y="1506"/>
                </a:lnTo>
                <a:lnTo>
                  <a:pt x="4045" y="1441"/>
                </a:lnTo>
                <a:lnTo>
                  <a:pt x="4044" y="1405"/>
                </a:lnTo>
                <a:lnTo>
                  <a:pt x="4043" y="1370"/>
                </a:lnTo>
                <a:lnTo>
                  <a:pt x="4790" y="1370"/>
                </a:lnTo>
                <a:lnTo>
                  <a:pt x="4790" y="1569"/>
                </a:lnTo>
                <a:close/>
              </a:path>
            </a:pathLst>
          </a:custGeom>
          <a:solidFill>
            <a:srgbClr val="646464"/>
          </a:solidFill>
          <a:ln w="9525">
            <a:noFill/>
            <a:round/>
            <a:headEnd/>
            <a:tailEnd/>
          </a:ln>
        </p:spPr>
        <p:txBody>
          <a:bodyPr/>
          <a:lstStyle/>
          <a:p>
            <a:endParaRPr lang="de-DE" sz="1600">
              <a:latin typeface="+mj-lt"/>
            </a:endParaRPr>
          </a:p>
        </p:txBody>
      </p:sp>
      <p:sp>
        <p:nvSpPr>
          <p:cNvPr id="37" name="Freeform 100"/>
          <p:cNvSpPr>
            <a:spLocks noChangeAspect="1" noEditPoints="1"/>
          </p:cNvSpPr>
          <p:nvPr/>
        </p:nvSpPr>
        <p:spPr bwMode="auto">
          <a:xfrm rot="2728889" flipH="1">
            <a:off x="4250066" y="4908756"/>
            <a:ext cx="557999" cy="391343"/>
          </a:xfrm>
          <a:custGeom>
            <a:avLst/>
            <a:gdLst>
              <a:gd name="T0" fmla="*/ 2147483647 w 6736"/>
              <a:gd name="T1" fmla="*/ 2147483647 h 4707"/>
              <a:gd name="T2" fmla="*/ 2147483647 w 6736"/>
              <a:gd name="T3" fmla="*/ 2147483647 h 4707"/>
              <a:gd name="T4" fmla="*/ 2147483647 w 6736"/>
              <a:gd name="T5" fmla="*/ 2147483647 h 4707"/>
              <a:gd name="T6" fmla="*/ 2147483647 w 6736"/>
              <a:gd name="T7" fmla="*/ 2147483647 h 4707"/>
              <a:gd name="T8" fmla="*/ 2147483647 w 6736"/>
              <a:gd name="T9" fmla="*/ 2147483647 h 4707"/>
              <a:gd name="T10" fmla="*/ 2147483647 w 6736"/>
              <a:gd name="T11" fmla="*/ 2147483647 h 4707"/>
              <a:gd name="T12" fmla="*/ 2147483647 w 6736"/>
              <a:gd name="T13" fmla="*/ 0 h 4707"/>
              <a:gd name="T14" fmla="*/ 2147483647 w 6736"/>
              <a:gd name="T15" fmla="*/ 2147483647 h 4707"/>
              <a:gd name="T16" fmla="*/ 2147483647 w 6736"/>
              <a:gd name="T17" fmla="*/ 2147483647 h 4707"/>
              <a:gd name="T18" fmla="*/ 2147483647 w 6736"/>
              <a:gd name="T19" fmla="*/ 2147483647 h 4707"/>
              <a:gd name="T20" fmla="*/ 2147483647 w 6736"/>
              <a:gd name="T21" fmla="*/ 2147483647 h 4707"/>
              <a:gd name="T22" fmla="*/ 2147483647 w 6736"/>
              <a:gd name="T23" fmla="*/ 2147483647 h 4707"/>
              <a:gd name="T24" fmla="*/ 2147483647 w 6736"/>
              <a:gd name="T25" fmla="*/ 2147483647 h 4707"/>
              <a:gd name="T26" fmla="*/ 2147483647 w 6736"/>
              <a:gd name="T27" fmla="*/ 2147483647 h 4707"/>
              <a:gd name="T28" fmla="*/ 2147483647 w 6736"/>
              <a:gd name="T29" fmla="*/ 2147483647 h 4707"/>
              <a:gd name="T30" fmla="*/ 2147483647 w 6736"/>
              <a:gd name="T31" fmla="*/ 2147483647 h 4707"/>
              <a:gd name="T32" fmla="*/ 2147483647 w 6736"/>
              <a:gd name="T33" fmla="*/ 2147483647 h 4707"/>
              <a:gd name="T34" fmla="*/ 2147483647 w 6736"/>
              <a:gd name="T35" fmla="*/ 2147483647 h 4707"/>
              <a:gd name="T36" fmla="*/ 2147483647 w 6736"/>
              <a:gd name="T37" fmla="*/ 2147483647 h 4707"/>
              <a:gd name="T38" fmla="*/ 2147483647 w 6736"/>
              <a:gd name="T39" fmla="*/ 2147483647 h 4707"/>
              <a:gd name="T40" fmla="*/ 2147483647 w 6736"/>
              <a:gd name="T41" fmla="*/ 2147483647 h 4707"/>
              <a:gd name="T42" fmla="*/ 2147483647 w 6736"/>
              <a:gd name="T43" fmla="*/ 2147483647 h 4707"/>
              <a:gd name="T44" fmla="*/ 2147483647 w 6736"/>
              <a:gd name="T45" fmla="*/ 2147483647 h 4707"/>
              <a:gd name="T46" fmla="*/ 2147483647 w 6736"/>
              <a:gd name="T47" fmla="*/ 2147483647 h 4707"/>
              <a:gd name="T48" fmla="*/ 2147483647 w 6736"/>
              <a:gd name="T49" fmla="*/ 2147483647 h 4707"/>
              <a:gd name="T50" fmla="*/ 2147483647 w 6736"/>
              <a:gd name="T51" fmla="*/ 2147483647 h 4707"/>
              <a:gd name="T52" fmla="*/ 2147483647 w 6736"/>
              <a:gd name="T53" fmla="*/ 2147483647 h 4707"/>
              <a:gd name="T54" fmla="*/ 2147483647 w 6736"/>
              <a:gd name="T55" fmla="*/ 2147483647 h 4707"/>
              <a:gd name="T56" fmla="*/ 2147483647 w 6736"/>
              <a:gd name="T57" fmla="*/ 2147483647 h 4707"/>
              <a:gd name="T58" fmla="*/ 2147483647 w 6736"/>
              <a:gd name="T59" fmla="*/ 2147483647 h 4707"/>
              <a:gd name="T60" fmla="*/ 2147483647 w 6736"/>
              <a:gd name="T61" fmla="*/ 2147483647 h 4707"/>
              <a:gd name="T62" fmla="*/ 2147483647 w 6736"/>
              <a:gd name="T63" fmla="*/ 2147483647 h 4707"/>
              <a:gd name="T64" fmla="*/ 2147483647 w 6736"/>
              <a:gd name="T65" fmla="*/ 2147483647 h 4707"/>
              <a:gd name="T66" fmla="*/ 2147483647 w 6736"/>
              <a:gd name="T67" fmla="*/ 2147483647 h 4707"/>
              <a:gd name="T68" fmla="*/ 2147483647 w 6736"/>
              <a:gd name="T69" fmla="*/ 2147483647 h 4707"/>
              <a:gd name="T70" fmla="*/ 2147483647 w 6736"/>
              <a:gd name="T71" fmla="*/ 2147483647 h 4707"/>
              <a:gd name="T72" fmla="*/ 2147483647 w 6736"/>
              <a:gd name="T73" fmla="*/ 2147483647 h 4707"/>
              <a:gd name="T74" fmla="*/ 2147483647 w 6736"/>
              <a:gd name="T75" fmla="*/ 2147483647 h 4707"/>
              <a:gd name="T76" fmla="*/ 2147483647 w 6736"/>
              <a:gd name="T77" fmla="*/ 2147483647 h 4707"/>
              <a:gd name="T78" fmla="*/ 2147483647 w 6736"/>
              <a:gd name="T79" fmla="*/ 2147483647 h 4707"/>
              <a:gd name="T80" fmla="*/ 2147483647 w 6736"/>
              <a:gd name="T81" fmla="*/ 2147483647 h 4707"/>
              <a:gd name="T82" fmla="*/ 2147483647 w 6736"/>
              <a:gd name="T83" fmla="*/ 2147483647 h 4707"/>
              <a:gd name="T84" fmla="*/ 2147483647 w 6736"/>
              <a:gd name="T85" fmla="*/ 2147483647 h 4707"/>
              <a:gd name="T86" fmla="*/ 2147483647 w 6736"/>
              <a:gd name="T87" fmla="*/ 2147483647 h 4707"/>
              <a:gd name="T88" fmla="*/ 2147483647 w 6736"/>
              <a:gd name="T89" fmla="*/ 2147483647 h 4707"/>
              <a:gd name="T90" fmla="*/ 2147483647 w 6736"/>
              <a:gd name="T91" fmla="*/ 2147483647 h 4707"/>
              <a:gd name="T92" fmla="*/ 2147483647 w 6736"/>
              <a:gd name="T93" fmla="*/ 2147483647 h 4707"/>
              <a:gd name="T94" fmla="*/ 2147483647 w 6736"/>
              <a:gd name="T95" fmla="*/ 2147483647 h 4707"/>
              <a:gd name="T96" fmla="*/ 2147483647 w 6736"/>
              <a:gd name="T97" fmla="*/ 2147483647 h 4707"/>
              <a:gd name="T98" fmla="*/ 2147483647 w 6736"/>
              <a:gd name="T99" fmla="*/ 2147483647 h 4707"/>
              <a:gd name="T100" fmla="*/ 2147483647 w 6736"/>
              <a:gd name="T101" fmla="*/ 2147483647 h 4707"/>
              <a:gd name="T102" fmla="*/ 2147483647 w 6736"/>
              <a:gd name="T103" fmla="*/ 2147483647 h 4707"/>
              <a:gd name="T104" fmla="*/ 2147483647 w 6736"/>
              <a:gd name="T105" fmla="*/ 2147483647 h 4707"/>
              <a:gd name="T106" fmla="*/ 2147483647 w 6736"/>
              <a:gd name="T107" fmla="*/ 2147483647 h 4707"/>
              <a:gd name="T108" fmla="*/ 2147483647 w 6736"/>
              <a:gd name="T109" fmla="*/ 2147483647 h 4707"/>
              <a:gd name="T110" fmla="*/ 2147483647 w 6736"/>
              <a:gd name="T111" fmla="*/ 2147483647 h 47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736"/>
              <a:gd name="T169" fmla="*/ 0 h 4707"/>
              <a:gd name="T170" fmla="*/ 6736 w 6736"/>
              <a:gd name="T171" fmla="*/ 4707 h 47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736" h="4707">
                <a:moveTo>
                  <a:pt x="823" y="2876"/>
                </a:moveTo>
                <a:lnTo>
                  <a:pt x="1937" y="2235"/>
                </a:lnTo>
                <a:lnTo>
                  <a:pt x="3397" y="2235"/>
                </a:lnTo>
                <a:lnTo>
                  <a:pt x="3397" y="3520"/>
                </a:lnTo>
                <a:lnTo>
                  <a:pt x="1937" y="3520"/>
                </a:lnTo>
                <a:lnTo>
                  <a:pt x="823" y="2876"/>
                </a:lnTo>
                <a:close/>
                <a:moveTo>
                  <a:pt x="5867" y="3056"/>
                </a:moveTo>
                <a:lnTo>
                  <a:pt x="6031" y="3256"/>
                </a:lnTo>
                <a:lnTo>
                  <a:pt x="6736" y="3016"/>
                </a:lnTo>
                <a:lnTo>
                  <a:pt x="6736" y="3415"/>
                </a:lnTo>
                <a:lnTo>
                  <a:pt x="6075" y="3738"/>
                </a:lnTo>
                <a:lnTo>
                  <a:pt x="6045" y="3751"/>
                </a:lnTo>
                <a:lnTo>
                  <a:pt x="6019" y="3761"/>
                </a:lnTo>
                <a:lnTo>
                  <a:pt x="5995" y="3766"/>
                </a:lnTo>
                <a:lnTo>
                  <a:pt x="5983" y="3766"/>
                </a:lnTo>
                <a:lnTo>
                  <a:pt x="5970" y="3768"/>
                </a:lnTo>
                <a:lnTo>
                  <a:pt x="5958" y="3766"/>
                </a:lnTo>
                <a:lnTo>
                  <a:pt x="5946" y="3765"/>
                </a:lnTo>
                <a:lnTo>
                  <a:pt x="5934" y="3761"/>
                </a:lnTo>
                <a:lnTo>
                  <a:pt x="5923" y="3758"/>
                </a:lnTo>
                <a:lnTo>
                  <a:pt x="5897" y="3744"/>
                </a:lnTo>
                <a:lnTo>
                  <a:pt x="5871" y="3726"/>
                </a:lnTo>
                <a:lnTo>
                  <a:pt x="5582" y="3513"/>
                </a:lnTo>
                <a:lnTo>
                  <a:pt x="5867" y="3056"/>
                </a:lnTo>
                <a:close/>
                <a:moveTo>
                  <a:pt x="2465" y="4707"/>
                </a:moveTo>
                <a:lnTo>
                  <a:pt x="2465" y="4106"/>
                </a:lnTo>
                <a:lnTo>
                  <a:pt x="2745" y="4106"/>
                </a:lnTo>
                <a:lnTo>
                  <a:pt x="2745" y="4707"/>
                </a:lnTo>
                <a:lnTo>
                  <a:pt x="2465" y="4707"/>
                </a:lnTo>
                <a:close/>
                <a:moveTo>
                  <a:pt x="280" y="1236"/>
                </a:moveTo>
                <a:lnTo>
                  <a:pt x="280" y="4707"/>
                </a:lnTo>
                <a:lnTo>
                  <a:pt x="0" y="4707"/>
                </a:lnTo>
                <a:lnTo>
                  <a:pt x="0" y="0"/>
                </a:lnTo>
                <a:lnTo>
                  <a:pt x="2745" y="0"/>
                </a:lnTo>
                <a:lnTo>
                  <a:pt x="2745" y="1649"/>
                </a:lnTo>
                <a:lnTo>
                  <a:pt x="2465" y="1649"/>
                </a:lnTo>
                <a:lnTo>
                  <a:pt x="2465" y="294"/>
                </a:lnTo>
                <a:lnTo>
                  <a:pt x="280" y="1236"/>
                </a:lnTo>
                <a:close/>
                <a:moveTo>
                  <a:pt x="4741" y="563"/>
                </a:moveTo>
                <a:lnTo>
                  <a:pt x="4741" y="563"/>
                </a:lnTo>
                <a:lnTo>
                  <a:pt x="4776" y="565"/>
                </a:lnTo>
                <a:lnTo>
                  <a:pt x="4809" y="568"/>
                </a:lnTo>
                <a:lnTo>
                  <a:pt x="4843" y="577"/>
                </a:lnTo>
                <a:lnTo>
                  <a:pt x="4874" y="588"/>
                </a:lnTo>
                <a:lnTo>
                  <a:pt x="4902" y="603"/>
                </a:lnTo>
                <a:lnTo>
                  <a:pt x="4930" y="621"/>
                </a:lnTo>
                <a:lnTo>
                  <a:pt x="4956" y="640"/>
                </a:lnTo>
                <a:lnTo>
                  <a:pt x="4981" y="663"/>
                </a:lnTo>
                <a:lnTo>
                  <a:pt x="5002" y="687"/>
                </a:lnTo>
                <a:lnTo>
                  <a:pt x="5023" y="715"/>
                </a:lnTo>
                <a:lnTo>
                  <a:pt x="5038" y="743"/>
                </a:lnTo>
                <a:lnTo>
                  <a:pt x="5054" y="775"/>
                </a:lnTo>
                <a:lnTo>
                  <a:pt x="5065" y="806"/>
                </a:lnTo>
                <a:lnTo>
                  <a:pt x="5075" y="839"/>
                </a:lnTo>
                <a:lnTo>
                  <a:pt x="5080" y="874"/>
                </a:lnTo>
                <a:lnTo>
                  <a:pt x="5084" y="909"/>
                </a:lnTo>
                <a:lnTo>
                  <a:pt x="5086" y="997"/>
                </a:lnTo>
                <a:lnTo>
                  <a:pt x="5086" y="1033"/>
                </a:lnTo>
                <a:lnTo>
                  <a:pt x="5082" y="1067"/>
                </a:lnTo>
                <a:lnTo>
                  <a:pt x="5075" y="1102"/>
                </a:lnTo>
                <a:lnTo>
                  <a:pt x="5066" y="1135"/>
                </a:lnTo>
                <a:lnTo>
                  <a:pt x="5054" y="1166"/>
                </a:lnTo>
                <a:lnTo>
                  <a:pt x="5038" y="1196"/>
                </a:lnTo>
                <a:lnTo>
                  <a:pt x="5021" y="1224"/>
                </a:lnTo>
                <a:lnTo>
                  <a:pt x="5002" y="1250"/>
                </a:lnTo>
                <a:lnTo>
                  <a:pt x="4979" y="1275"/>
                </a:lnTo>
                <a:lnTo>
                  <a:pt x="4955" y="1297"/>
                </a:lnTo>
                <a:lnTo>
                  <a:pt x="4928" y="1317"/>
                </a:lnTo>
                <a:lnTo>
                  <a:pt x="4900" y="1332"/>
                </a:lnTo>
                <a:lnTo>
                  <a:pt x="4869" y="1346"/>
                </a:lnTo>
                <a:lnTo>
                  <a:pt x="4837" y="1357"/>
                </a:lnTo>
                <a:lnTo>
                  <a:pt x="4804" y="1362"/>
                </a:lnTo>
                <a:lnTo>
                  <a:pt x="4769" y="1366"/>
                </a:lnTo>
                <a:lnTo>
                  <a:pt x="4734" y="1366"/>
                </a:lnTo>
                <a:lnTo>
                  <a:pt x="4701" y="1360"/>
                </a:lnTo>
                <a:lnTo>
                  <a:pt x="4670" y="1353"/>
                </a:lnTo>
                <a:lnTo>
                  <a:pt x="4638" y="1341"/>
                </a:lnTo>
                <a:lnTo>
                  <a:pt x="4608" y="1327"/>
                </a:lnTo>
                <a:lnTo>
                  <a:pt x="4580" y="1310"/>
                </a:lnTo>
                <a:lnTo>
                  <a:pt x="4554" y="1289"/>
                </a:lnTo>
                <a:lnTo>
                  <a:pt x="4531" y="1268"/>
                </a:lnTo>
                <a:lnTo>
                  <a:pt x="4509" y="1241"/>
                </a:lnTo>
                <a:lnTo>
                  <a:pt x="4490" y="1215"/>
                </a:lnTo>
                <a:lnTo>
                  <a:pt x="4472" y="1185"/>
                </a:lnTo>
                <a:lnTo>
                  <a:pt x="4458" y="1156"/>
                </a:lnTo>
                <a:lnTo>
                  <a:pt x="4446" y="1123"/>
                </a:lnTo>
                <a:lnTo>
                  <a:pt x="4437" y="1089"/>
                </a:lnTo>
                <a:lnTo>
                  <a:pt x="4430" y="1056"/>
                </a:lnTo>
                <a:lnTo>
                  <a:pt x="4428" y="1019"/>
                </a:lnTo>
                <a:lnTo>
                  <a:pt x="4425" y="932"/>
                </a:lnTo>
                <a:lnTo>
                  <a:pt x="4425" y="897"/>
                </a:lnTo>
                <a:lnTo>
                  <a:pt x="4428" y="862"/>
                </a:lnTo>
                <a:lnTo>
                  <a:pt x="4435" y="829"/>
                </a:lnTo>
                <a:lnTo>
                  <a:pt x="4446" y="796"/>
                </a:lnTo>
                <a:lnTo>
                  <a:pt x="4458" y="764"/>
                </a:lnTo>
                <a:lnTo>
                  <a:pt x="4472" y="734"/>
                </a:lnTo>
                <a:lnTo>
                  <a:pt x="4490" y="705"/>
                </a:lnTo>
                <a:lnTo>
                  <a:pt x="4510" y="678"/>
                </a:lnTo>
                <a:lnTo>
                  <a:pt x="4531" y="656"/>
                </a:lnTo>
                <a:lnTo>
                  <a:pt x="4556" y="633"/>
                </a:lnTo>
                <a:lnTo>
                  <a:pt x="4584" y="614"/>
                </a:lnTo>
                <a:lnTo>
                  <a:pt x="4612" y="598"/>
                </a:lnTo>
                <a:lnTo>
                  <a:pt x="4642" y="584"/>
                </a:lnTo>
                <a:lnTo>
                  <a:pt x="4673" y="574"/>
                </a:lnTo>
                <a:lnTo>
                  <a:pt x="4706" y="567"/>
                </a:lnTo>
                <a:lnTo>
                  <a:pt x="4741" y="563"/>
                </a:lnTo>
                <a:close/>
                <a:moveTo>
                  <a:pt x="4746" y="703"/>
                </a:moveTo>
                <a:lnTo>
                  <a:pt x="4746" y="703"/>
                </a:lnTo>
                <a:lnTo>
                  <a:pt x="4727" y="705"/>
                </a:lnTo>
                <a:lnTo>
                  <a:pt x="4710" y="708"/>
                </a:lnTo>
                <a:lnTo>
                  <a:pt x="4692" y="715"/>
                </a:lnTo>
                <a:lnTo>
                  <a:pt x="4677" y="722"/>
                </a:lnTo>
                <a:lnTo>
                  <a:pt x="4659" y="731"/>
                </a:lnTo>
                <a:lnTo>
                  <a:pt x="4645" y="743"/>
                </a:lnTo>
                <a:lnTo>
                  <a:pt x="4629" y="755"/>
                </a:lnTo>
                <a:lnTo>
                  <a:pt x="4617" y="769"/>
                </a:lnTo>
                <a:lnTo>
                  <a:pt x="4605" y="785"/>
                </a:lnTo>
                <a:lnTo>
                  <a:pt x="4594" y="801"/>
                </a:lnTo>
                <a:lnTo>
                  <a:pt x="4586" y="820"/>
                </a:lnTo>
                <a:lnTo>
                  <a:pt x="4577" y="839"/>
                </a:lnTo>
                <a:lnTo>
                  <a:pt x="4572" y="860"/>
                </a:lnTo>
                <a:lnTo>
                  <a:pt x="4566" y="881"/>
                </a:lnTo>
                <a:lnTo>
                  <a:pt x="4565" y="904"/>
                </a:lnTo>
                <a:lnTo>
                  <a:pt x="4565" y="927"/>
                </a:lnTo>
                <a:lnTo>
                  <a:pt x="4568" y="1016"/>
                </a:lnTo>
                <a:lnTo>
                  <a:pt x="4570" y="1040"/>
                </a:lnTo>
                <a:lnTo>
                  <a:pt x="4573" y="1065"/>
                </a:lnTo>
                <a:lnTo>
                  <a:pt x="4580" y="1088"/>
                </a:lnTo>
                <a:lnTo>
                  <a:pt x="4587" y="1109"/>
                </a:lnTo>
                <a:lnTo>
                  <a:pt x="4596" y="1128"/>
                </a:lnTo>
                <a:lnTo>
                  <a:pt x="4607" y="1145"/>
                </a:lnTo>
                <a:lnTo>
                  <a:pt x="4619" y="1161"/>
                </a:lnTo>
                <a:lnTo>
                  <a:pt x="4633" y="1175"/>
                </a:lnTo>
                <a:lnTo>
                  <a:pt x="4647" y="1187"/>
                </a:lnTo>
                <a:lnTo>
                  <a:pt x="4663" y="1196"/>
                </a:lnTo>
                <a:lnTo>
                  <a:pt x="4678" y="1205"/>
                </a:lnTo>
                <a:lnTo>
                  <a:pt x="4694" y="1212"/>
                </a:lnTo>
                <a:lnTo>
                  <a:pt x="4712" y="1219"/>
                </a:lnTo>
                <a:lnTo>
                  <a:pt x="4729" y="1222"/>
                </a:lnTo>
                <a:lnTo>
                  <a:pt x="4746" y="1224"/>
                </a:lnTo>
                <a:lnTo>
                  <a:pt x="4764" y="1224"/>
                </a:lnTo>
                <a:lnTo>
                  <a:pt x="4783" y="1222"/>
                </a:lnTo>
                <a:lnTo>
                  <a:pt x="4801" y="1219"/>
                </a:lnTo>
                <a:lnTo>
                  <a:pt x="4816" y="1213"/>
                </a:lnTo>
                <a:lnTo>
                  <a:pt x="4834" y="1208"/>
                </a:lnTo>
                <a:lnTo>
                  <a:pt x="4850" y="1199"/>
                </a:lnTo>
                <a:lnTo>
                  <a:pt x="4865" y="1191"/>
                </a:lnTo>
                <a:lnTo>
                  <a:pt x="4879" y="1178"/>
                </a:lnTo>
                <a:lnTo>
                  <a:pt x="4893" y="1165"/>
                </a:lnTo>
                <a:lnTo>
                  <a:pt x="4906" y="1151"/>
                </a:lnTo>
                <a:lnTo>
                  <a:pt x="4916" y="1135"/>
                </a:lnTo>
                <a:lnTo>
                  <a:pt x="4927" y="1116"/>
                </a:lnTo>
                <a:lnTo>
                  <a:pt x="4934" y="1096"/>
                </a:lnTo>
                <a:lnTo>
                  <a:pt x="4941" y="1075"/>
                </a:lnTo>
                <a:lnTo>
                  <a:pt x="4944" y="1053"/>
                </a:lnTo>
                <a:lnTo>
                  <a:pt x="4946" y="1028"/>
                </a:lnTo>
                <a:lnTo>
                  <a:pt x="4946" y="1002"/>
                </a:lnTo>
                <a:lnTo>
                  <a:pt x="4944" y="914"/>
                </a:lnTo>
                <a:lnTo>
                  <a:pt x="4942" y="892"/>
                </a:lnTo>
                <a:lnTo>
                  <a:pt x="4937" y="869"/>
                </a:lnTo>
                <a:lnTo>
                  <a:pt x="4932" y="848"/>
                </a:lnTo>
                <a:lnTo>
                  <a:pt x="4925" y="827"/>
                </a:lnTo>
                <a:lnTo>
                  <a:pt x="4916" y="808"/>
                </a:lnTo>
                <a:lnTo>
                  <a:pt x="4906" y="790"/>
                </a:lnTo>
                <a:lnTo>
                  <a:pt x="4893" y="775"/>
                </a:lnTo>
                <a:lnTo>
                  <a:pt x="4879" y="761"/>
                </a:lnTo>
                <a:lnTo>
                  <a:pt x="4865" y="747"/>
                </a:lnTo>
                <a:lnTo>
                  <a:pt x="4851" y="734"/>
                </a:lnTo>
                <a:lnTo>
                  <a:pt x="4834" y="726"/>
                </a:lnTo>
                <a:lnTo>
                  <a:pt x="4818" y="717"/>
                </a:lnTo>
                <a:lnTo>
                  <a:pt x="4801" y="710"/>
                </a:lnTo>
                <a:lnTo>
                  <a:pt x="4783" y="706"/>
                </a:lnTo>
                <a:lnTo>
                  <a:pt x="4764" y="705"/>
                </a:lnTo>
                <a:lnTo>
                  <a:pt x="4746" y="703"/>
                </a:lnTo>
                <a:close/>
                <a:moveTo>
                  <a:pt x="5336" y="4707"/>
                </a:moveTo>
                <a:lnTo>
                  <a:pt x="4816" y="3845"/>
                </a:lnTo>
                <a:lnTo>
                  <a:pt x="4806" y="3826"/>
                </a:lnTo>
                <a:lnTo>
                  <a:pt x="4795" y="3805"/>
                </a:lnTo>
                <a:lnTo>
                  <a:pt x="4788" y="3786"/>
                </a:lnTo>
                <a:lnTo>
                  <a:pt x="4781" y="3765"/>
                </a:lnTo>
                <a:lnTo>
                  <a:pt x="4778" y="3745"/>
                </a:lnTo>
                <a:lnTo>
                  <a:pt x="4774" y="3724"/>
                </a:lnTo>
                <a:lnTo>
                  <a:pt x="4773" y="3703"/>
                </a:lnTo>
                <a:lnTo>
                  <a:pt x="4771" y="3682"/>
                </a:lnTo>
                <a:lnTo>
                  <a:pt x="4773" y="3663"/>
                </a:lnTo>
                <a:lnTo>
                  <a:pt x="4774" y="3642"/>
                </a:lnTo>
                <a:lnTo>
                  <a:pt x="4778" y="3621"/>
                </a:lnTo>
                <a:lnTo>
                  <a:pt x="4783" y="3602"/>
                </a:lnTo>
                <a:lnTo>
                  <a:pt x="4788" y="3581"/>
                </a:lnTo>
                <a:lnTo>
                  <a:pt x="4795" y="3562"/>
                </a:lnTo>
                <a:lnTo>
                  <a:pt x="4804" y="3541"/>
                </a:lnTo>
                <a:lnTo>
                  <a:pt x="4813" y="3522"/>
                </a:lnTo>
                <a:lnTo>
                  <a:pt x="5114" y="2917"/>
                </a:lnTo>
                <a:lnTo>
                  <a:pt x="4862" y="2291"/>
                </a:lnTo>
                <a:lnTo>
                  <a:pt x="4649" y="2577"/>
                </a:lnTo>
                <a:lnTo>
                  <a:pt x="4631" y="2600"/>
                </a:lnTo>
                <a:lnTo>
                  <a:pt x="4615" y="2618"/>
                </a:lnTo>
                <a:lnTo>
                  <a:pt x="4598" y="2630"/>
                </a:lnTo>
                <a:lnTo>
                  <a:pt x="4584" y="2640"/>
                </a:lnTo>
                <a:lnTo>
                  <a:pt x="4568" y="2646"/>
                </a:lnTo>
                <a:lnTo>
                  <a:pt x="4554" y="2647"/>
                </a:lnTo>
                <a:lnTo>
                  <a:pt x="4540" y="2647"/>
                </a:lnTo>
                <a:lnTo>
                  <a:pt x="4524" y="2644"/>
                </a:lnTo>
                <a:lnTo>
                  <a:pt x="4510" y="2637"/>
                </a:lnTo>
                <a:lnTo>
                  <a:pt x="4496" y="2630"/>
                </a:lnTo>
                <a:lnTo>
                  <a:pt x="4465" y="2609"/>
                </a:lnTo>
                <a:lnTo>
                  <a:pt x="4430" y="2584"/>
                </a:lnTo>
                <a:lnTo>
                  <a:pt x="4392" y="2558"/>
                </a:lnTo>
                <a:lnTo>
                  <a:pt x="3829" y="2208"/>
                </a:lnTo>
                <a:lnTo>
                  <a:pt x="4035" y="1951"/>
                </a:lnTo>
                <a:lnTo>
                  <a:pt x="4409" y="2124"/>
                </a:lnTo>
                <a:lnTo>
                  <a:pt x="4603" y="1764"/>
                </a:lnTo>
                <a:lnTo>
                  <a:pt x="4636" y="1705"/>
                </a:lnTo>
                <a:lnTo>
                  <a:pt x="4652" y="1677"/>
                </a:lnTo>
                <a:lnTo>
                  <a:pt x="4671" y="1647"/>
                </a:lnTo>
                <a:lnTo>
                  <a:pt x="4689" y="1621"/>
                </a:lnTo>
                <a:lnTo>
                  <a:pt x="4710" y="1598"/>
                </a:lnTo>
                <a:lnTo>
                  <a:pt x="4729" y="1577"/>
                </a:lnTo>
                <a:lnTo>
                  <a:pt x="4740" y="1568"/>
                </a:lnTo>
                <a:lnTo>
                  <a:pt x="4750" y="1561"/>
                </a:lnTo>
                <a:lnTo>
                  <a:pt x="4993" y="1413"/>
                </a:lnTo>
                <a:lnTo>
                  <a:pt x="5031" y="1390"/>
                </a:lnTo>
                <a:lnTo>
                  <a:pt x="5066" y="1374"/>
                </a:lnTo>
                <a:lnTo>
                  <a:pt x="5100" y="1360"/>
                </a:lnTo>
                <a:lnTo>
                  <a:pt x="5117" y="1357"/>
                </a:lnTo>
                <a:lnTo>
                  <a:pt x="5135" y="1353"/>
                </a:lnTo>
                <a:lnTo>
                  <a:pt x="5152" y="1352"/>
                </a:lnTo>
                <a:lnTo>
                  <a:pt x="5170" y="1350"/>
                </a:lnTo>
                <a:lnTo>
                  <a:pt x="5187" y="1350"/>
                </a:lnTo>
                <a:lnTo>
                  <a:pt x="5206" y="1352"/>
                </a:lnTo>
                <a:lnTo>
                  <a:pt x="5226" y="1353"/>
                </a:lnTo>
                <a:lnTo>
                  <a:pt x="5245" y="1357"/>
                </a:lnTo>
                <a:lnTo>
                  <a:pt x="5287" y="1369"/>
                </a:lnTo>
                <a:lnTo>
                  <a:pt x="5766" y="1516"/>
                </a:lnTo>
                <a:lnTo>
                  <a:pt x="5785" y="1523"/>
                </a:lnTo>
                <a:lnTo>
                  <a:pt x="5804" y="1530"/>
                </a:lnTo>
                <a:lnTo>
                  <a:pt x="5823" y="1539"/>
                </a:lnTo>
                <a:lnTo>
                  <a:pt x="5841" y="1549"/>
                </a:lnTo>
                <a:lnTo>
                  <a:pt x="5858" y="1560"/>
                </a:lnTo>
                <a:lnTo>
                  <a:pt x="5876" y="1572"/>
                </a:lnTo>
                <a:lnTo>
                  <a:pt x="5907" y="1598"/>
                </a:lnTo>
                <a:lnTo>
                  <a:pt x="5934" y="1624"/>
                </a:lnTo>
                <a:lnTo>
                  <a:pt x="5958" y="1654"/>
                </a:lnTo>
                <a:lnTo>
                  <a:pt x="5969" y="1668"/>
                </a:lnTo>
                <a:lnTo>
                  <a:pt x="5977" y="1682"/>
                </a:lnTo>
                <a:lnTo>
                  <a:pt x="5984" y="1698"/>
                </a:lnTo>
                <a:lnTo>
                  <a:pt x="5989" y="1712"/>
                </a:lnTo>
                <a:lnTo>
                  <a:pt x="6226" y="2352"/>
                </a:lnTo>
                <a:lnTo>
                  <a:pt x="5899" y="2352"/>
                </a:lnTo>
                <a:lnTo>
                  <a:pt x="5677" y="1841"/>
                </a:lnTo>
                <a:lnTo>
                  <a:pt x="5432" y="1841"/>
                </a:lnTo>
                <a:lnTo>
                  <a:pt x="5752" y="2602"/>
                </a:lnTo>
                <a:lnTo>
                  <a:pt x="5781" y="2673"/>
                </a:lnTo>
                <a:lnTo>
                  <a:pt x="5792" y="2705"/>
                </a:lnTo>
                <a:lnTo>
                  <a:pt x="5801" y="2733"/>
                </a:lnTo>
                <a:lnTo>
                  <a:pt x="5806" y="2761"/>
                </a:lnTo>
                <a:lnTo>
                  <a:pt x="5811" y="2785"/>
                </a:lnTo>
                <a:lnTo>
                  <a:pt x="5811" y="2810"/>
                </a:lnTo>
                <a:lnTo>
                  <a:pt x="5809" y="2833"/>
                </a:lnTo>
                <a:lnTo>
                  <a:pt x="5806" y="2855"/>
                </a:lnTo>
                <a:lnTo>
                  <a:pt x="5799" y="2880"/>
                </a:lnTo>
                <a:lnTo>
                  <a:pt x="5790" y="2906"/>
                </a:lnTo>
                <a:lnTo>
                  <a:pt x="5778" y="2932"/>
                </a:lnTo>
                <a:lnTo>
                  <a:pt x="5762" y="2962"/>
                </a:lnTo>
                <a:lnTo>
                  <a:pt x="5745" y="2993"/>
                </a:lnTo>
                <a:lnTo>
                  <a:pt x="5701" y="3065"/>
                </a:lnTo>
                <a:lnTo>
                  <a:pt x="5271" y="3765"/>
                </a:lnTo>
                <a:lnTo>
                  <a:pt x="5773" y="4707"/>
                </a:lnTo>
                <a:lnTo>
                  <a:pt x="5336" y="4707"/>
                </a:lnTo>
                <a:close/>
              </a:path>
            </a:pathLst>
          </a:custGeom>
          <a:solidFill>
            <a:schemeClr val="bg1"/>
          </a:solidFill>
          <a:ln w="9525">
            <a:noFill/>
            <a:round/>
            <a:headEnd/>
            <a:tailEnd/>
          </a:ln>
        </p:spPr>
        <p:txBody>
          <a:bodyPr/>
          <a:lstStyle/>
          <a:p>
            <a:endParaRPr lang="de-DE" sz="1600">
              <a:latin typeface="+mj-lt"/>
            </a:endParaRPr>
          </a:p>
        </p:txBody>
      </p:sp>
      <p:sp>
        <p:nvSpPr>
          <p:cNvPr id="38" name="AutoShape 30"/>
          <p:cNvSpPr>
            <a:spLocks noChangeAspect="1" noChangeArrowheads="1" noTextEdit="1"/>
          </p:cNvSpPr>
          <p:nvPr/>
        </p:nvSpPr>
        <p:spPr bwMode="auto">
          <a:xfrm>
            <a:off x="7415633" y="1915116"/>
            <a:ext cx="477894" cy="409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08" tIns="34254" rIns="68508" bIns="34254" numCol="1" anchor="t" anchorCtr="0" compatLnSpc="1">
            <a:prstTxWarp prst="textNoShape">
              <a:avLst/>
            </a:prstTxWarp>
          </a:bodyPr>
          <a:lstStyle/>
          <a:p>
            <a:endParaRPr lang="en-IN" sz="1600" dirty="0">
              <a:latin typeface="+mj-lt"/>
            </a:endParaRPr>
          </a:p>
        </p:txBody>
      </p:sp>
      <p:sp>
        <p:nvSpPr>
          <p:cNvPr id="39" name="Freeform 69"/>
          <p:cNvSpPr>
            <a:spLocks noEditPoints="1"/>
          </p:cNvSpPr>
          <p:nvPr/>
        </p:nvSpPr>
        <p:spPr bwMode="auto">
          <a:xfrm rot="19623757">
            <a:off x="7414970" y="4856435"/>
            <a:ext cx="515545" cy="480919"/>
          </a:xfrm>
          <a:custGeom>
            <a:avLst/>
            <a:gdLst>
              <a:gd name="T0" fmla="*/ 43 w 169"/>
              <a:gd name="T1" fmla="*/ 76 h 159"/>
              <a:gd name="T2" fmla="*/ 80 w 169"/>
              <a:gd name="T3" fmla="*/ 1 h 159"/>
              <a:gd name="T4" fmla="*/ 81 w 169"/>
              <a:gd name="T5" fmla="*/ 0 h 159"/>
              <a:gd name="T6" fmla="*/ 82 w 169"/>
              <a:gd name="T7" fmla="*/ 1 h 159"/>
              <a:gd name="T8" fmla="*/ 126 w 169"/>
              <a:gd name="T9" fmla="*/ 77 h 159"/>
              <a:gd name="T10" fmla="*/ 126 w 169"/>
              <a:gd name="T11" fmla="*/ 79 h 159"/>
              <a:gd name="T12" fmla="*/ 125 w 169"/>
              <a:gd name="T13" fmla="*/ 79 h 159"/>
              <a:gd name="T14" fmla="*/ 45 w 169"/>
              <a:gd name="T15" fmla="*/ 79 h 159"/>
              <a:gd name="T16" fmla="*/ 42 w 169"/>
              <a:gd name="T17" fmla="*/ 79 h 159"/>
              <a:gd name="T18" fmla="*/ 42 w 169"/>
              <a:gd name="T19" fmla="*/ 79 h 159"/>
              <a:gd name="T20" fmla="*/ 43 w 169"/>
              <a:gd name="T21" fmla="*/ 76 h 159"/>
              <a:gd name="T22" fmla="*/ 125 w 169"/>
              <a:gd name="T23" fmla="*/ 55 h 159"/>
              <a:gd name="T24" fmla="*/ 122 w 169"/>
              <a:gd name="T25" fmla="*/ 55 h 159"/>
              <a:gd name="T26" fmla="*/ 133 w 169"/>
              <a:gd name="T27" fmla="*/ 73 h 159"/>
              <a:gd name="T28" fmla="*/ 125 w 169"/>
              <a:gd name="T29" fmla="*/ 87 h 159"/>
              <a:gd name="T30" fmla="*/ 82 w 169"/>
              <a:gd name="T31" fmla="*/ 87 h 159"/>
              <a:gd name="T32" fmla="*/ 80 w 169"/>
              <a:gd name="T33" fmla="*/ 99 h 159"/>
              <a:gd name="T34" fmla="*/ 125 w 169"/>
              <a:gd name="T35" fmla="*/ 143 h 159"/>
              <a:gd name="T36" fmla="*/ 169 w 169"/>
              <a:gd name="T37" fmla="*/ 99 h 159"/>
              <a:gd name="T38" fmla="*/ 125 w 169"/>
              <a:gd name="T39" fmla="*/ 55 h 159"/>
              <a:gd name="T40" fmla="*/ 74 w 169"/>
              <a:gd name="T41" fmla="*/ 87 h 159"/>
              <a:gd name="T42" fmla="*/ 45 w 169"/>
              <a:gd name="T43" fmla="*/ 87 h 159"/>
              <a:gd name="T44" fmla="*/ 36 w 169"/>
              <a:gd name="T45" fmla="*/ 73 h 159"/>
              <a:gd name="T46" fmla="*/ 37 w 169"/>
              <a:gd name="T47" fmla="*/ 71 h 159"/>
              <a:gd name="T48" fmla="*/ 9 w 169"/>
              <a:gd name="T49" fmla="*/ 71 h 159"/>
              <a:gd name="T50" fmla="*/ 0 w 169"/>
              <a:gd name="T51" fmla="*/ 79 h 159"/>
              <a:gd name="T52" fmla="*/ 0 w 169"/>
              <a:gd name="T53" fmla="*/ 151 h 159"/>
              <a:gd name="T54" fmla="*/ 9 w 169"/>
              <a:gd name="T55" fmla="*/ 159 h 159"/>
              <a:gd name="T56" fmla="*/ 81 w 169"/>
              <a:gd name="T57" fmla="*/ 159 h 159"/>
              <a:gd name="T58" fmla="*/ 89 w 169"/>
              <a:gd name="T59" fmla="*/ 151 h 159"/>
              <a:gd name="T60" fmla="*/ 89 w 169"/>
              <a:gd name="T61" fmla="*/ 136 h 159"/>
              <a:gd name="T62" fmla="*/ 73 w 169"/>
              <a:gd name="T63" fmla="*/ 99 h 159"/>
              <a:gd name="T64" fmla="*/ 74 w 169"/>
              <a:gd name="T65" fmla="*/ 8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9" h="159">
                <a:moveTo>
                  <a:pt x="43" y="76"/>
                </a:moveTo>
                <a:cubicBezTo>
                  <a:pt x="80" y="1"/>
                  <a:pt x="80" y="1"/>
                  <a:pt x="80" y="1"/>
                </a:cubicBezTo>
                <a:cubicBezTo>
                  <a:pt x="81" y="0"/>
                  <a:pt x="81" y="0"/>
                  <a:pt x="81" y="0"/>
                </a:cubicBezTo>
                <a:cubicBezTo>
                  <a:pt x="81" y="0"/>
                  <a:pt x="81" y="0"/>
                  <a:pt x="82" y="1"/>
                </a:cubicBezTo>
                <a:cubicBezTo>
                  <a:pt x="126" y="77"/>
                  <a:pt x="126" y="77"/>
                  <a:pt x="126" y="77"/>
                </a:cubicBezTo>
                <a:cubicBezTo>
                  <a:pt x="126" y="78"/>
                  <a:pt x="126" y="78"/>
                  <a:pt x="126" y="79"/>
                </a:cubicBezTo>
                <a:cubicBezTo>
                  <a:pt x="126" y="79"/>
                  <a:pt x="125" y="79"/>
                  <a:pt x="125" y="79"/>
                </a:cubicBezTo>
                <a:cubicBezTo>
                  <a:pt x="45" y="79"/>
                  <a:pt x="45" y="79"/>
                  <a:pt x="45" y="79"/>
                </a:cubicBezTo>
                <a:cubicBezTo>
                  <a:pt x="43" y="79"/>
                  <a:pt x="42" y="79"/>
                  <a:pt x="42" y="79"/>
                </a:cubicBezTo>
                <a:cubicBezTo>
                  <a:pt x="42" y="79"/>
                  <a:pt x="42" y="79"/>
                  <a:pt x="42" y="79"/>
                </a:cubicBezTo>
                <a:cubicBezTo>
                  <a:pt x="42" y="78"/>
                  <a:pt x="42" y="78"/>
                  <a:pt x="43" y="76"/>
                </a:cubicBezTo>
                <a:close/>
                <a:moveTo>
                  <a:pt x="125" y="55"/>
                </a:moveTo>
                <a:cubicBezTo>
                  <a:pt x="124" y="55"/>
                  <a:pt x="123" y="55"/>
                  <a:pt x="122" y="55"/>
                </a:cubicBezTo>
                <a:cubicBezTo>
                  <a:pt x="133" y="73"/>
                  <a:pt x="133" y="73"/>
                  <a:pt x="133" y="73"/>
                </a:cubicBezTo>
                <a:cubicBezTo>
                  <a:pt x="137" y="81"/>
                  <a:pt x="133" y="87"/>
                  <a:pt x="125" y="87"/>
                </a:cubicBezTo>
                <a:cubicBezTo>
                  <a:pt x="82" y="87"/>
                  <a:pt x="82" y="87"/>
                  <a:pt x="82" y="87"/>
                </a:cubicBezTo>
                <a:cubicBezTo>
                  <a:pt x="81" y="91"/>
                  <a:pt x="80" y="95"/>
                  <a:pt x="80" y="99"/>
                </a:cubicBezTo>
                <a:cubicBezTo>
                  <a:pt x="80" y="123"/>
                  <a:pt x="100" y="143"/>
                  <a:pt x="125" y="143"/>
                </a:cubicBezTo>
                <a:cubicBezTo>
                  <a:pt x="149" y="143"/>
                  <a:pt x="169" y="123"/>
                  <a:pt x="169" y="99"/>
                </a:cubicBezTo>
                <a:cubicBezTo>
                  <a:pt x="169" y="75"/>
                  <a:pt x="149" y="55"/>
                  <a:pt x="125" y="55"/>
                </a:cubicBezTo>
                <a:close/>
                <a:moveTo>
                  <a:pt x="74" y="87"/>
                </a:moveTo>
                <a:cubicBezTo>
                  <a:pt x="45" y="87"/>
                  <a:pt x="45" y="87"/>
                  <a:pt x="45" y="87"/>
                </a:cubicBezTo>
                <a:cubicBezTo>
                  <a:pt x="36" y="87"/>
                  <a:pt x="32" y="81"/>
                  <a:pt x="36" y="73"/>
                </a:cubicBezTo>
                <a:cubicBezTo>
                  <a:pt x="37" y="71"/>
                  <a:pt x="37" y="71"/>
                  <a:pt x="37" y="71"/>
                </a:cubicBezTo>
                <a:cubicBezTo>
                  <a:pt x="9" y="71"/>
                  <a:pt x="9" y="71"/>
                  <a:pt x="9" y="71"/>
                </a:cubicBezTo>
                <a:cubicBezTo>
                  <a:pt x="4" y="71"/>
                  <a:pt x="0" y="75"/>
                  <a:pt x="0" y="79"/>
                </a:cubicBezTo>
                <a:cubicBezTo>
                  <a:pt x="0" y="151"/>
                  <a:pt x="0" y="151"/>
                  <a:pt x="0" y="151"/>
                </a:cubicBezTo>
                <a:cubicBezTo>
                  <a:pt x="0" y="155"/>
                  <a:pt x="4" y="159"/>
                  <a:pt x="9" y="159"/>
                </a:cubicBezTo>
                <a:cubicBezTo>
                  <a:pt x="81" y="159"/>
                  <a:pt x="81" y="159"/>
                  <a:pt x="81" y="159"/>
                </a:cubicBezTo>
                <a:cubicBezTo>
                  <a:pt x="85" y="159"/>
                  <a:pt x="89" y="155"/>
                  <a:pt x="89" y="151"/>
                </a:cubicBezTo>
                <a:cubicBezTo>
                  <a:pt x="89" y="136"/>
                  <a:pt x="89" y="136"/>
                  <a:pt x="89" y="136"/>
                </a:cubicBezTo>
                <a:cubicBezTo>
                  <a:pt x="79" y="127"/>
                  <a:pt x="73" y="114"/>
                  <a:pt x="73" y="99"/>
                </a:cubicBezTo>
                <a:cubicBezTo>
                  <a:pt x="73" y="95"/>
                  <a:pt x="73" y="91"/>
                  <a:pt x="74" y="87"/>
                </a:cubicBezTo>
                <a:close/>
              </a:path>
            </a:pathLst>
          </a:custGeom>
          <a:solidFill>
            <a:srgbClr val="646464"/>
          </a:solidFill>
          <a:ln w="9525">
            <a:noFill/>
            <a:round/>
            <a:headEnd/>
            <a:tailEnd/>
          </a:ln>
        </p:spPr>
        <p:txBody>
          <a:bodyPr vert="horz" wrap="square" lIns="75534" tIns="37766" rIns="75534" bIns="37766" numCol="1" anchor="t" anchorCtr="0" compatLnSpc="1">
            <a:prstTxWarp prst="textNoShape">
              <a:avLst/>
            </a:prstTxWarp>
          </a:bodyPr>
          <a:lstStyle/>
          <a:p>
            <a:endParaRPr lang="en-US" sz="1600" dirty="0">
              <a:latin typeface="+mj-lt"/>
            </a:endParaRPr>
          </a:p>
        </p:txBody>
      </p:sp>
      <p:sp>
        <p:nvSpPr>
          <p:cNvPr id="17" name="Oval 16"/>
          <p:cNvSpPr/>
          <p:nvPr/>
        </p:nvSpPr>
        <p:spPr>
          <a:xfrm>
            <a:off x="4730300" y="2215938"/>
            <a:ext cx="2779440" cy="2764572"/>
          </a:xfrm>
          <a:prstGeom prst="ellipse">
            <a:avLst/>
          </a:prstGeom>
          <a:noFill/>
          <a:ln w="38100">
            <a:solidFill>
              <a:srgbClr val="FFE6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dirty="0">
              <a:solidFill>
                <a:schemeClr val="tx1"/>
              </a:solidFill>
              <a:latin typeface="+mj-lt"/>
            </a:endParaRPr>
          </a:p>
        </p:txBody>
      </p:sp>
      <p:sp>
        <p:nvSpPr>
          <p:cNvPr id="12" name="TextBox 11"/>
          <p:cNvSpPr txBox="1"/>
          <p:nvPr/>
        </p:nvSpPr>
        <p:spPr>
          <a:xfrm>
            <a:off x="5148873" y="4134109"/>
            <a:ext cx="1990885" cy="236960"/>
          </a:xfrm>
          <a:prstGeom prst="rect">
            <a:avLst/>
          </a:prstGeom>
          <a:noFill/>
        </p:spPr>
        <p:txBody>
          <a:bodyPr wrap="square" lIns="0" tIns="27404" rIns="0" bIns="0" rtlCol="0">
            <a:spAutoFit/>
          </a:bodyPr>
          <a:lstStyle/>
          <a:p>
            <a:pPr algn="ctr">
              <a:lnSpc>
                <a:spcPct val="85000"/>
              </a:lnSpc>
              <a:spcAft>
                <a:spcPts val="450"/>
              </a:spcAft>
              <a:buClr>
                <a:schemeClr val="accent2"/>
              </a:buClr>
              <a:buSzPct val="70000"/>
            </a:pPr>
            <a:r>
              <a:rPr lang="en-US" sz="1600" b="1" dirty="0">
                <a:solidFill>
                  <a:srgbClr val="FFE600"/>
                </a:solidFill>
                <a:latin typeface="+mj-lt"/>
              </a:rPr>
              <a:t>Risk infrastructure</a:t>
            </a:r>
          </a:p>
        </p:txBody>
      </p:sp>
      <p:sp>
        <p:nvSpPr>
          <p:cNvPr id="14" name="AutoShape 7"/>
          <p:cNvSpPr>
            <a:spLocks noChangeAspect="1" noChangeArrowheads="1" noTextEdit="1"/>
          </p:cNvSpPr>
          <p:nvPr/>
        </p:nvSpPr>
        <p:spPr bwMode="auto">
          <a:xfrm rot="3313857">
            <a:off x="7472101" y="1834498"/>
            <a:ext cx="404765" cy="486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08" tIns="34254" rIns="68508" bIns="34254" numCol="1" anchor="t" anchorCtr="0" compatLnSpc="1">
            <a:prstTxWarp prst="textNoShape">
              <a:avLst/>
            </a:prstTxWarp>
          </a:bodyPr>
          <a:lstStyle/>
          <a:p>
            <a:endParaRPr lang="en-US" sz="1600" dirty="0">
              <a:latin typeface="+mj-lt"/>
            </a:endParaRPr>
          </a:p>
        </p:txBody>
      </p:sp>
      <p:sp>
        <p:nvSpPr>
          <p:cNvPr id="15" name="Rectangle 9"/>
          <p:cNvSpPr>
            <a:spLocks noChangeArrowheads="1"/>
          </p:cNvSpPr>
          <p:nvPr/>
        </p:nvSpPr>
        <p:spPr bwMode="auto">
          <a:xfrm rot="3313857">
            <a:off x="7485735" y="1829004"/>
            <a:ext cx="28212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091"/>
            <a:r>
              <a:rPr lang="en-US" altLang="en-US" sz="3600" b="1" dirty="0" smtClean="0">
                <a:latin typeface="+mj-lt"/>
              </a:rPr>
              <a:t>?</a:t>
            </a:r>
            <a:endParaRPr lang="en-US" altLang="en-US" sz="3600" dirty="0">
              <a:latin typeface="+mj-lt"/>
            </a:endParaRPr>
          </a:p>
        </p:txBody>
      </p:sp>
      <p:sp>
        <p:nvSpPr>
          <p:cNvPr id="10" name="Freeform 47"/>
          <p:cNvSpPr>
            <a:spLocks noChangeAspect="1" noEditPoints="1"/>
          </p:cNvSpPr>
          <p:nvPr/>
        </p:nvSpPr>
        <p:spPr bwMode="auto">
          <a:xfrm>
            <a:off x="5401940" y="2904348"/>
            <a:ext cx="1469679" cy="1147996"/>
          </a:xfrm>
          <a:custGeom>
            <a:avLst/>
            <a:gdLst>
              <a:gd name="T0" fmla="*/ 2147483647 w 6058"/>
              <a:gd name="T1" fmla="*/ 2147483647 h 4763"/>
              <a:gd name="T2" fmla="*/ 2147483647 w 6058"/>
              <a:gd name="T3" fmla="*/ 2147483647 h 4763"/>
              <a:gd name="T4" fmla="*/ 2147483647 w 6058"/>
              <a:gd name="T5" fmla="*/ 2147483647 h 4763"/>
              <a:gd name="T6" fmla="*/ 2147483647 w 6058"/>
              <a:gd name="T7" fmla="*/ 2147483647 h 4763"/>
              <a:gd name="T8" fmla="*/ 2147483647 w 6058"/>
              <a:gd name="T9" fmla="*/ 2147483647 h 4763"/>
              <a:gd name="T10" fmla="*/ 2147483647 w 6058"/>
              <a:gd name="T11" fmla="*/ 2147483647 h 4763"/>
              <a:gd name="T12" fmla="*/ 2147483647 w 6058"/>
              <a:gd name="T13" fmla="*/ 2147483647 h 4763"/>
              <a:gd name="T14" fmla="*/ 2147483647 w 6058"/>
              <a:gd name="T15" fmla="*/ 2147483647 h 4763"/>
              <a:gd name="T16" fmla="*/ 2147483647 w 6058"/>
              <a:gd name="T17" fmla="*/ 2147483647 h 4763"/>
              <a:gd name="T18" fmla="*/ 2147483647 w 6058"/>
              <a:gd name="T19" fmla="*/ 2147483647 h 4763"/>
              <a:gd name="T20" fmla="*/ 2147483647 w 6058"/>
              <a:gd name="T21" fmla="*/ 2147483647 h 4763"/>
              <a:gd name="T22" fmla="*/ 2147483647 w 6058"/>
              <a:gd name="T23" fmla="*/ 2147483647 h 4763"/>
              <a:gd name="T24" fmla="*/ 2147483647 w 6058"/>
              <a:gd name="T25" fmla="*/ 2147483647 h 4763"/>
              <a:gd name="T26" fmla="*/ 2147483647 w 6058"/>
              <a:gd name="T27" fmla="*/ 2147483647 h 4763"/>
              <a:gd name="T28" fmla="*/ 2147483647 w 6058"/>
              <a:gd name="T29" fmla="*/ 2147483647 h 4763"/>
              <a:gd name="T30" fmla="*/ 2147483647 w 6058"/>
              <a:gd name="T31" fmla="*/ 2147483647 h 4763"/>
              <a:gd name="T32" fmla="*/ 2147483647 w 6058"/>
              <a:gd name="T33" fmla="*/ 2147483647 h 4763"/>
              <a:gd name="T34" fmla="*/ 2147483647 w 6058"/>
              <a:gd name="T35" fmla="*/ 2147483647 h 4763"/>
              <a:gd name="T36" fmla="*/ 2147483647 w 6058"/>
              <a:gd name="T37" fmla="*/ 2147483647 h 4763"/>
              <a:gd name="T38" fmla="*/ 2147483647 w 6058"/>
              <a:gd name="T39" fmla="*/ 2147483647 h 4763"/>
              <a:gd name="T40" fmla="*/ 2147483647 w 6058"/>
              <a:gd name="T41" fmla="*/ 2147483647 h 4763"/>
              <a:gd name="T42" fmla="*/ 2147483647 w 6058"/>
              <a:gd name="T43" fmla="*/ 2147483647 h 4763"/>
              <a:gd name="T44" fmla="*/ 2147483647 w 6058"/>
              <a:gd name="T45" fmla="*/ 2147483647 h 4763"/>
              <a:gd name="T46" fmla="*/ 2147483647 w 6058"/>
              <a:gd name="T47" fmla="*/ 2147483647 h 4763"/>
              <a:gd name="T48" fmla="*/ 2147483647 w 6058"/>
              <a:gd name="T49" fmla="*/ 2147483647 h 4763"/>
              <a:gd name="T50" fmla="*/ 2147483647 w 6058"/>
              <a:gd name="T51" fmla="*/ 2147483647 h 4763"/>
              <a:gd name="T52" fmla="*/ 2147483647 w 6058"/>
              <a:gd name="T53" fmla="*/ 2147483647 h 4763"/>
              <a:gd name="T54" fmla="*/ 2147483647 w 6058"/>
              <a:gd name="T55" fmla="*/ 2147483647 h 4763"/>
              <a:gd name="T56" fmla="*/ 2147483647 w 6058"/>
              <a:gd name="T57" fmla="*/ 2147483647 h 4763"/>
              <a:gd name="T58" fmla="*/ 2147483647 w 6058"/>
              <a:gd name="T59" fmla="*/ 2147483647 h 4763"/>
              <a:gd name="T60" fmla="*/ 2147483647 w 6058"/>
              <a:gd name="T61" fmla="*/ 2147483647 h 4763"/>
              <a:gd name="T62" fmla="*/ 2147483647 w 6058"/>
              <a:gd name="T63" fmla="*/ 2147483647 h 4763"/>
              <a:gd name="T64" fmla="*/ 2147483647 w 6058"/>
              <a:gd name="T65" fmla="*/ 2147483647 h 4763"/>
              <a:gd name="T66" fmla="*/ 2147483647 w 6058"/>
              <a:gd name="T67" fmla="*/ 2147483647 h 4763"/>
              <a:gd name="T68" fmla="*/ 2147483647 w 6058"/>
              <a:gd name="T69" fmla="*/ 2147483647 h 4763"/>
              <a:gd name="T70" fmla="*/ 2147483647 w 6058"/>
              <a:gd name="T71" fmla="*/ 2147483647 h 4763"/>
              <a:gd name="T72" fmla="*/ 2147483647 w 6058"/>
              <a:gd name="T73" fmla="*/ 2147483647 h 4763"/>
              <a:gd name="T74" fmla="*/ 2147483647 w 6058"/>
              <a:gd name="T75" fmla="*/ 2147483647 h 4763"/>
              <a:gd name="T76" fmla="*/ 2147483647 w 6058"/>
              <a:gd name="T77" fmla="*/ 2147483647 h 4763"/>
              <a:gd name="T78" fmla="*/ 2147483647 w 6058"/>
              <a:gd name="T79" fmla="*/ 2147483647 h 4763"/>
              <a:gd name="T80" fmla="*/ 2147483647 w 6058"/>
              <a:gd name="T81" fmla="*/ 2147483647 h 4763"/>
              <a:gd name="T82" fmla="*/ 2147483647 w 6058"/>
              <a:gd name="T83" fmla="*/ 2147483647 h 4763"/>
              <a:gd name="T84" fmla="*/ 2147483647 w 6058"/>
              <a:gd name="T85" fmla="*/ 2147483647 h 4763"/>
              <a:gd name="T86" fmla="*/ 2147483647 w 6058"/>
              <a:gd name="T87" fmla="*/ 2147483647 h 4763"/>
              <a:gd name="T88" fmla="*/ 2147483647 w 6058"/>
              <a:gd name="T89" fmla="*/ 2147483647 h 4763"/>
              <a:gd name="T90" fmla="*/ 2147483647 w 6058"/>
              <a:gd name="T91" fmla="*/ 2147483647 h 4763"/>
              <a:gd name="T92" fmla="*/ 2147483647 w 6058"/>
              <a:gd name="T93" fmla="*/ 2147483647 h 4763"/>
              <a:gd name="T94" fmla="*/ 2147483647 w 6058"/>
              <a:gd name="T95" fmla="*/ 2147483647 h 4763"/>
              <a:gd name="T96" fmla="*/ 2147483647 w 6058"/>
              <a:gd name="T97" fmla="*/ 2147483647 h 4763"/>
              <a:gd name="T98" fmla="*/ 2147483647 w 6058"/>
              <a:gd name="T99" fmla="*/ 2147483647 h 4763"/>
              <a:gd name="T100" fmla="*/ 2147483647 w 6058"/>
              <a:gd name="T101" fmla="*/ 2147483647 h 4763"/>
              <a:gd name="T102" fmla="*/ 2147483647 w 6058"/>
              <a:gd name="T103" fmla="*/ 2147483647 h 4763"/>
              <a:gd name="T104" fmla="*/ 2147483647 w 6058"/>
              <a:gd name="T105" fmla="*/ 2147483647 h 4763"/>
              <a:gd name="T106" fmla="*/ 2147483647 w 6058"/>
              <a:gd name="T107" fmla="*/ 2147483647 h 4763"/>
              <a:gd name="T108" fmla="*/ 2147483647 w 6058"/>
              <a:gd name="T109" fmla="*/ 2147483647 h 4763"/>
              <a:gd name="T110" fmla="*/ 2147483647 w 6058"/>
              <a:gd name="T111" fmla="*/ 2147483647 h 4763"/>
              <a:gd name="T112" fmla="*/ 2147483647 w 6058"/>
              <a:gd name="T113" fmla="*/ 2147483647 h 4763"/>
              <a:gd name="T114" fmla="*/ 2147483647 w 6058"/>
              <a:gd name="T115" fmla="*/ 2147483647 h 4763"/>
              <a:gd name="T116" fmla="*/ 2147483647 w 6058"/>
              <a:gd name="T117" fmla="*/ 2147483647 h 4763"/>
              <a:gd name="T118" fmla="*/ 2147483647 w 6058"/>
              <a:gd name="T119" fmla="*/ 2147483647 h 4763"/>
              <a:gd name="T120" fmla="*/ 2147483647 w 6058"/>
              <a:gd name="T121" fmla="*/ 2147483647 h 4763"/>
              <a:gd name="T122" fmla="*/ 2147483647 w 6058"/>
              <a:gd name="T123" fmla="*/ 2147483647 h 476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58"/>
              <a:gd name="T187" fmla="*/ 0 h 4763"/>
              <a:gd name="T188" fmla="*/ 6058 w 6058"/>
              <a:gd name="T189" fmla="*/ 4763 h 476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58" h="4763">
                <a:moveTo>
                  <a:pt x="2838" y="634"/>
                </a:moveTo>
                <a:lnTo>
                  <a:pt x="2838" y="634"/>
                </a:lnTo>
                <a:lnTo>
                  <a:pt x="2839" y="620"/>
                </a:lnTo>
                <a:lnTo>
                  <a:pt x="2841" y="607"/>
                </a:lnTo>
                <a:lnTo>
                  <a:pt x="2844" y="595"/>
                </a:lnTo>
                <a:lnTo>
                  <a:pt x="2847" y="583"/>
                </a:lnTo>
                <a:lnTo>
                  <a:pt x="2851" y="571"/>
                </a:lnTo>
                <a:lnTo>
                  <a:pt x="2857" y="559"/>
                </a:lnTo>
                <a:lnTo>
                  <a:pt x="2865" y="547"/>
                </a:lnTo>
                <a:lnTo>
                  <a:pt x="2872" y="535"/>
                </a:lnTo>
                <a:lnTo>
                  <a:pt x="2890" y="514"/>
                </a:lnTo>
                <a:lnTo>
                  <a:pt x="2911" y="493"/>
                </a:lnTo>
                <a:lnTo>
                  <a:pt x="2935" y="474"/>
                </a:lnTo>
                <a:lnTo>
                  <a:pt x="2963" y="456"/>
                </a:lnTo>
                <a:lnTo>
                  <a:pt x="2993" y="440"/>
                </a:lnTo>
                <a:lnTo>
                  <a:pt x="3026" y="425"/>
                </a:lnTo>
                <a:lnTo>
                  <a:pt x="3060" y="413"/>
                </a:lnTo>
                <a:lnTo>
                  <a:pt x="3098" y="402"/>
                </a:lnTo>
                <a:lnTo>
                  <a:pt x="3137" y="393"/>
                </a:lnTo>
                <a:lnTo>
                  <a:pt x="3177" y="387"/>
                </a:lnTo>
                <a:lnTo>
                  <a:pt x="3219" y="384"/>
                </a:lnTo>
                <a:lnTo>
                  <a:pt x="3262" y="383"/>
                </a:lnTo>
                <a:lnTo>
                  <a:pt x="3291" y="383"/>
                </a:lnTo>
                <a:lnTo>
                  <a:pt x="3318" y="384"/>
                </a:lnTo>
                <a:lnTo>
                  <a:pt x="3324" y="369"/>
                </a:lnTo>
                <a:lnTo>
                  <a:pt x="3330" y="354"/>
                </a:lnTo>
                <a:lnTo>
                  <a:pt x="3338" y="339"/>
                </a:lnTo>
                <a:lnTo>
                  <a:pt x="3347" y="324"/>
                </a:lnTo>
                <a:lnTo>
                  <a:pt x="3358" y="311"/>
                </a:lnTo>
                <a:lnTo>
                  <a:pt x="3370" y="296"/>
                </a:lnTo>
                <a:lnTo>
                  <a:pt x="3383" y="283"/>
                </a:lnTo>
                <a:lnTo>
                  <a:pt x="3397" y="269"/>
                </a:lnTo>
                <a:lnTo>
                  <a:pt x="3427" y="244"/>
                </a:lnTo>
                <a:lnTo>
                  <a:pt x="3461" y="220"/>
                </a:lnTo>
                <a:lnTo>
                  <a:pt x="3497" y="199"/>
                </a:lnTo>
                <a:lnTo>
                  <a:pt x="3537" y="178"/>
                </a:lnTo>
                <a:lnTo>
                  <a:pt x="3581" y="160"/>
                </a:lnTo>
                <a:lnTo>
                  <a:pt x="3627" y="144"/>
                </a:lnTo>
                <a:lnTo>
                  <a:pt x="3676" y="129"/>
                </a:lnTo>
                <a:lnTo>
                  <a:pt x="3727" y="117"/>
                </a:lnTo>
                <a:lnTo>
                  <a:pt x="3781" y="108"/>
                </a:lnTo>
                <a:lnTo>
                  <a:pt x="3836" y="100"/>
                </a:lnTo>
                <a:lnTo>
                  <a:pt x="3892" y="97"/>
                </a:lnTo>
                <a:lnTo>
                  <a:pt x="3950" y="96"/>
                </a:lnTo>
                <a:lnTo>
                  <a:pt x="4002" y="96"/>
                </a:lnTo>
                <a:lnTo>
                  <a:pt x="4053" y="100"/>
                </a:lnTo>
                <a:lnTo>
                  <a:pt x="4086" y="78"/>
                </a:lnTo>
                <a:lnTo>
                  <a:pt x="4122" y="58"/>
                </a:lnTo>
                <a:lnTo>
                  <a:pt x="4159" y="40"/>
                </a:lnTo>
                <a:lnTo>
                  <a:pt x="4198" y="27"/>
                </a:lnTo>
                <a:lnTo>
                  <a:pt x="4240" y="15"/>
                </a:lnTo>
                <a:lnTo>
                  <a:pt x="4283" y="6"/>
                </a:lnTo>
                <a:lnTo>
                  <a:pt x="4328" y="1"/>
                </a:lnTo>
                <a:lnTo>
                  <a:pt x="4375" y="0"/>
                </a:lnTo>
                <a:lnTo>
                  <a:pt x="4398" y="0"/>
                </a:lnTo>
                <a:lnTo>
                  <a:pt x="4422" y="1"/>
                </a:lnTo>
                <a:lnTo>
                  <a:pt x="4467" y="6"/>
                </a:lnTo>
                <a:lnTo>
                  <a:pt x="4511" y="15"/>
                </a:lnTo>
                <a:lnTo>
                  <a:pt x="4554" y="27"/>
                </a:lnTo>
                <a:lnTo>
                  <a:pt x="4593" y="42"/>
                </a:lnTo>
                <a:lnTo>
                  <a:pt x="4632" y="60"/>
                </a:lnTo>
                <a:lnTo>
                  <a:pt x="4666" y="79"/>
                </a:lnTo>
                <a:lnTo>
                  <a:pt x="4699" y="102"/>
                </a:lnTo>
                <a:lnTo>
                  <a:pt x="4714" y="114"/>
                </a:lnTo>
                <a:lnTo>
                  <a:pt x="4729" y="127"/>
                </a:lnTo>
                <a:lnTo>
                  <a:pt x="4742" y="139"/>
                </a:lnTo>
                <a:lnTo>
                  <a:pt x="4756" y="154"/>
                </a:lnTo>
                <a:lnTo>
                  <a:pt x="4768" y="167"/>
                </a:lnTo>
                <a:lnTo>
                  <a:pt x="4778" y="182"/>
                </a:lnTo>
                <a:lnTo>
                  <a:pt x="4789" y="197"/>
                </a:lnTo>
                <a:lnTo>
                  <a:pt x="4798" y="212"/>
                </a:lnTo>
                <a:lnTo>
                  <a:pt x="4807" y="229"/>
                </a:lnTo>
                <a:lnTo>
                  <a:pt x="4814" y="245"/>
                </a:lnTo>
                <a:lnTo>
                  <a:pt x="4820" y="262"/>
                </a:lnTo>
                <a:lnTo>
                  <a:pt x="4826" y="278"/>
                </a:lnTo>
                <a:lnTo>
                  <a:pt x="4829" y="296"/>
                </a:lnTo>
                <a:lnTo>
                  <a:pt x="4834" y="312"/>
                </a:lnTo>
                <a:lnTo>
                  <a:pt x="4835" y="330"/>
                </a:lnTo>
                <a:lnTo>
                  <a:pt x="4835" y="348"/>
                </a:lnTo>
                <a:lnTo>
                  <a:pt x="4868" y="341"/>
                </a:lnTo>
                <a:lnTo>
                  <a:pt x="4902" y="332"/>
                </a:lnTo>
                <a:lnTo>
                  <a:pt x="4938" y="326"/>
                </a:lnTo>
                <a:lnTo>
                  <a:pt x="4974" y="320"/>
                </a:lnTo>
                <a:lnTo>
                  <a:pt x="5011" y="315"/>
                </a:lnTo>
                <a:lnTo>
                  <a:pt x="5050" y="312"/>
                </a:lnTo>
                <a:lnTo>
                  <a:pt x="5089" y="311"/>
                </a:lnTo>
                <a:lnTo>
                  <a:pt x="5128" y="311"/>
                </a:lnTo>
                <a:lnTo>
                  <a:pt x="5188" y="312"/>
                </a:lnTo>
                <a:lnTo>
                  <a:pt x="5246" y="315"/>
                </a:lnTo>
                <a:lnTo>
                  <a:pt x="5301" y="323"/>
                </a:lnTo>
                <a:lnTo>
                  <a:pt x="5354" y="332"/>
                </a:lnTo>
                <a:lnTo>
                  <a:pt x="5405" y="344"/>
                </a:lnTo>
                <a:lnTo>
                  <a:pt x="5452" y="359"/>
                </a:lnTo>
                <a:lnTo>
                  <a:pt x="5497" y="375"/>
                </a:lnTo>
                <a:lnTo>
                  <a:pt x="5539" y="393"/>
                </a:lnTo>
                <a:lnTo>
                  <a:pt x="5577" y="413"/>
                </a:lnTo>
                <a:lnTo>
                  <a:pt x="5593" y="423"/>
                </a:lnTo>
                <a:lnTo>
                  <a:pt x="5609" y="435"/>
                </a:lnTo>
                <a:lnTo>
                  <a:pt x="5624" y="446"/>
                </a:lnTo>
                <a:lnTo>
                  <a:pt x="5639" y="457"/>
                </a:lnTo>
                <a:lnTo>
                  <a:pt x="5651" y="469"/>
                </a:lnTo>
                <a:lnTo>
                  <a:pt x="5663" y="481"/>
                </a:lnTo>
                <a:lnTo>
                  <a:pt x="5674" y="495"/>
                </a:lnTo>
                <a:lnTo>
                  <a:pt x="5683" y="508"/>
                </a:lnTo>
                <a:lnTo>
                  <a:pt x="5690" y="522"/>
                </a:lnTo>
                <a:lnTo>
                  <a:pt x="5698" y="535"/>
                </a:lnTo>
                <a:lnTo>
                  <a:pt x="5702" y="549"/>
                </a:lnTo>
                <a:lnTo>
                  <a:pt x="5705" y="562"/>
                </a:lnTo>
                <a:lnTo>
                  <a:pt x="5708" y="577"/>
                </a:lnTo>
                <a:lnTo>
                  <a:pt x="5708" y="592"/>
                </a:lnTo>
                <a:lnTo>
                  <a:pt x="5708" y="602"/>
                </a:lnTo>
                <a:lnTo>
                  <a:pt x="5707" y="614"/>
                </a:lnTo>
                <a:lnTo>
                  <a:pt x="5705" y="626"/>
                </a:lnTo>
                <a:lnTo>
                  <a:pt x="5701" y="637"/>
                </a:lnTo>
                <a:lnTo>
                  <a:pt x="5692" y="659"/>
                </a:lnTo>
                <a:lnTo>
                  <a:pt x="5680" y="680"/>
                </a:lnTo>
                <a:lnTo>
                  <a:pt x="5663" y="701"/>
                </a:lnTo>
                <a:lnTo>
                  <a:pt x="5644" y="721"/>
                </a:lnTo>
                <a:lnTo>
                  <a:pt x="5623" y="739"/>
                </a:lnTo>
                <a:lnTo>
                  <a:pt x="5598" y="756"/>
                </a:lnTo>
                <a:lnTo>
                  <a:pt x="5130" y="756"/>
                </a:lnTo>
                <a:lnTo>
                  <a:pt x="5134" y="782"/>
                </a:lnTo>
                <a:lnTo>
                  <a:pt x="5134" y="807"/>
                </a:lnTo>
                <a:lnTo>
                  <a:pt x="5134" y="825"/>
                </a:lnTo>
                <a:lnTo>
                  <a:pt x="5133" y="843"/>
                </a:lnTo>
                <a:lnTo>
                  <a:pt x="5130" y="861"/>
                </a:lnTo>
                <a:lnTo>
                  <a:pt x="5125" y="878"/>
                </a:lnTo>
                <a:lnTo>
                  <a:pt x="5121" y="895"/>
                </a:lnTo>
                <a:lnTo>
                  <a:pt x="5115" y="912"/>
                </a:lnTo>
                <a:lnTo>
                  <a:pt x="5107" y="928"/>
                </a:lnTo>
                <a:lnTo>
                  <a:pt x="5098" y="945"/>
                </a:lnTo>
                <a:lnTo>
                  <a:pt x="5089" y="960"/>
                </a:lnTo>
                <a:lnTo>
                  <a:pt x="5079" y="975"/>
                </a:lnTo>
                <a:lnTo>
                  <a:pt x="5068" y="990"/>
                </a:lnTo>
                <a:lnTo>
                  <a:pt x="5056" y="1005"/>
                </a:lnTo>
                <a:lnTo>
                  <a:pt x="5043" y="1018"/>
                </a:lnTo>
                <a:lnTo>
                  <a:pt x="5029" y="1032"/>
                </a:lnTo>
                <a:lnTo>
                  <a:pt x="5014" y="1043"/>
                </a:lnTo>
                <a:lnTo>
                  <a:pt x="4999" y="1057"/>
                </a:lnTo>
                <a:lnTo>
                  <a:pt x="4967" y="1079"/>
                </a:lnTo>
                <a:lnTo>
                  <a:pt x="4932" y="1099"/>
                </a:lnTo>
                <a:lnTo>
                  <a:pt x="4893" y="1117"/>
                </a:lnTo>
                <a:lnTo>
                  <a:pt x="4853" y="1132"/>
                </a:lnTo>
                <a:lnTo>
                  <a:pt x="4811" y="1144"/>
                </a:lnTo>
                <a:lnTo>
                  <a:pt x="4766" y="1153"/>
                </a:lnTo>
                <a:lnTo>
                  <a:pt x="4744" y="1156"/>
                </a:lnTo>
                <a:lnTo>
                  <a:pt x="4721" y="1157"/>
                </a:lnTo>
                <a:lnTo>
                  <a:pt x="4697" y="1159"/>
                </a:lnTo>
                <a:lnTo>
                  <a:pt x="4674" y="1160"/>
                </a:lnTo>
                <a:lnTo>
                  <a:pt x="4651" y="1159"/>
                </a:lnTo>
                <a:lnTo>
                  <a:pt x="4627" y="1157"/>
                </a:lnTo>
                <a:lnTo>
                  <a:pt x="4605" y="1156"/>
                </a:lnTo>
                <a:lnTo>
                  <a:pt x="4581" y="1153"/>
                </a:lnTo>
                <a:lnTo>
                  <a:pt x="4538" y="1144"/>
                </a:lnTo>
                <a:lnTo>
                  <a:pt x="4496" y="1132"/>
                </a:lnTo>
                <a:lnTo>
                  <a:pt x="4455" y="1117"/>
                </a:lnTo>
                <a:lnTo>
                  <a:pt x="4416" y="1099"/>
                </a:lnTo>
                <a:lnTo>
                  <a:pt x="4381" y="1079"/>
                </a:lnTo>
                <a:lnTo>
                  <a:pt x="4349" y="1057"/>
                </a:lnTo>
                <a:lnTo>
                  <a:pt x="4333" y="1043"/>
                </a:lnTo>
                <a:lnTo>
                  <a:pt x="4319" y="1032"/>
                </a:lnTo>
                <a:lnTo>
                  <a:pt x="4306" y="1018"/>
                </a:lnTo>
                <a:lnTo>
                  <a:pt x="4292" y="1005"/>
                </a:lnTo>
                <a:lnTo>
                  <a:pt x="4280" y="990"/>
                </a:lnTo>
                <a:lnTo>
                  <a:pt x="4270" y="975"/>
                </a:lnTo>
                <a:lnTo>
                  <a:pt x="4259" y="960"/>
                </a:lnTo>
                <a:lnTo>
                  <a:pt x="4250" y="945"/>
                </a:lnTo>
                <a:lnTo>
                  <a:pt x="4241" y="928"/>
                </a:lnTo>
                <a:lnTo>
                  <a:pt x="4234" y="912"/>
                </a:lnTo>
                <a:lnTo>
                  <a:pt x="4228" y="895"/>
                </a:lnTo>
                <a:lnTo>
                  <a:pt x="4224" y="878"/>
                </a:lnTo>
                <a:lnTo>
                  <a:pt x="4219" y="861"/>
                </a:lnTo>
                <a:lnTo>
                  <a:pt x="4216" y="843"/>
                </a:lnTo>
                <a:lnTo>
                  <a:pt x="4215" y="825"/>
                </a:lnTo>
                <a:lnTo>
                  <a:pt x="4213" y="807"/>
                </a:lnTo>
                <a:lnTo>
                  <a:pt x="4215" y="782"/>
                </a:lnTo>
                <a:lnTo>
                  <a:pt x="4185" y="788"/>
                </a:lnTo>
                <a:lnTo>
                  <a:pt x="4153" y="795"/>
                </a:lnTo>
                <a:lnTo>
                  <a:pt x="4120" y="800"/>
                </a:lnTo>
                <a:lnTo>
                  <a:pt x="4088" y="804"/>
                </a:lnTo>
                <a:lnTo>
                  <a:pt x="4055" y="809"/>
                </a:lnTo>
                <a:lnTo>
                  <a:pt x="4020" y="810"/>
                </a:lnTo>
                <a:lnTo>
                  <a:pt x="3986" y="812"/>
                </a:lnTo>
                <a:lnTo>
                  <a:pt x="3950" y="813"/>
                </a:lnTo>
                <a:lnTo>
                  <a:pt x="3907" y="812"/>
                </a:lnTo>
                <a:lnTo>
                  <a:pt x="3863" y="809"/>
                </a:lnTo>
                <a:lnTo>
                  <a:pt x="3821" y="806"/>
                </a:lnTo>
                <a:lnTo>
                  <a:pt x="3780" y="800"/>
                </a:lnTo>
                <a:lnTo>
                  <a:pt x="3739" y="792"/>
                </a:lnTo>
                <a:lnTo>
                  <a:pt x="3700" y="785"/>
                </a:lnTo>
                <a:lnTo>
                  <a:pt x="3661" y="774"/>
                </a:lnTo>
                <a:lnTo>
                  <a:pt x="3626" y="764"/>
                </a:lnTo>
                <a:lnTo>
                  <a:pt x="3611" y="777"/>
                </a:lnTo>
                <a:lnTo>
                  <a:pt x="3594" y="789"/>
                </a:lnTo>
                <a:lnTo>
                  <a:pt x="3578" y="801"/>
                </a:lnTo>
                <a:lnTo>
                  <a:pt x="3558" y="813"/>
                </a:lnTo>
                <a:lnTo>
                  <a:pt x="3539" y="824"/>
                </a:lnTo>
                <a:lnTo>
                  <a:pt x="3518" y="834"/>
                </a:lnTo>
                <a:lnTo>
                  <a:pt x="3497" y="843"/>
                </a:lnTo>
                <a:lnTo>
                  <a:pt x="3475" y="851"/>
                </a:lnTo>
                <a:lnTo>
                  <a:pt x="3451" y="858"/>
                </a:lnTo>
                <a:lnTo>
                  <a:pt x="3425" y="866"/>
                </a:lnTo>
                <a:lnTo>
                  <a:pt x="3400" y="872"/>
                </a:lnTo>
                <a:lnTo>
                  <a:pt x="3374" y="876"/>
                </a:lnTo>
                <a:lnTo>
                  <a:pt x="3347" y="879"/>
                </a:lnTo>
                <a:lnTo>
                  <a:pt x="3319" y="882"/>
                </a:lnTo>
                <a:lnTo>
                  <a:pt x="3292" y="884"/>
                </a:lnTo>
                <a:lnTo>
                  <a:pt x="3262" y="885"/>
                </a:lnTo>
                <a:lnTo>
                  <a:pt x="3219" y="884"/>
                </a:lnTo>
                <a:lnTo>
                  <a:pt x="3177" y="879"/>
                </a:lnTo>
                <a:lnTo>
                  <a:pt x="3137" y="873"/>
                </a:lnTo>
                <a:lnTo>
                  <a:pt x="3098" y="864"/>
                </a:lnTo>
                <a:lnTo>
                  <a:pt x="3060" y="854"/>
                </a:lnTo>
                <a:lnTo>
                  <a:pt x="3026" y="842"/>
                </a:lnTo>
                <a:lnTo>
                  <a:pt x="2993" y="827"/>
                </a:lnTo>
                <a:lnTo>
                  <a:pt x="2963" y="810"/>
                </a:lnTo>
                <a:lnTo>
                  <a:pt x="2935" y="794"/>
                </a:lnTo>
                <a:lnTo>
                  <a:pt x="2911" y="774"/>
                </a:lnTo>
                <a:lnTo>
                  <a:pt x="2890" y="753"/>
                </a:lnTo>
                <a:lnTo>
                  <a:pt x="2872" y="731"/>
                </a:lnTo>
                <a:lnTo>
                  <a:pt x="2865" y="719"/>
                </a:lnTo>
                <a:lnTo>
                  <a:pt x="2857" y="709"/>
                </a:lnTo>
                <a:lnTo>
                  <a:pt x="2851" y="697"/>
                </a:lnTo>
                <a:lnTo>
                  <a:pt x="2847" y="685"/>
                </a:lnTo>
                <a:lnTo>
                  <a:pt x="2844" y="671"/>
                </a:lnTo>
                <a:lnTo>
                  <a:pt x="2841" y="659"/>
                </a:lnTo>
                <a:lnTo>
                  <a:pt x="2839" y="646"/>
                </a:lnTo>
                <a:lnTo>
                  <a:pt x="2838" y="634"/>
                </a:lnTo>
                <a:close/>
                <a:moveTo>
                  <a:pt x="2355" y="2743"/>
                </a:moveTo>
                <a:lnTo>
                  <a:pt x="2355" y="3247"/>
                </a:lnTo>
                <a:lnTo>
                  <a:pt x="0" y="3247"/>
                </a:lnTo>
                <a:lnTo>
                  <a:pt x="0" y="2743"/>
                </a:lnTo>
                <a:lnTo>
                  <a:pt x="2355" y="2743"/>
                </a:lnTo>
                <a:close/>
                <a:moveTo>
                  <a:pt x="3721" y="4196"/>
                </a:moveTo>
                <a:lnTo>
                  <a:pt x="4095" y="4763"/>
                </a:lnTo>
                <a:lnTo>
                  <a:pt x="3951" y="4763"/>
                </a:lnTo>
                <a:lnTo>
                  <a:pt x="3608" y="4241"/>
                </a:lnTo>
                <a:lnTo>
                  <a:pt x="3605" y="4243"/>
                </a:lnTo>
                <a:lnTo>
                  <a:pt x="3605" y="4237"/>
                </a:lnTo>
                <a:lnTo>
                  <a:pt x="3539" y="4137"/>
                </a:lnTo>
                <a:lnTo>
                  <a:pt x="3572" y="4128"/>
                </a:lnTo>
                <a:lnTo>
                  <a:pt x="3605" y="4116"/>
                </a:lnTo>
                <a:lnTo>
                  <a:pt x="3630" y="4107"/>
                </a:lnTo>
                <a:lnTo>
                  <a:pt x="3654" y="4095"/>
                </a:lnTo>
                <a:lnTo>
                  <a:pt x="3696" y="4074"/>
                </a:lnTo>
                <a:lnTo>
                  <a:pt x="3735" y="4050"/>
                </a:lnTo>
                <a:lnTo>
                  <a:pt x="3774" y="4023"/>
                </a:lnTo>
                <a:lnTo>
                  <a:pt x="3808" y="3995"/>
                </a:lnTo>
                <a:lnTo>
                  <a:pt x="3842" y="3963"/>
                </a:lnTo>
                <a:lnTo>
                  <a:pt x="3874" y="3929"/>
                </a:lnTo>
                <a:lnTo>
                  <a:pt x="3902" y="3893"/>
                </a:lnTo>
                <a:lnTo>
                  <a:pt x="3929" y="3856"/>
                </a:lnTo>
                <a:lnTo>
                  <a:pt x="3951" y="3815"/>
                </a:lnTo>
                <a:lnTo>
                  <a:pt x="3972" y="3773"/>
                </a:lnTo>
                <a:lnTo>
                  <a:pt x="3990" y="3731"/>
                </a:lnTo>
                <a:lnTo>
                  <a:pt x="4007" y="3687"/>
                </a:lnTo>
                <a:lnTo>
                  <a:pt x="4019" y="3640"/>
                </a:lnTo>
                <a:lnTo>
                  <a:pt x="4026" y="3594"/>
                </a:lnTo>
                <a:lnTo>
                  <a:pt x="4032" y="3545"/>
                </a:lnTo>
                <a:lnTo>
                  <a:pt x="4034" y="3495"/>
                </a:lnTo>
                <a:lnTo>
                  <a:pt x="4034" y="3458"/>
                </a:lnTo>
                <a:lnTo>
                  <a:pt x="4031" y="3421"/>
                </a:lnTo>
                <a:lnTo>
                  <a:pt x="4026" y="3385"/>
                </a:lnTo>
                <a:lnTo>
                  <a:pt x="4019" y="3350"/>
                </a:lnTo>
                <a:lnTo>
                  <a:pt x="4011" y="3317"/>
                </a:lnTo>
                <a:lnTo>
                  <a:pt x="4002" y="3286"/>
                </a:lnTo>
                <a:lnTo>
                  <a:pt x="3990" y="3255"/>
                </a:lnTo>
                <a:lnTo>
                  <a:pt x="3978" y="3225"/>
                </a:lnTo>
                <a:lnTo>
                  <a:pt x="3965" y="3198"/>
                </a:lnTo>
                <a:lnTo>
                  <a:pt x="3950" y="3169"/>
                </a:lnTo>
                <a:lnTo>
                  <a:pt x="3934" y="3144"/>
                </a:lnTo>
                <a:lnTo>
                  <a:pt x="3917" y="3120"/>
                </a:lnTo>
                <a:lnTo>
                  <a:pt x="3899" y="3096"/>
                </a:lnTo>
                <a:lnTo>
                  <a:pt x="3880" y="3074"/>
                </a:lnTo>
                <a:lnTo>
                  <a:pt x="3860" y="3051"/>
                </a:lnTo>
                <a:lnTo>
                  <a:pt x="3841" y="3032"/>
                </a:lnTo>
                <a:lnTo>
                  <a:pt x="3820" y="3012"/>
                </a:lnTo>
                <a:lnTo>
                  <a:pt x="3799" y="2994"/>
                </a:lnTo>
                <a:lnTo>
                  <a:pt x="3777" y="2977"/>
                </a:lnTo>
                <a:lnTo>
                  <a:pt x="3756" y="2962"/>
                </a:lnTo>
                <a:lnTo>
                  <a:pt x="3733" y="2947"/>
                </a:lnTo>
                <a:lnTo>
                  <a:pt x="3712" y="2932"/>
                </a:lnTo>
                <a:lnTo>
                  <a:pt x="3667" y="2908"/>
                </a:lnTo>
                <a:lnTo>
                  <a:pt x="3624" y="2885"/>
                </a:lnTo>
                <a:lnTo>
                  <a:pt x="3582" y="2869"/>
                </a:lnTo>
                <a:lnTo>
                  <a:pt x="3543" y="2855"/>
                </a:lnTo>
                <a:lnTo>
                  <a:pt x="3507" y="2845"/>
                </a:lnTo>
                <a:lnTo>
                  <a:pt x="3497" y="2842"/>
                </a:lnTo>
                <a:lnTo>
                  <a:pt x="3488" y="2837"/>
                </a:lnTo>
                <a:lnTo>
                  <a:pt x="3481" y="2831"/>
                </a:lnTo>
                <a:lnTo>
                  <a:pt x="3475" y="2824"/>
                </a:lnTo>
                <a:lnTo>
                  <a:pt x="3469" y="2817"/>
                </a:lnTo>
                <a:lnTo>
                  <a:pt x="3464" y="2808"/>
                </a:lnTo>
                <a:lnTo>
                  <a:pt x="3463" y="2797"/>
                </a:lnTo>
                <a:lnTo>
                  <a:pt x="3461" y="2787"/>
                </a:lnTo>
                <a:lnTo>
                  <a:pt x="3461" y="2676"/>
                </a:lnTo>
                <a:lnTo>
                  <a:pt x="3282" y="2676"/>
                </a:lnTo>
                <a:lnTo>
                  <a:pt x="3282" y="2787"/>
                </a:lnTo>
                <a:lnTo>
                  <a:pt x="3280" y="2796"/>
                </a:lnTo>
                <a:lnTo>
                  <a:pt x="3277" y="2805"/>
                </a:lnTo>
                <a:lnTo>
                  <a:pt x="3273" y="2814"/>
                </a:lnTo>
                <a:lnTo>
                  <a:pt x="3267" y="2823"/>
                </a:lnTo>
                <a:lnTo>
                  <a:pt x="3259" y="2830"/>
                </a:lnTo>
                <a:lnTo>
                  <a:pt x="3252" y="2837"/>
                </a:lnTo>
                <a:lnTo>
                  <a:pt x="3243" y="2842"/>
                </a:lnTo>
                <a:lnTo>
                  <a:pt x="3234" y="2845"/>
                </a:lnTo>
                <a:lnTo>
                  <a:pt x="3207" y="2852"/>
                </a:lnTo>
                <a:lnTo>
                  <a:pt x="3179" y="2860"/>
                </a:lnTo>
                <a:lnTo>
                  <a:pt x="3152" y="2869"/>
                </a:lnTo>
                <a:lnTo>
                  <a:pt x="3125" y="2878"/>
                </a:lnTo>
                <a:lnTo>
                  <a:pt x="3099" y="2890"/>
                </a:lnTo>
                <a:lnTo>
                  <a:pt x="3074" y="2902"/>
                </a:lnTo>
                <a:lnTo>
                  <a:pt x="3048" y="2914"/>
                </a:lnTo>
                <a:lnTo>
                  <a:pt x="3025" y="2929"/>
                </a:lnTo>
                <a:lnTo>
                  <a:pt x="3002" y="2944"/>
                </a:lnTo>
                <a:lnTo>
                  <a:pt x="2978" y="2960"/>
                </a:lnTo>
                <a:lnTo>
                  <a:pt x="2957" y="2977"/>
                </a:lnTo>
                <a:lnTo>
                  <a:pt x="2935" y="2994"/>
                </a:lnTo>
                <a:lnTo>
                  <a:pt x="2915" y="3012"/>
                </a:lnTo>
                <a:lnTo>
                  <a:pt x="2894" y="3032"/>
                </a:lnTo>
                <a:lnTo>
                  <a:pt x="2877" y="3053"/>
                </a:lnTo>
                <a:lnTo>
                  <a:pt x="2859" y="3074"/>
                </a:lnTo>
                <a:lnTo>
                  <a:pt x="2841" y="3096"/>
                </a:lnTo>
                <a:lnTo>
                  <a:pt x="2824" y="3119"/>
                </a:lnTo>
                <a:lnTo>
                  <a:pt x="2809" y="3141"/>
                </a:lnTo>
                <a:lnTo>
                  <a:pt x="2794" y="3165"/>
                </a:lnTo>
                <a:lnTo>
                  <a:pt x="2781" y="3190"/>
                </a:lnTo>
                <a:lnTo>
                  <a:pt x="2769" y="3216"/>
                </a:lnTo>
                <a:lnTo>
                  <a:pt x="2758" y="3241"/>
                </a:lnTo>
                <a:lnTo>
                  <a:pt x="2748" y="3268"/>
                </a:lnTo>
                <a:lnTo>
                  <a:pt x="2739" y="3295"/>
                </a:lnTo>
                <a:lnTo>
                  <a:pt x="2730" y="3322"/>
                </a:lnTo>
                <a:lnTo>
                  <a:pt x="2724" y="3349"/>
                </a:lnTo>
                <a:lnTo>
                  <a:pt x="2718" y="3377"/>
                </a:lnTo>
                <a:lnTo>
                  <a:pt x="2714" y="3407"/>
                </a:lnTo>
                <a:lnTo>
                  <a:pt x="2711" y="3435"/>
                </a:lnTo>
                <a:lnTo>
                  <a:pt x="2708" y="3465"/>
                </a:lnTo>
                <a:lnTo>
                  <a:pt x="2708" y="3495"/>
                </a:lnTo>
                <a:lnTo>
                  <a:pt x="2709" y="3530"/>
                </a:lnTo>
                <a:lnTo>
                  <a:pt x="2711" y="3564"/>
                </a:lnTo>
                <a:lnTo>
                  <a:pt x="2715" y="3598"/>
                </a:lnTo>
                <a:lnTo>
                  <a:pt x="2723" y="3633"/>
                </a:lnTo>
                <a:lnTo>
                  <a:pt x="2588" y="3528"/>
                </a:lnTo>
                <a:lnTo>
                  <a:pt x="2588" y="3495"/>
                </a:lnTo>
                <a:lnTo>
                  <a:pt x="2588" y="3461"/>
                </a:lnTo>
                <a:lnTo>
                  <a:pt x="2591" y="3428"/>
                </a:lnTo>
                <a:lnTo>
                  <a:pt x="2594" y="3395"/>
                </a:lnTo>
                <a:lnTo>
                  <a:pt x="2598" y="3362"/>
                </a:lnTo>
                <a:lnTo>
                  <a:pt x="2606" y="3331"/>
                </a:lnTo>
                <a:lnTo>
                  <a:pt x="2612" y="3299"/>
                </a:lnTo>
                <a:lnTo>
                  <a:pt x="2621" y="3268"/>
                </a:lnTo>
                <a:lnTo>
                  <a:pt x="2631" y="3238"/>
                </a:lnTo>
                <a:lnTo>
                  <a:pt x="2642" y="3208"/>
                </a:lnTo>
                <a:lnTo>
                  <a:pt x="2654" y="3178"/>
                </a:lnTo>
                <a:lnTo>
                  <a:pt x="2667" y="3150"/>
                </a:lnTo>
                <a:lnTo>
                  <a:pt x="2682" y="3122"/>
                </a:lnTo>
                <a:lnTo>
                  <a:pt x="2699" y="3095"/>
                </a:lnTo>
                <a:lnTo>
                  <a:pt x="2715" y="3068"/>
                </a:lnTo>
                <a:lnTo>
                  <a:pt x="2731" y="3042"/>
                </a:lnTo>
                <a:lnTo>
                  <a:pt x="2751" y="3017"/>
                </a:lnTo>
                <a:lnTo>
                  <a:pt x="2770" y="2991"/>
                </a:lnTo>
                <a:lnTo>
                  <a:pt x="2791" y="2969"/>
                </a:lnTo>
                <a:lnTo>
                  <a:pt x="2812" y="2945"/>
                </a:lnTo>
                <a:lnTo>
                  <a:pt x="2835" y="2924"/>
                </a:lnTo>
                <a:lnTo>
                  <a:pt x="2859" y="2903"/>
                </a:lnTo>
                <a:lnTo>
                  <a:pt x="2882" y="2882"/>
                </a:lnTo>
                <a:lnTo>
                  <a:pt x="2906" y="2864"/>
                </a:lnTo>
                <a:lnTo>
                  <a:pt x="2933" y="2845"/>
                </a:lnTo>
                <a:lnTo>
                  <a:pt x="2959" y="2828"/>
                </a:lnTo>
                <a:lnTo>
                  <a:pt x="2986" y="2812"/>
                </a:lnTo>
                <a:lnTo>
                  <a:pt x="3014" y="2797"/>
                </a:lnTo>
                <a:lnTo>
                  <a:pt x="3042" y="2784"/>
                </a:lnTo>
                <a:lnTo>
                  <a:pt x="3071" y="2770"/>
                </a:lnTo>
                <a:lnTo>
                  <a:pt x="3101" y="2760"/>
                </a:lnTo>
                <a:lnTo>
                  <a:pt x="3131" y="2749"/>
                </a:lnTo>
                <a:lnTo>
                  <a:pt x="3162" y="2740"/>
                </a:lnTo>
                <a:lnTo>
                  <a:pt x="3162" y="2616"/>
                </a:lnTo>
                <a:lnTo>
                  <a:pt x="3164" y="2604"/>
                </a:lnTo>
                <a:lnTo>
                  <a:pt x="3167" y="2592"/>
                </a:lnTo>
                <a:lnTo>
                  <a:pt x="3173" y="2583"/>
                </a:lnTo>
                <a:lnTo>
                  <a:pt x="3180" y="2574"/>
                </a:lnTo>
                <a:lnTo>
                  <a:pt x="3189" y="2567"/>
                </a:lnTo>
                <a:lnTo>
                  <a:pt x="3199" y="2561"/>
                </a:lnTo>
                <a:lnTo>
                  <a:pt x="3210" y="2558"/>
                </a:lnTo>
                <a:lnTo>
                  <a:pt x="3222" y="2556"/>
                </a:lnTo>
                <a:lnTo>
                  <a:pt x="3521" y="2556"/>
                </a:lnTo>
                <a:lnTo>
                  <a:pt x="3533" y="2558"/>
                </a:lnTo>
                <a:lnTo>
                  <a:pt x="3543" y="2561"/>
                </a:lnTo>
                <a:lnTo>
                  <a:pt x="3554" y="2567"/>
                </a:lnTo>
                <a:lnTo>
                  <a:pt x="3563" y="2574"/>
                </a:lnTo>
                <a:lnTo>
                  <a:pt x="3570" y="2583"/>
                </a:lnTo>
                <a:lnTo>
                  <a:pt x="3576" y="2592"/>
                </a:lnTo>
                <a:lnTo>
                  <a:pt x="3579" y="2604"/>
                </a:lnTo>
                <a:lnTo>
                  <a:pt x="3581" y="2616"/>
                </a:lnTo>
                <a:lnTo>
                  <a:pt x="3581" y="2740"/>
                </a:lnTo>
                <a:lnTo>
                  <a:pt x="3612" y="2749"/>
                </a:lnTo>
                <a:lnTo>
                  <a:pt x="3642" y="2760"/>
                </a:lnTo>
                <a:lnTo>
                  <a:pt x="3672" y="2770"/>
                </a:lnTo>
                <a:lnTo>
                  <a:pt x="3700" y="2784"/>
                </a:lnTo>
                <a:lnTo>
                  <a:pt x="3729" y="2797"/>
                </a:lnTo>
                <a:lnTo>
                  <a:pt x="3757" y="2812"/>
                </a:lnTo>
                <a:lnTo>
                  <a:pt x="3784" y="2828"/>
                </a:lnTo>
                <a:lnTo>
                  <a:pt x="3809" y="2845"/>
                </a:lnTo>
                <a:lnTo>
                  <a:pt x="3836" y="2864"/>
                </a:lnTo>
                <a:lnTo>
                  <a:pt x="3860" y="2882"/>
                </a:lnTo>
                <a:lnTo>
                  <a:pt x="3884" y="2903"/>
                </a:lnTo>
                <a:lnTo>
                  <a:pt x="3908" y="2924"/>
                </a:lnTo>
                <a:lnTo>
                  <a:pt x="3931" y="2945"/>
                </a:lnTo>
                <a:lnTo>
                  <a:pt x="3951" y="2969"/>
                </a:lnTo>
                <a:lnTo>
                  <a:pt x="3972" y="2991"/>
                </a:lnTo>
                <a:lnTo>
                  <a:pt x="3992" y="3017"/>
                </a:lnTo>
                <a:lnTo>
                  <a:pt x="4011" y="3042"/>
                </a:lnTo>
                <a:lnTo>
                  <a:pt x="4028" y="3068"/>
                </a:lnTo>
                <a:lnTo>
                  <a:pt x="4044" y="3095"/>
                </a:lnTo>
                <a:lnTo>
                  <a:pt x="4061" y="3122"/>
                </a:lnTo>
                <a:lnTo>
                  <a:pt x="4076" y="3150"/>
                </a:lnTo>
                <a:lnTo>
                  <a:pt x="4089" y="3178"/>
                </a:lnTo>
                <a:lnTo>
                  <a:pt x="4101" y="3208"/>
                </a:lnTo>
                <a:lnTo>
                  <a:pt x="4111" y="3238"/>
                </a:lnTo>
                <a:lnTo>
                  <a:pt x="4122" y="3268"/>
                </a:lnTo>
                <a:lnTo>
                  <a:pt x="4131" y="3299"/>
                </a:lnTo>
                <a:lnTo>
                  <a:pt x="4137" y="3331"/>
                </a:lnTo>
                <a:lnTo>
                  <a:pt x="4144" y="3362"/>
                </a:lnTo>
                <a:lnTo>
                  <a:pt x="4149" y="3395"/>
                </a:lnTo>
                <a:lnTo>
                  <a:pt x="4152" y="3428"/>
                </a:lnTo>
                <a:lnTo>
                  <a:pt x="4155" y="3461"/>
                </a:lnTo>
                <a:lnTo>
                  <a:pt x="4155" y="3495"/>
                </a:lnTo>
                <a:lnTo>
                  <a:pt x="4155" y="3524"/>
                </a:lnTo>
                <a:lnTo>
                  <a:pt x="4153" y="3552"/>
                </a:lnTo>
                <a:lnTo>
                  <a:pt x="4150" y="3580"/>
                </a:lnTo>
                <a:lnTo>
                  <a:pt x="4147" y="3607"/>
                </a:lnTo>
                <a:lnTo>
                  <a:pt x="4143" y="3636"/>
                </a:lnTo>
                <a:lnTo>
                  <a:pt x="4137" y="3663"/>
                </a:lnTo>
                <a:lnTo>
                  <a:pt x="4131" y="3690"/>
                </a:lnTo>
                <a:lnTo>
                  <a:pt x="4123" y="3717"/>
                </a:lnTo>
                <a:lnTo>
                  <a:pt x="4114" y="3742"/>
                </a:lnTo>
                <a:lnTo>
                  <a:pt x="4105" y="3767"/>
                </a:lnTo>
                <a:lnTo>
                  <a:pt x="4096" y="3793"/>
                </a:lnTo>
                <a:lnTo>
                  <a:pt x="4086" y="3818"/>
                </a:lnTo>
                <a:lnTo>
                  <a:pt x="4074" y="3842"/>
                </a:lnTo>
                <a:lnTo>
                  <a:pt x="4062" y="3866"/>
                </a:lnTo>
                <a:lnTo>
                  <a:pt x="4049" y="3890"/>
                </a:lnTo>
                <a:lnTo>
                  <a:pt x="4034" y="3912"/>
                </a:lnTo>
                <a:lnTo>
                  <a:pt x="4020" y="3935"/>
                </a:lnTo>
                <a:lnTo>
                  <a:pt x="4004" y="3957"/>
                </a:lnTo>
                <a:lnTo>
                  <a:pt x="3987" y="3978"/>
                </a:lnTo>
                <a:lnTo>
                  <a:pt x="3971" y="3999"/>
                </a:lnTo>
                <a:lnTo>
                  <a:pt x="3953" y="4019"/>
                </a:lnTo>
                <a:lnTo>
                  <a:pt x="3935" y="4038"/>
                </a:lnTo>
                <a:lnTo>
                  <a:pt x="3917" y="4057"/>
                </a:lnTo>
                <a:lnTo>
                  <a:pt x="3898" y="4075"/>
                </a:lnTo>
                <a:lnTo>
                  <a:pt x="3877" y="4093"/>
                </a:lnTo>
                <a:lnTo>
                  <a:pt x="3856" y="4110"/>
                </a:lnTo>
                <a:lnTo>
                  <a:pt x="3835" y="4126"/>
                </a:lnTo>
                <a:lnTo>
                  <a:pt x="3814" y="4141"/>
                </a:lnTo>
                <a:lnTo>
                  <a:pt x="3791" y="4156"/>
                </a:lnTo>
                <a:lnTo>
                  <a:pt x="3768" y="4171"/>
                </a:lnTo>
                <a:lnTo>
                  <a:pt x="3745" y="4183"/>
                </a:lnTo>
                <a:lnTo>
                  <a:pt x="3721" y="4196"/>
                </a:lnTo>
                <a:close/>
                <a:moveTo>
                  <a:pt x="239" y="4207"/>
                </a:moveTo>
                <a:lnTo>
                  <a:pt x="740" y="4207"/>
                </a:lnTo>
                <a:lnTo>
                  <a:pt x="743" y="3631"/>
                </a:lnTo>
                <a:lnTo>
                  <a:pt x="745" y="3621"/>
                </a:lnTo>
                <a:lnTo>
                  <a:pt x="746" y="3610"/>
                </a:lnTo>
                <a:lnTo>
                  <a:pt x="748" y="3601"/>
                </a:lnTo>
                <a:lnTo>
                  <a:pt x="752" y="3594"/>
                </a:lnTo>
                <a:lnTo>
                  <a:pt x="757" y="3586"/>
                </a:lnTo>
                <a:lnTo>
                  <a:pt x="761" y="3580"/>
                </a:lnTo>
                <a:lnTo>
                  <a:pt x="767" y="3574"/>
                </a:lnTo>
                <a:lnTo>
                  <a:pt x="774" y="3572"/>
                </a:lnTo>
                <a:lnTo>
                  <a:pt x="780" y="3569"/>
                </a:lnTo>
                <a:lnTo>
                  <a:pt x="788" y="3567"/>
                </a:lnTo>
                <a:lnTo>
                  <a:pt x="797" y="3567"/>
                </a:lnTo>
                <a:lnTo>
                  <a:pt x="804" y="3569"/>
                </a:lnTo>
                <a:lnTo>
                  <a:pt x="813" y="3570"/>
                </a:lnTo>
                <a:lnTo>
                  <a:pt x="822" y="3574"/>
                </a:lnTo>
                <a:lnTo>
                  <a:pt x="831" y="3579"/>
                </a:lnTo>
                <a:lnTo>
                  <a:pt x="840" y="3585"/>
                </a:lnTo>
                <a:lnTo>
                  <a:pt x="1523" y="4125"/>
                </a:lnTo>
                <a:lnTo>
                  <a:pt x="1523" y="3633"/>
                </a:lnTo>
                <a:lnTo>
                  <a:pt x="1525" y="3621"/>
                </a:lnTo>
                <a:lnTo>
                  <a:pt x="1526" y="3610"/>
                </a:lnTo>
                <a:lnTo>
                  <a:pt x="1528" y="3601"/>
                </a:lnTo>
                <a:lnTo>
                  <a:pt x="1532" y="3594"/>
                </a:lnTo>
                <a:lnTo>
                  <a:pt x="1537" y="3586"/>
                </a:lnTo>
                <a:lnTo>
                  <a:pt x="1541" y="3580"/>
                </a:lnTo>
                <a:lnTo>
                  <a:pt x="1547" y="3574"/>
                </a:lnTo>
                <a:lnTo>
                  <a:pt x="1553" y="3572"/>
                </a:lnTo>
                <a:lnTo>
                  <a:pt x="1561" y="3569"/>
                </a:lnTo>
                <a:lnTo>
                  <a:pt x="1568" y="3567"/>
                </a:lnTo>
                <a:lnTo>
                  <a:pt x="1577" y="3567"/>
                </a:lnTo>
                <a:lnTo>
                  <a:pt x="1585" y="3569"/>
                </a:lnTo>
                <a:lnTo>
                  <a:pt x="1594" y="3570"/>
                </a:lnTo>
                <a:lnTo>
                  <a:pt x="1603" y="3574"/>
                </a:lnTo>
                <a:lnTo>
                  <a:pt x="1612" y="3579"/>
                </a:lnTo>
                <a:lnTo>
                  <a:pt x="1621" y="3585"/>
                </a:lnTo>
                <a:lnTo>
                  <a:pt x="1972" y="3863"/>
                </a:lnTo>
                <a:lnTo>
                  <a:pt x="1972" y="3367"/>
                </a:lnTo>
                <a:lnTo>
                  <a:pt x="2211" y="3367"/>
                </a:lnTo>
                <a:lnTo>
                  <a:pt x="2211" y="4051"/>
                </a:lnTo>
                <a:lnTo>
                  <a:pt x="2304" y="4125"/>
                </a:lnTo>
                <a:lnTo>
                  <a:pt x="2304" y="3633"/>
                </a:lnTo>
                <a:lnTo>
                  <a:pt x="2305" y="3621"/>
                </a:lnTo>
                <a:lnTo>
                  <a:pt x="2307" y="3610"/>
                </a:lnTo>
                <a:lnTo>
                  <a:pt x="2308" y="3601"/>
                </a:lnTo>
                <a:lnTo>
                  <a:pt x="2313" y="3594"/>
                </a:lnTo>
                <a:lnTo>
                  <a:pt x="2317" y="3586"/>
                </a:lnTo>
                <a:lnTo>
                  <a:pt x="2322" y="3580"/>
                </a:lnTo>
                <a:lnTo>
                  <a:pt x="2328" y="3574"/>
                </a:lnTo>
                <a:lnTo>
                  <a:pt x="2334" y="3572"/>
                </a:lnTo>
                <a:lnTo>
                  <a:pt x="2341" y="3569"/>
                </a:lnTo>
                <a:lnTo>
                  <a:pt x="2349" y="3567"/>
                </a:lnTo>
                <a:lnTo>
                  <a:pt x="2356" y="3567"/>
                </a:lnTo>
                <a:lnTo>
                  <a:pt x="2365" y="3569"/>
                </a:lnTo>
                <a:lnTo>
                  <a:pt x="2374" y="3570"/>
                </a:lnTo>
                <a:lnTo>
                  <a:pt x="2383" y="3574"/>
                </a:lnTo>
                <a:lnTo>
                  <a:pt x="2392" y="3579"/>
                </a:lnTo>
                <a:lnTo>
                  <a:pt x="2401" y="3585"/>
                </a:lnTo>
                <a:lnTo>
                  <a:pt x="3038" y="4087"/>
                </a:lnTo>
                <a:lnTo>
                  <a:pt x="3503" y="4087"/>
                </a:lnTo>
                <a:lnTo>
                  <a:pt x="3503" y="4763"/>
                </a:lnTo>
                <a:lnTo>
                  <a:pt x="0" y="4763"/>
                </a:lnTo>
                <a:lnTo>
                  <a:pt x="0" y="3367"/>
                </a:lnTo>
                <a:lnTo>
                  <a:pt x="239" y="3367"/>
                </a:lnTo>
                <a:lnTo>
                  <a:pt x="239" y="4207"/>
                </a:lnTo>
                <a:close/>
                <a:moveTo>
                  <a:pt x="3072" y="4267"/>
                </a:moveTo>
                <a:lnTo>
                  <a:pt x="2423" y="3755"/>
                </a:lnTo>
                <a:lnTo>
                  <a:pt x="2423" y="4247"/>
                </a:lnTo>
                <a:lnTo>
                  <a:pt x="2423" y="4259"/>
                </a:lnTo>
                <a:lnTo>
                  <a:pt x="2422" y="4268"/>
                </a:lnTo>
                <a:lnTo>
                  <a:pt x="2419" y="4279"/>
                </a:lnTo>
                <a:lnTo>
                  <a:pt x="2416" y="4286"/>
                </a:lnTo>
                <a:lnTo>
                  <a:pt x="2412" y="4294"/>
                </a:lnTo>
                <a:lnTo>
                  <a:pt x="2406" y="4300"/>
                </a:lnTo>
                <a:lnTo>
                  <a:pt x="2400" y="4304"/>
                </a:lnTo>
                <a:lnTo>
                  <a:pt x="2394" y="4309"/>
                </a:lnTo>
                <a:lnTo>
                  <a:pt x="2386" y="4312"/>
                </a:lnTo>
                <a:lnTo>
                  <a:pt x="2379" y="4313"/>
                </a:lnTo>
                <a:lnTo>
                  <a:pt x="2371" y="4313"/>
                </a:lnTo>
                <a:lnTo>
                  <a:pt x="2362" y="4312"/>
                </a:lnTo>
                <a:lnTo>
                  <a:pt x="2353" y="4310"/>
                </a:lnTo>
                <a:lnTo>
                  <a:pt x="2346" y="4306"/>
                </a:lnTo>
                <a:lnTo>
                  <a:pt x="2337" y="4301"/>
                </a:lnTo>
                <a:lnTo>
                  <a:pt x="2326" y="4295"/>
                </a:lnTo>
                <a:lnTo>
                  <a:pt x="1643" y="3755"/>
                </a:lnTo>
                <a:lnTo>
                  <a:pt x="1643" y="4247"/>
                </a:lnTo>
                <a:lnTo>
                  <a:pt x="1643" y="4259"/>
                </a:lnTo>
                <a:lnTo>
                  <a:pt x="1642" y="4268"/>
                </a:lnTo>
                <a:lnTo>
                  <a:pt x="1639" y="4279"/>
                </a:lnTo>
                <a:lnTo>
                  <a:pt x="1636" y="4286"/>
                </a:lnTo>
                <a:lnTo>
                  <a:pt x="1631" y="4294"/>
                </a:lnTo>
                <a:lnTo>
                  <a:pt x="1625" y="4300"/>
                </a:lnTo>
                <a:lnTo>
                  <a:pt x="1619" y="4304"/>
                </a:lnTo>
                <a:lnTo>
                  <a:pt x="1613" y="4309"/>
                </a:lnTo>
                <a:lnTo>
                  <a:pt x="1606" y="4312"/>
                </a:lnTo>
                <a:lnTo>
                  <a:pt x="1598" y="4313"/>
                </a:lnTo>
                <a:lnTo>
                  <a:pt x="1591" y="4313"/>
                </a:lnTo>
                <a:lnTo>
                  <a:pt x="1582" y="4312"/>
                </a:lnTo>
                <a:lnTo>
                  <a:pt x="1573" y="4310"/>
                </a:lnTo>
                <a:lnTo>
                  <a:pt x="1565" y="4306"/>
                </a:lnTo>
                <a:lnTo>
                  <a:pt x="1556" y="4301"/>
                </a:lnTo>
                <a:lnTo>
                  <a:pt x="1546" y="4295"/>
                </a:lnTo>
                <a:lnTo>
                  <a:pt x="866" y="3755"/>
                </a:lnTo>
                <a:lnTo>
                  <a:pt x="866" y="4249"/>
                </a:lnTo>
                <a:lnTo>
                  <a:pt x="864" y="4265"/>
                </a:lnTo>
                <a:lnTo>
                  <a:pt x="860" y="4282"/>
                </a:lnTo>
                <a:lnTo>
                  <a:pt x="854" y="4294"/>
                </a:lnTo>
                <a:lnTo>
                  <a:pt x="845" y="4306"/>
                </a:lnTo>
                <a:lnTo>
                  <a:pt x="836" y="4315"/>
                </a:lnTo>
                <a:lnTo>
                  <a:pt x="824" y="4320"/>
                </a:lnTo>
                <a:lnTo>
                  <a:pt x="812" y="4325"/>
                </a:lnTo>
                <a:lnTo>
                  <a:pt x="800" y="4326"/>
                </a:lnTo>
                <a:lnTo>
                  <a:pt x="239" y="4326"/>
                </a:lnTo>
                <a:lnTo>
                  <a:pt x="239" y="4524"/>
                </a:lnTo>
                <a:lnTo>
                  <a:pt x="244" y="4524"/>
                </a:lnTo>
                <a:lnTo>
                  <a:pt x="3300" y="4524"/>
                </a:lnTo>
                <a:lnTo>
                  <a:pt x="3300" y="4267"/>
                </a:lnTo>
                <a:lnTo>
                  <a:pt x="3072" y="4267"/>
                </a:lnTo>
                <a:close/>
                <a:moveTo>
                  <a:pt x="5255" y="2624"/>
                </a:moveTo>
                <a:lnTo>
                  <a:pt x="5313" y="873"/>
                </a:lnTo>
                <a:lnTo>
                  <a:pt x="5580" y="873"/>
                </a:lnTo>
                <a:lnTo>
                  <a:pt x="5636" y="2624"/>
                </a:lnTo>
                <a:lnTo>
                  <a:pt x="5255" y="2624"/>
                </a:lnTo>
                <a:close/>
                <a:moveTo>
                  <a:pt x="5429" y="993"/>
                </a:moveTo>
                <a:lnTo>
                  <a:pt x="5384" y="2392"/>
                </a:lnTo>
                <a:lnTo>
                  <a:pt x="5505" y="2271"/>
                </a:lnTo>
                <a:lnTo>
                  <a:pt x="5463" y="993"/>
                </a:lnTo>
                <a:lnTo>
                  <a:pt x="5429" y="993"/>
                </a:lnTo>
                <a:close/>
                <a:moveTo>
                  <a:pt x="5769" y="2927"/>
                </a:moveTo>
                <a:lnTo>
                  <a:pt x="5858" y="2927"/>
                </a:lnTo>
                <a:lnTo>
                  <a:pt x="5858" y="3240"/>
                </a:lnTo>
                <a:lnTo>
                  <a:pt x="6058" y="3240"/>
                </a:lnTo>
                <a:lnTo>
                  <a:pt x="6058" y="4763"/>
                </a:lnTo>
                <a:lnTo>
                  <a:pt x="4424" y="4763"/>
                </a:lnTo>
                <a:lnTo>
                  <a:pt x="4424" y="3240"/>
                </a:lnTo>
                <a:lnTo>
                  <a:pt x="4994" y="3240"/>
                </a:lnTo>
                <a:lnTo>
                  <a:pt x="4994" y="2927"/>
                </a:lnTo>
                <a:lnTo>
                  <a:pt x="5101" y="2927"/>
                </a:lnTo>
                <a:lnTo>
                  <a:pt x="5101" y="2743"/>
                </a:lnTo>
                <a:lnTo>
                  <a:pt x="5769" y="2743"/>
                </a:lnTo>
                <a:lnTo>
                  <a:pt x="5769" y="2927"/>
                </a:lnTo>
                <a:close/>
                <a:moveTo>
                  <a:pt x="5340" y="3166"/>
                </a:moveTo>
                <a:lnTo>
                  <a:pt x="5233" y="3166"/>
                </a:lnTo>
                <a:lnTo>
                  <a:pt x="5233" y="3479"/>
                </a:lnTo>
                <a:lnTo>
                  <a:pt x="4663" y="3479"/>
                </a:lnTo>
                <a:lnTo>
                  <a:pt x="4663" y="4524"/>
                </a:lnTo>
                <a:lnTo>
                  <a:pt x="5819" y="4524"/>
                </a:lnTo>
                <a:lnTo>
                  <a:pt x="5819" y="3479"/>
                </a:lnTo>
                <a:lnTo>
                  <a:pt x="5618" y="3479"/>
                </a:lnTo>
                <a:lnTo>
                  <a:pt x="5618" y="3166"/>
                </a:lnTo>
                <a:lnTo>
                  <a:pt x="5529" y="3166"/>
                </a:lnTo>
                <a:lnTo>
                  <a:pt x="5529" y="2982"/>
                </a:lnTo>
                <a:lnTo>
                  <a:pt x="5340" y="2982"/>
                </a:lnTo>
                <a:lnTo>
                  <a:pt x="5340" y="3166"/>
                </a:lnTo>
                <a:close/>
                <a:moveTo>
                  <a:pt x="4838" y="4069"/>
                </a:moveTo>
                <a:lnTo>
                  <a:pt x="5233" y="4069"/>
                </a:lnTo>
                <a:lnTo>
                  <a:pt x="5233" y="4189"/>
                </a:lnTo>
                <a:lnTo>
                  <a:pt x="4838" y="4189"/>
                </a:lnTo>
                <a:lnTo>
                  <a:pt x="4838" y="4069"/>
                </a:lnTo>
                <a:close/>
                <a:moveTo>
                  <a:pt x="4838" y="3651"/>
                </a:moveTo>
                <a:lnTo>
                  <a:pt x="5233" y="3651"/>
                </a:lnTo>
                <a:lnTo>
                  <a:pt x="5233" y="3770"/>
                </a:lnTo>
                <a:lnTo>
                  <a:pt x="4838" y="3770"/>
                </a:lnTo>
                <a:lnTo>
                  <a:pt x="4838" y="3651"/>
                </a:lnTo>
                <a:close/>
                <a:moveTo>
                  <a:pt x="4838" y="3860"/>
                </a:moveTo>
                <a:lnTo>
                  <a:pt x="5233" y="3860"/>
                </a:lnTo>
                <a:lnTo>
                  <a:pt x="5233" y="3980"/>
                </a:lnTo>
                <a:lnTo>
                  <a:pt x="4838" y="3980"/>
                </a:lnTo>
                <a:lnTo>
                  <a:pt x="4838" y="3860"/>
                </a:lnTo>
                <a:close/>
                <a:moveTo>
                  <a:pt x="1547" y="993"/>
                </a:moveTo>
                <a:lnTo>
                  <a:pt x="1503" y="2392"/>
                </a:lnTo>
                <a:lnTo>
                  <a:pt x="1624" y="2271"/>
                </a:lnTo>
                <a:lnTo>
                  <a:pt x="1582" y="993"/>
                </a:lnTo>
                <a:lnTo>
                  <a:pt x="1547" y="993"/>
                </a:lnTo>
                <a:close/>
                <a:moveTo>
                  <a:pt x="1375" y="2624"/>
                </a:moveTo>
                <a:lnTo>
                  <a:pt x="1432" y="873"/>
                </a:lnTo>
                <a:lnTo>
                  <a:pt x="1698" y="873"/>
                </a:lnTo>
                <a:lnTo>
                  <a:pt x="1755" y="2624"/>
                </a:lnTo>
                <a:lnTo>
                  <a:pt x="1375" y="2624"/>
                </a:lnTo>
                <a:close/>
                <a:moveTo>
                  <a:pt x="1015" y="993"/>
                </a:moveTo>
                <a:lnTo>
                  <a:pt x="970" y="2392"/>
                </a:lnTo>
                <a:lnTo>
                  <a:pt x="1091" y="2271"/>
                </a:lnTo>
                <a:lnTo>
                  <a:pt x="1050" y="993"/>
                </a:lnTo>
                <a:lnTo>
                  <a:pt x="1015" y="993"/>
                </a:lnTo>
                <a:close/>
                <a:moveTo>
                  <a:pt x="843" y="2624"/>
                </a:moveTo>
                <a:lnTo>
                  <a:pt x="900" y="873"/>
                </a:lnTo>
                <a:lnTo>
                  <a:pt x="1166" y="873"/>
                </a:lnTo>
                <a:lnTo>
                  <a:pt x="1223" y="2624"/>
                </a:lnTo>
                <a:lnTo>
                  <a:pt x="843" y="2624"/>
                </a:lnTo>
                <a:close/>
              </a:path>
            </a:pathLst>
          </a:custGeom>
          <a:solidFill>
            <a:schemeClr val="bg1"/>
          </a:solidFill>
          <a:ln w="9525">
            <a:noFill/>
            <a:round/>
            <a:headEnd/>
            <a:tailEnd/>
          </a:ln>
        </p:spPr>
        <p:txBody>
          <a:bodyPr/>
          <a:lstStyle/>
          <a:p>
            <a:endParaRPr lang="de-DE" sz="1600">
              <a:latin typeface="+mj-lt"/>
            </a:endParaRPr>
          </a:p>
        </p:txBody>
      </p:sp>
      <p:grpSp>
        <p:nvGrpSpPr>
          <p:cNvPr id="66" name="Group 65"/>
          <p:cNvGrpSpPr/>
          <p:nvPr/>
        </p:nvGrpSpPr>
        <p:grpSpPr>
          <a:xfrm>
            <a:off x="609601" y="2826723"/>
            <a:ext cx="10962948" cy="0"/>
            <a:chOff x="609601" y="2803184"/>
            <a:chExt cx="10962948" cy="0"/>
          </a:xfrm>
        </p:grpSpPr>
        <p:cxnSp>
          <p:nvCxnSpPr>
            <p:cNvPr id="54" name="Straight Connector 53"/>
            <p:cNvCxnSpPr>
              <a:cxnSpLocks/>
            </p:cNvCxnSpPr>
            <p:nvPr/>
          </p:nvCxnSpPr>
          <p:spPr>
            <a:xfrm>
              <a:off x="609601" y="2803184"/>
              <a:ext cx="3311332" cy="0"/>
            </a:xfrm>
            <a:prstGeom prst="line">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p:cNvCxnSpPr>
              <a:cxnSpLocks/>
            </p:cNvCxnSpPr>
            <p:nvPr/>
          </p:nvCxnSpPr>
          <p:spPr>
            <a:xfrm>
              <a:off x="8283241" y="2803184"/>
              <a:ext cx="3289308" cy="0"/>
            </a:xfrm>
            <a:prstGeom prst="line">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cxnSp>
      </p:grpSp>
      <p:grpSp>
        <p:nvGrpSpPr>
          <p:cNvPr id="67" name="Group 66"/>
          <p:cNvGrpSpPr/>
          <p:nvPr/>
        </p:nvGrpSpPr>
        <p:grpSpPr>
          <a:xfrm>
            <a:off x="609601" y="4454682"/>
            <a:ext cx="10962948" cy="0"/>
            <a:chOff x="609601" y="4478221"/>
            <a:chExt cx="10962948" cy="0"/>
          </a:xfrm>
        </p:grpSpPr>
        <p:cxnSp>
          <p:nvCxnSpPr>
            <p:cNvPr id="46" name="Straight Connector 45"/>
            <p:cNvCxnSpPr>
              <a:cxnSpLocks/>
            </p:cNvCxnSpPr>
            <p:nvPr/>
          </p:nvCxnSpPr>
          <p:spPr>
            <a:xfrm>
              <a:off x="609601" y="4478221"/>
              <a:ext cx="3311332" cy="0"/>
            </a:xfrm>
            <a:prstGeom prst="line">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a:cxnSpLocks/>
            </p:cNvCxnSpPr>
            <p:nvPr/>
          </p:nvCxnSpPr>
          <p:spPr>
            <a:xfrm>
              <a:off x="8283241" y="4478221"/>
              <a:ext cx="3289308" cy="0"/>
            </a:xfrm>
            <a:prstGeom prst="line">
              <a:avLst/>
            </a:prstGeom>
            <a:noFill/>
            <a:ln w="127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cxnSp>
      </p:grpSp>
      <p:sp>
        <p:nvSpPr>
          <p:cNvPr id="63" name="TextBox 62"/>
          <p:cNvSpPr txBox="1"/>
          <p:nvPr/>
        </p:nvSpPr>
        <p:spPr>
          <a:xfrm>
            <a:off x="609607" y="5740337"/>
            <a:ext cx="7045318" cy="384721"/>
          </a:xfrm>
          <a:prstGeom prst="rect">
            <a:avLst/>
          </a:prstGeom>
          <a:noFill/>
        </p:spPr>
        <p:txBody>
          <a:bodyPr wrap="square" lIns="0" tIns="0" rIns="0" bIns="0" rtlCol="0" anchor="b">
            <a:spAutoFit/>
          </a:bodyPr>
          <a:lstStyle/>
          <a:p>
            <a:pPr>
              <a:spcAft>
                <a:spcPts val="600"/>
              </a:spcAft>
              <a:buClr>
                <a:schemeClr val="accent2"/>
              </a:buClr>
              <a:buSzPct val="70000"/>
            </a:pPr>
            <a:r>
              <a:rPr lang="en-IN" sz="1000" dirty="0">
                <a:solidFill>
                  <a:schemeClr val="bg1"/>
                </a:solidFill>
              </a:rPr>
              <a:t>*Innovative companies identified them as “extremely innovative” and “quite innovative” in the IP </a:t>
            </a:r>
            <a:r>
              <a:rPr lang="en-IN" sz="1000" dirty="0" smtClean="0">
                <a:solidFill>
                  <a:schemeClr val="bg1"/>
                </a:solidFill>
              </a:rPr>
              <a:t>survey.</a:t>
            </a:r>
            <a:endParaRPr lang="en-IN" sz="1000" dirty="0">
              <a:solidFill>
                <a:schemeClr val="bg1"/>
              </a:solidFill>
            </a:endParaRPr>
          </a:p>
          <a:p>
            <a:pPr>
              <a:spcAft>
                <a:spcPts val="600"/>
              </a:spcAft>
              <a:buClr>
                <a:schemeClr val="accent2"/>
              </a:buClr>
              <a:buSzPct val="70000"/>
            </a:pPr>
            <a:r>
              <a:rPr lang="en-IN" sz="1000" dirty="0">
                <a:solidFill>
                  <a:schemeClr val="bg1"/>
                </a:solidFill>
              </a:rPr>
              <a:t>Source: EY Industrial Products Continuous Innovation </a:t>
            </a:r>
            <a:r>
              <a:rPr lang="en-IN" sz="1000" dirty="0" smtClean="0">
                <a:solidFill>
                  <a:schemeClr val="bg1"/>
                </a:solidFill>
              </a:rPr>
              <a:t>Study 2018.</a:t>
            </a:r>
            <a:endParaRPr lang="en-IN" sz="1000" dirty="0">
              <a:solidFill>
                <a:schemeClr val="bg1"/>
              </a:solidFill>
            </a:endParaRPr>
          </a:p>
        </p:txBody>
      </p:sp>
    </p:spTree>
    <p:extLst>
      <p:ext uri="{BB962C8B-B14F-4D97-AF65-F5344CB8AC3E}">
        <p14:creationId xmlns:p14="http://schemas.microsoft.com/office/powerpoint/2010/main" val="2372901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09283" y="425187"/>
            <a:ext cx="2817932" cy="4205116"/>
          </a:xfrm>
          <a:prstGeom prst="rect">
            <a:avLst/>
          </a:prstGeom>
          <a:noFill/>
        </p:spPr>
        <p:txBody>
          <a:bodyPr wrap="square" lIns="0" tIns="36557" rIns="0" bIns="0" rtlCol="0">
            <a:spAutoFit/>
          </a:bodyPr>
          <a:lstStyle/>
          <a:p>
            <a:pPr defTabSz="913943">
              <a:spcAft>
                <a:spcPts val="600"/>
              </a:spcAft>
              <a:buClr>
                <a:srgbClr val="FFD200"/>
              </a:buClr>
              <a:buSzPct val="70000"/>
              <a:defRPr/>
            </a:pPr>
            <a:r>
              <a:rPr lang="en-US" sz="999" b="1" kern="0" dirty="0" smtClean="0">
                <a:solidFill>
                  <a:schemeClr val="bg1"/>
                </a:solidFill>
                <a:latin typeface="Arial" panose="020B0604020202020204" pitchFamily="34" charset="0"/>
              </a:rPr>
              <a:t>EY </a:t>
            </a:r>
            <a:r>
              <a:rPr lang="en-US" sz="999" kern="0" dirty="0" smtClean="0">
                <a:solidFill>
                  <a:schemeClr val="bg1"/>
                </a:solidFill>
                <a:latin typeface="Arial" panose="020B0604020202020204" pitchFamily="34" charset="0"/>
                <a:cs typeface="Arial"/>
              </a:rPr>
              <a:t>| Assurance </a:t>
            </a:r>
            <a:r>
              <a:rPr lang="en-US" sz="999" kern="0" dirty="0">
                <a:solidFill>
                  <a:schemeClr val="bg1"/>
                </a:solidFill>
                <a:latin typeface="Arial" panose="020B0604020202020204" pitchFamily="34" charset="0"/>
                <a:cs typeface="Arial"/>
              </a:rPr>
              <a:t>| Tax | Transactions | Advisory</a:t>
            </a:r>
          </a:p>
          <a:p>
            <a:pPr defTabSz="913943">
              <a:buClr>
                <a:srgbClr val="FFD200"/>
              </a:buClr>
              <a:buSzPct val="70000"/>
              <a:defRPr/>
            </a:pPr>
            <a:endParaRPr lang="en-US" sz="900" kern="0" dirty="0">
              <a:solidFill>
                <a:schemeClr val="bg1"/>
              </a:solidFill>
              <a:latin typeface="Arial" panose="020B0604020202020204" pitchFamily="34" charset="0"/>
              <a:cs typeface="Arial"/>
            </a:endParaRPr>
          </a:p>
          <a:p>
            <a:pPr defTabSz="913943">
              <a:buClr>
                <a:srgbClr val="FFD200"/>
              </a:buClr>
              <a:buSzPct val="70000"/>
              <a:defRPr/>
            </a:pPr>
            <a:r>
              <a:rPr lang="en-IN" sz="800" b="1" kern="0" dirty="0">
                <a:solidFill>
                  <a:schemeClr val="bg1"/>
                </a:solidFill>
                <a:latin typeface="Arial" panose="020B0604020202020204" pitchFamily="34" charset="0"/>
              </a:rPr>
              <a:t>About EY</a:t>
            </a:r>
          </a:p>
          <a:p>
            <a:pPr defTabSz="913943">
              <a:buClr>
                <a:srgbClr val="FFD200"/>
              </a:buClr>
              <a:buSzPct val="70000"/>
              <a:defRPr/>
            </a:pPr>
            <a:r>
              <a:rPr lang="en-IN" sz="800" kern="0" dirty="0">
                <a:solidFill>
                  <a:schemeClr val="bg1"/>
                </a:solidFill>
                <a:latin typeface="Arial" panose="020B0604020202020204" pitchFamily="34"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defTabSz="913943">
              <a:buClr>
                <a:srgbClr val="FFD200"/>
              </a:buClr>
              <a:buSzPct val="70000"/>
              <a:defRPr/>
            </a:pPr>
            <a:endParaRPr lang="en-IN" sz="800" kern="0" dirty="0">
              <a:solidFill>
                <a:schemeClr val="bg1"/>
              </a:solidFill>
              <a:latin typeface="Arial" panose="020B0604020202020204" pitchFamily="34" charset="0"/>
            </a:endParaRPr>
          </a:p>
          <a:p>
            <a:pPr lvl="0">
              <a:buClr>
                <a:srgbClr val="FFD200"/>
              </a:buClr>
              <a:buSzPct val="70000"/>
              <a:defRPr/>
            </a:pPr>
            <a:r>
              <a:rPr lang="en-IN" sz="800" kern="0" dirty="0">
                <a:solidFill>
                  <a:schemeClr val="bg1"/>
                </a:solidFill>
                <a:latin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a:t>
            </a:r>
          </a:p>
          <a:p>
            <a:pPr lvl="0">
              <a:buClr>
                <a:srgbClr val="FFD200"/>
              </a:buClr>
              <a:buSzPct val="70000"/>
              <a:defRPr/>
            </a:pPr>
            <a:endParaRPr lang="en-US" sz="800" kern="0" dirty="0">
              <a:solidFill>
                <a:schemeClr val="bg1"/>
              </a:solidFill>
              <a:latin typeface="Arial" panose="020B0604020202020204" pitchFamily="34" charset="0"/>
            </a:endParaRPr>
          </a:p>
          <a:p>
            <a:pPr defTabSz="913943">
              <a:buClr>
                <a:srgbClr val="FFD200"/>
              </a:buClr>
              <a:buSzPct val="70000"/>
              <a:defRPr/>
            </a:pPr>
            <a:r>
              <a:rPr lang="en-IN" sz="800" kern="0" dirty="0">
                <a:solidFill>
                  <a:schemeClr val="bg1"/>
                </a:solidFill>
                <a:latin typeface="Arial" panose="020B0604020202020204" pitchFamily="34" charset="0"/>
              </a:rPr>
              <a:t>© 2018 EYGM Limited.</a:t>
            </a:r>
            <a:br>
              <a:rPr lang="en-IN" sz="800" kern="0" dirty="0">
                <a:solidFill>
                  <a:schemeClr val="bg1"/>
                </a:solidFill>
                <a:latin typeface="Arial" panose="020B0604020202020204" pitchFamily="34" charset="0"/>
              </a:rPr>
            </a:br>
            <a:r>
              <a:rPr lang="en-IN" sz="800" kern="0" dirty="0">
                <a:solidFill>
                  <a:schemeClr val="bg1"/>
                </a:solidFill>
                <a:latin typeface="Arial" panose="020B0604020202020204" pitchFamily="34" charset="0"/>
              </a:rPr>
              <a:t>All Rights Reserved.</a:t>
            </a:r>
          </a:p>
          <a:p>
            <a:pPr defTabSz="913943">
              <a:buClr>
                <a:srgbClr val="FFD200"/>
              </a:buClr>
              <a:buSzPct val="70000"/>
              <a:defRPr/>
            </a:pPr>
            <a:endParaRPr lang="en-IN" sz="800" kern="0" dirty="0">
              <a:solidFill>
                <a:schemeClr val="bg1"/>
              </a:solidFill>
              <a:latin typeface="Arial" panose="020B0604020202020204" pitchFamily="34" charset="0"/>
            </a:endParaRPr>
          </a:p>
          <a:p>
            <a:pPr defTabSz="913943">
              <a:buClr>
                <a:srgbClr val="FFD200"/>
              </a:buClr>
              <a:buSzPct val="70000"/>
              <a:defRPr/>
            </a:pPr>
            <a:r>
              <a:rPr lang="en-IN" sz="800" kern="0" dirty="0">
                <a:solidFill>
                  <a:schemeClr val="bg1"/>
                </a:solidFill>
                <a:latin typeface="Arial" panose="020B0604020202020204" pitchFamily="34" charset="0"/>
              </a:rPr>
              <a:t>EYG no. XXXXXX</a:t>
            </a:r>
          </a:p>
          <a:p>
            <a:pPr defTabSz="913943">
              <a:buClr>
                <a:srgbClr val="FFD200"/>
              </a:buClr>
              <a:buSzPct val="70000"/>
              <a:defRPr/>
            </a:pPr>
            <a:endParaRPr lang="en-IN" sz="800" kern="0" dirty="0">
              <a:solidFill>
                <a:schemeClr val="bg1"/>
              </a:solidFill>
              <a:latin typeface="Arial" panose="020B0604020202020204" pitchFamily="34" charset="0"/>
            </a:endParaRPr>
          </a:p>
          <a:p>
            <a:pPr lvl="0">
              <a:buClr>
                <a:srgbClr val="FFD200"/>
              </a:buClr>
              <a:buSzPct val="70000"/>
              <a:defRPr/>
            </a:pPr>
            <a:r>
              <a:rPr lang="en-IN" sz="800" kern="0" dirty="0">
                <a:solidFill>
                  <a:schemeClr val="bg1"/>
                </a:solidFill>
                <a:latin typeface="Arial" panose="020B0604020202020204" pitchFamily="34" charset="0"/>
              </a:rPr>
              <a:t>BMC Agency</a:t>
            </a:r>
          </a:p>
          <a:p>
            <a:pPr lvl="0">
              <a:buClr>
                <a:srgbClr val="FFD200"/>
              </a:buClr>
              <a:buSzPct val="70000"/>
              <a:defRPr/>
            </a:pPr>
            <a:r>
              <a:rPr lang="en-IN" sz="800" kern="0" dirty="0">
                <a:solidFill>
                  <a:schemeClr val="bg1"/>
                </a:solidFill>
                <a:latin typeface="Arial" panose="020B0604020202020204" pitchFamily="34" charset="0"/>
              </a:rPr>
              <a:t>GA 1007927</a:t>
            </a:r>
          </a:p>
          <a:p>
            <a:pPr lvl="0">
              <a:buClr>
                <a:srgbClr val="FFD200"/>
              </a:buClr>
              <a:buSzPct val="70000"/>
              <a:defRPr/>
            </a:pPr>
            <a:endParaRPr lang="en-IN" sz="800" kern="0" dirty="0">
              <a:solidFill>
                <a:schemeClr val="bg1"/>
              </a:solidFill>
              <a:latin typeface="Arial" panose="020B0604020202020204" pitchFamily="34" charset="0"/>
            </a:endParaRPr>
          </a:p>
          <a:p>
            <a:pPr defTabSz="913943">
              <a:buClr>
                <a:srgbClr val="FFD200"/>
              </a:buClr>
              <a:buSzPct val="70000"/>
              <a:defRPr/>
            </a:pPr>
            <a:r>
              <a:rPr lang="en-IN" sz="800" kern="0" dirty="0">
                <a:solidFill>
                  <a:schemeClr val="bg1"/>
                </a:solidFill>
                <a:latin typeface="Arial" panose="020B0604020202020204" pitchFamily="34" charset="0"/>
              </a:rPr>
              <a:t>ED None</a:t>
            </a:r>
          </a:p>
          <a:p>
            <a:pPr defTabSz="913943">
              <a:buClr>
                <a:srgbClr val="FFD200"/>
              </a:buClr>
              <a:buSzPct val="70000"/>
              <a:defRPr/>
            </a:pPr>
            <a:endParaRPr lang="en-IN" sz="600" kern="0" dirty="0">
              <a:solidFill>
                <a:schemeClr val="bg1"/>
              </a:solidFill>
              <a:latin typeface="Arial" panose="020B0604020202020204" pitchFamily="34" charset="0"/>
            </a:endParaRPr>
          </a:p>
          <a:p>
            <a:pPr defTabSz="913943">
              <a:spcAft>
                <a:spcPts val="600"/>
              </a:spcAft>
              <a:buClr>
                <a:srgbClr val="FFD200"/>
              </a:buClr>
              <a:buSzPct val="70000"/>
              <a:defRPr/>
            </a:pPr>
            <a:r>
              <a:rPr lang="en-IN" sz="600" kern="0" dirty="0">
                <a:solidFill>
                  <a:schemeClr val="bg1"/>
                </a:solidFill>
                <a:latin typeface="Arial" panose="020B0604020202020204" pitchFamily="34" charset="0"/>
              </a:rPr>
              <a:t>This material has been prepared for general informational purposes only and is not intended to be relied upon as accounting, tax, or other professional advice. Please refer to your advisors for specific advice.</a:t>
            </a:r>
          </a:p>
          <a:p>
            <a:pPr defTabSz="913943">
              <a:spcAft>
                <a:spcPts val="600"/>
              </a:spcAft>
              <a:buClr>
                <a:srgbClr val="FFD200"/>
              </a:buClr>
              <a:buSzPct val="70000"/>
              <a:defRPr/>
            </a:pPr>
            <a:r>
              <a:rPr lang="en-IN" sz="999" b="1" kern="0" dirty="0">
                <a:solidFill>
                  <a:schemeClr val="bg1"/>
                </a:solidFill>
                <a:latin typeface="Arial" panose="020B0604020202020204" pitchFamily="34" charset="0"/>
              </a:rPr>
              <a:t>ey.com</a:t>
            </a:r>
          </a:p>
        </p:txBody>
      </p:sp>
    </p:spTree>
    <p:extLst>
      <p:ext uri="{BB962C8B-B14F-4D97-AF65-F5344CB8AC3E}">
        <p14:creationId xmlns:p14="http://schemas.microsoft.com/office/powerpoint/2010/main" val="14319216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tgk64v4Tyi4gKWGYLXt1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yHZtCrdSZ.oAlfmd5bM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9DCwHajRS28WpLOFOry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nSpc>
            <a:spcPct val="85000"/>
          </a:lnSpc>
          <a:spcAft>
            <a:spcPts val="600"/>
          </a:spcAft>
          <a:buClr>
            <a:schemeClr val="accent2"/>
          </a:buClr>
          <a:buSzPct val="70000"/>
          <a:defRPr sz="1600" b="1" dirty="0" smtClean="0">
            <a:solidFill>
              <a:schemeClr val="tx2"/>
            </a:solidFill>
            <a:latin typeface="EYInterstate Light" panose="0200050600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2046686</vt:lpwstr>
  </property>
  <property fmtid="{D5CDD505-2E9C-101B-9397-08002B2CF9AE}" pid="4" name="OptimizationTime">
    <vt:lpwstr>20180726_0039</vt:lpwstr>
  </property>
</Properties>
</file>

<file path=docProps/app.xml><?xml version="1.0" encoding="utf-8"?>
<Properties xmlns="http://schemas.openxmlformats.org/officeDocument/2006/extended-properties" xmlns:vt="http://schemas.openxmlformats.org/officeDocument/2006/docPropsVTypes">
  <TotalTime>16285</TotalTime>
  <Words>1403</Words>
  <Application>Microsoft Office PowerPoint</Application>
  <PresentationFormat>Widescreen</PresentationFormat>
  <Paragraphs>263</Paragraphs>
  <Slides>9</Slides>
  <Notes>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9" baseType="lpstr">
      <vt:lpstr>Adobe Arabic</vt:lpstr>
      <vt:lpstr>Arial</vt:lpstr>
      <vt:lpstr>EYInterstate</vt:lpstr>
      <vt:lpstr>EYInterstate Light</vt:lpstr>
      <vt:lpstr>EYInterstate-Bold</vt:lpstr>
      <vt:lpstr>EYInterstate-Light</vt:lpstr>
      <vt:lpstr>EYInterstate-LightBold</vt:lpstr>
      <vt:lpstr>3_EY dark projection</vt:lpstr>
      <vt:lpstr>EY widescreen presentation 2015 v1</vt:lpstr>
      <vt:lpstr>think-cell Slide</vt:lpstr>
      <vt:lpstr>The Corporate Balancing Act</vt:lpstr>
      <vt:lpstr>What separates the leaders from the laggards:   The corporate balancing act – Producing now and investing in the future!</vt:lpstr>
      <vt:lpstr>Survey insights: Defining characteristics for the six big bets</vt:lpstr>
      <vt:lpstr>As a result, companies are increasingly seeking new ways to connect with their end-consumers</vt:lpstr>
      <vt:lpstr>Digitisation is uniting a once siloed and linier supply chain into an integrated digital ecosystem — from the procurement of raw materials and planning to manufacturing and logistics, and finally to customer fulfilment</vt:lpstr>
      <vt:lpstr>Talent &amp; culture solution for Organization and Workforce Transformation </vt:lpstr>
      <vt:lpstr>Digital is about the explosive growth of new technologies</vt:lpstr>
      <vt:lpstr>Enterprise protection: have we designed our functions and processes  to help effectively manage the new risk universe and accelerate  our advancing of the enterpris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aven Postman</dc:creator>
  <cp:lastModifiedBy>Regenia Sanders</cp:lastModifiedBy>
  <cp:revision>1106</cp:revision>
  <dcterms:created xsi:type="dcterms:W3CDTF">2016-07-11T10:22:14Z</dcterms:created>
  <dcterms:modified xsi:type="dcterms:W3CDTF">2018-07-26T04:38:55Z</dcterms:modified>
</cp:coreProperties>
</file>